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heme/theme2.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heme/theme3.xml" ContentType="application/vnd.openxmlformats-officedocument.theme+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1.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2.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notesSlides/notesSlide3.xml" ContentType="application/vnd.openxmlformats-officedocument.presentationml.notesSlide+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notesSlides/notesSlide4.xml" ContentType="application/vnd.openxmlformats-officedocument.presentationml.notesSlid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notesSlides/notesSlide5.xml" ContentType="application/vnd.openxmlformats-officedocument.presentationml.notesSlide+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notesSlides/notesSlide6.xml" ContentType="application/vnd.openxmlformats-officedocument.presentationml.notesSlide+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notesSlides/notesSlide7.xml" ContentType="application/vnd.openxmlformats-officedocument.presentationml.notesSlide+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notesSlides/notesSlide8.xml" ContentType="application/vnd.openxmlformats-officedocument.presentationml.notesSlide+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notesSlides/notesSlide9.xml" ContentType="application/vnd.openxmlformats-officedocument.presentationml.notesSlide+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notesSlides/notesSlide10.xml" ContentType="application/vnd.openxmlformats-officedocument.presentationml.notesSlide+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notesSlides/notesSlide11.xml" ContentType="application/vnd.openxmlformats-officedocument.presentationml.notesSlide+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notesSlides/notesSlide12.xml" ContentType="application/vnd.openxmlformats-officedocument.presentationml.notesSlide+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notesSlides/notesSlide13.xml" ContentType="application/vnd.openxmlformats-officedocument.presentationml.notesSlide+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notesSlides/notesSlide14.xml" ContentType="application/vnd.openxmlformats-officedocument.presentationml.notesSlide+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notesSlides/notesSlide15.xml" ContentType="application/vnd.openxmlformats-officedocument.presentationml.notesSlide+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notesSlides/notesSlide16.xml" ContentType="application/vnd.openxmlformats-officedocument.presentationml.notesSlide+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notesSlides/notesSlide17.xml" ContentType="application/vnd.openxmlformats-officedocument.presentationml.notesSlide+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notesSlides/notesSlide18.xml" ContentType="application/vnd.openxmlformats-officedocument.presentationml.notesSlide+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notesSlides/notesSlide19.xml" ContentType="application/vnd.openxmlformats-officedocument.presentationml.notesSlide+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2" r:id="rId1"/>
  </p:sldMasterIdLst>
  <p:notesMasterIdLst>
    <p:notesMasterId r:id="rId21"/>
  </p:notesMasterIdLst>
  <p:handoutMasterIdLst>
    <p:handoutMasterId r:id="rId22"/>
  </p:handoutMasterIdLst>
  <p:sldIdLst>
    <p:sldId id="365" r:id="rId2"/>
    <p:sldId id="341" r:id="rId3"/>
    <p:sldId id="346" r:id="rId4"/>
    <p:sldId id="332" r:id="rId5"/>
    <p:sldId id="485" r:id="rId6"/>
    <p:sldId id="480" r:id="rId7"/>
    <p:sldId id="303" r:id="rId8"/>
    <p:sldId id="414" r:id="rId9"/>
    <p:sldId id="484" r:id="rId10"/>
    <p:sldId id="276" r:id="rId11"/>
    <p:sldId id="456" r:id="rId12"/>
    <p:sldId id="384" r:id="rId13"/>
    <p:sldId id="483" r:id="rId14"/>
    <p:sldId id="301" r:id="rId15"/>
    <p:sldId id="481" r:id="rId16"/>
    <p:sldId id="482" r:id="rId17"/>
    <p:sldId id="409" r:id="rId18"/>
    <p:sldId id="455" r:id="rId19"/>
    <p:sldId id="467" r:id="rId20"/>
  </p:sldIdLst>
  <p:sldSz cx="12192000" cy="6858000"/>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a Kamińska" initials="MK" lastIdx="1" clrIdx="0">
    <p:extLst>
      <p:ext uri="{19B8F6BF-5375-455C-9EA6-DF929625EA0E}">
        <p15:presenceInfo xmlns:p15="http://schemas.microsoft.com/office/powerpoint/2012/main" userId="Marta Kamińsk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1A"/>
    <a:srgbClr val="FFFFFF"/>
    <a:srgbClr val="CCCCCC"/>
    <a:srgbClr val="FFF7CF"/>
    <a:srgbClr val="FEE45F"/>
    <a:srgbClr val="FBD6D7"/>
    <a:srgbClr val="F0767A"/>
    <a:srgbClr val="E5EFF7"/>
    <a:srgbClr val="F3F9F1"/>
    <a:srgbClr val="EDF5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7D86BA5-4E0A-43F1-BCCE-C89FEEC39226}" styleName="DKMS 1.0">
    <a:wholeTbl>
      <a:tcTxStyle>
        <a:fontRef idx="minor">
          <a:prstClr val="black"/>
        </a:fontRef>
        <a:schemeClr val="dk1"/>
      </a:tcTxStyle>
      <a:tcStyle>
        <a:tcBdr>
          <a:left>
            <a:ln w="0" cmpd="sng">
              <a:solidFill>
                <a:schemeClr val="lt1"/>
              </a:solidFill>
            </a:ln>
          </a:left>
          <a:right>
            <a:ln w="0" cmpd="sng">
              <a:solidFill>
                <a:schemeClr val="lt1"/>
              </a:solidFill>
            </a:ln>
          </a:right>
          <a:top>
            <a:ln w="6350" cmpd="sng">
              <a:solidFill>
                <a:schemeClr val="dk2"/>
              </a:solidFill>
            </a:ln>
          </a:top>
          <a:bottom>
            <a:ln w="6350" cmpd="sng">
              <a:solidFill>
                <a:schemeClr val="dk2"/>
              </a:solidFill>
            </a:ln>
          </a:bottom>
          <a:insideH>
            <a:ln w="6350" cmpd="sng">
              <a:solidFill>
                <a:schemeClr val="dk2"/>
              </a:solidFill>
            </a:ln>
          </a:insideH>
          <a:insideV>
            <a:ln w="0" cmpd="sng">
              <a:solidFill>
                <a:schemeClr val="lt1"/>
              </a:solidFill>
            </a:ln>
          </a:insideV>
        </a:tcBdr>
        <a:fill>
          <a:solidFill>
            <a:schemeClr val="lt1"/>
          </a:solidFill>
        </a:fill>
      </a:tcStyle>
    </a:wholeTbl>
    <a:lastCol>
      <a:tcTxStyle b="off">
        <a:fontRef idx="minor">
          <a:prstClr val="black"/>
        </a:fontRef>
        <a:schemeClr val="dk1"/>
      </a:tcTxStyle>
      <a:tcStyle>
        <a:tcBdr/>
        <a:fill>
          <a:solidFill>
            <a:schemeClr val="lt1"/>
          </a:solidFill>
        </a:fill>
      </a:tcStyle>
    </a:lastCol>
    <a:firstCol>
      <a:tcTxStyle b="off">
        <a:fontRef idx="minor">
          <a:prstClr val="black"/>
        </a:fontRef>
        <a:schemeClr val="dk1"/>
      </a:tcTxStyle>
      <a:tcStyle>
        <a:tcBdr/>
        <a:fill>
          <a:solidFill>
            <a:schemeClr val="lt1"/>
          </a:solidFill>
        </a:fill>
      </a:tcStyle>
    </a:firstCol>
    <a:lastRow>
      <a:tcTxStyle b="on">
        <a:fontRef idx="minor">
          <a:prstClr val="black"/>
        </a:fontRef>
        <a:schemeClr val="lt1"/>
      </a:tcTxStyle>
      <a:tcStyle>
        <a:tcBdr>
          <a:top>
            <a:ln w="0" cmpd="sng">
              <a:solidFill>
                <a:schemeClr val="dk2"/>
              </a:solidFill>
            </a:ln>
          </a:top>
        </a:tcBdr>
        <a:fill>
          <a:solidFill>
            <a:schemeClr val="dk2"/>
          </a:solidFill>
        </a:fill>
      </a:tcStyle>
    </a:lastRow>
    <a:firstRow>
      <a:tcTxStyle b="on">
        <a:fontRef idx="minor">
          <a:prstClr val="black"/>
        </a:fontRef>
        <a:schemeClr val="dk2"/>
      </a:tcTxStyle>
      <a:tcStyle>
        <a:tcBdr>
          <a:bottom>
            <a:ln w="12700" cmpd="sng">
              <a:solidFill>
                <a:schemeClr val="dk1"/>
              </a:solidFill>
            </a:ln>
          </a:bottom>
        </a:tcBdr>
        <a:fill>
          <a:solidFill>
            <a:schemeClr val="lt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8438" autoAdjust="0"/>
  </p:normalViewPr>
  <p:slideViewPr>
    <p:cSldViewPr snapToGrid="0">
      <p:cViewPr varScale="1">
        <p:scale>
          <a:sx n="161" d="100"/>
          <a:sy n="161" d="100"/>
        </p:scale>
        <p:origin x="306" y="144"/>
      </p:cViewPr>
      <p:guideLst/>
    </p:cSldViewPr>
  </p:slideViewPr>
  <p:outlineViewPr>
    <p:cViewPr>
      <p:scale>
        <a:sx n="33" d="100"/>
        <a:sy n="33" d="100"/>
      </p:scale>
      <p:origin x="0" y="-4986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theme" Target="../theme/theme3.xml"/><Relationship Id="rId5" Type="http://schemas.openxmlformats.org/officeDocument/2006/relationships/tags" Target="../tags/tag362.xml"/><Relationship Id="rId4" Type="http://schemas.openxmlformats.org/officeDocument/2006/relationships/tags" Target="../tags/tag36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71398D4-C05F-E5D4-303E-B4987DD85B6C}"/>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pl-PL" dirty="0"/>
          </a:p>
        </p:txBody>
      </p:sp>
      <p:sp>
        <p:nvSpPr>
          <p:cNvPr id="3" name="Datumsplatzhalter 2">
            <a:extLst>
              <a:ext uri="{FF2B5EF4-FFF2-40B4-BE49-F238E27FC236}">
                <a16:creationId xmlns:a16="http://schemas.microsoft.com/office/drawing/2014/main" id="{EFA3BB85-1F3A-E987-4E2F-54DFCA22720F}"/>
              </a:ext>
            </a:extLst>
          </p:cNvPr>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0911841A-B2C1-406E-916E-972D7ACCDDD8}" type="datetimeFigureOut">
              <a:rPr lang="pl-PL" smtClean="0"/>
              <a:t>07.11.2024</a:t>
            </a:fld>
            <a:endParaRPr lang="pl-PL" dirty="0"/>
          </a:p>
        </p:txBody>
      </p:sp>
      <p:sp>
        <p:nvSpPr>
          <p:cNvPr id="4" name="Fußzeilenplatzhalter 3">
            <a:extLst>
              <a:ext uri="{FF2B5EF4-FFF2-40B4-BE49-F238E27FC236}">
                <a16:creationId xmlns:a16="http://schemas.microsoft.com/office/drawing/2014/main" id="{BB9F552E-AA1F-056E-70FB-337887B7A13F}"/>
              </a:ext>
            </a:extLst>
          </p:cNvPr>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dirty="0"/>
          </a:p>
        </p:txBody>
      </p:sp>
      <p:sp>
        <p:nvSpPr>
          <p:cNvPr id="5" name="Foliennummernplatzhalter 4">
            <a:extLst>
              <a:ext uri="{FF2B5EF4-FFF2-40B4-BE49-F238E27FC236}">
                <a16:creationId xmlns:a16="http://schemas.microsoft.com/office/drawing/2014/main" id="{AC7A2A82-A71E-4890-170C-63888D7DD398}"/>
              </a:ext>
            </a:extLst>
          </p:cNvPr>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811DCA08-6C0F-4968-BBF2-8BE43A31E784}" type="slidenum">
              <a:rPr lang="pl-PL" smtClean="0"/>
              <a:t>‹#›</a:t>
            </a:fld>
            <a:endParaRPr lang="pl-PL" dirty="0"/>
          </a:p>
        </p:txBody>
      </p:sp>
    </p:spTree>
    <p:extLst>
      <p:ext uri="{BB962C8B-B14F-4D97-AF65-F5344CB8AC3E}">
        <p14:creationId xmlns:p14="http://schemas.microsoft.com/office/powerpoint/2010/main" val="14302803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tags" Target="../tags/tag358.xml"/><Relationship Id="rId2" Type="http://schemas.openxmlformats.org/officeDocument/2006/relationships/tags" Target="../tags/tag353.xml"/><Relationship Id="rId1" Type="http://schemas.openxmlformats.org/officeDocument/2006/relationships/theme" Target="../theme/theme2.xml"/><Relationship Id="rId6" Type="http://schemas.openxmlformats.org/officeDocument/2006/relationships/tags" Target="../tags/tag357.xml"/><Relationship Id="rId5" Type="http://schemas.openxmlformats.org/officeDocument/2006/relationships/tags" Target="../tags/tag356.xml"/><Relationship Id="rId4" Type="http://schemas.openxmlformats.org/officeDocument/2006/relationships/tags" Target="../tags/tag35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lang="pl-PL" dirty="0"/>
            </a:lvl1pPr>
          </a:lstStyle>
          <a:p>
            <a:endParaRPr lang="de-DE"/>
          </a:p>
        </p:txBody>
      </p:sp>
      <p:sp>
        <p:nvSpPr>
          <p:cNvPr id="3" name="Datumsplatzhalt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9E7760A3-1A21-440F-992B-C86E04CB6487}" type="datetimeFigureOut">
              <a:rPr lang="pl-PL" smtClean="0"/>
              <a:t>07.11.2024</a:t>
            </a:fld>
            <a:endParaRPr lang="pl-PL" dirty="0"/>
          </a:p>
        </p:txBody>
      </p:sp>
      <p:sp>
        <p:nvSpPr>
          <p:cNvPr id="4" name="Folienbildplatzhalt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pl-PL"/>
              <a:t>Mastertextformat bearbeite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Fußzeilenplatzhalt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lang="pl-PL" dirty="0"/>
            </a:lvl1pPr>
          </a:lstStyle>
          <a:p>
            <a:endParaRPr lang="de-DE"/>
          </a:p>
        </p:txBody>
      </p:sp>
      <p:sp>
        <p:nvSpPr>
          <p:cNvPr id="7" name="Foliennummernplatzhalt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F1FE4246-9748-471E-A5EF-FCA480645936}" type="slidenum">
              <a:rPr lang="pl-PL" smtClean="0"/>
              <a:t>‹#›</a:t>
            </a:fld>
            <a:endParaRPr lang="pl-PL" dirty="0"/>
          </a:p>
        </p:txBody>
      </p:sp>
    </p:spTree>
    <p:extLst>
      <p:ext uri="{BB962C8B-B14F-4D97-AF65-F5344CB8AC3E}">
        <p14:creationId xmlns:p14="http://schemas.microsoft.com/office/powerpoint/2010/main" val="32620278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370.xml"/><Relationship Id="rId2" Type="http://schemas.openxmlformats.org/officeDocument/2006/relationships/tags" Target="../tags/tag369.xml"/><Relationship Id="rId1" Type="http://schemas.openxmlformats.org/officeDocument/2006/relationships/tags" Target="../tags/tag368.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tags" Target="../tags/tag670.xml"/><Relationship Id="rId2" Type="http://schemas.openxmlformats.org/officeDocument/2006/relationships/tags" Target="../tags/tag669.xml"/><Relationship Id="rId1" Type="http://schemas.openxmlformats.org/officeDocument/2006/relationships/tags" Target="../tags/tag668.xml"/><Relationship Id="rId5" Type="http://schemas.openxmlformats.org/officeDocument/2006/relationships/slide" Target="../slides/slide10.xml"/><Relationship Id="rId4"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tags" Target="../tags/tag682.xml"/><Relationship Id="rId2" Type="http://schemas.openxmlformats.org/officeDocument/2006/relationships/tags" Target="../tags/tag681.xml"/><Relationship Id="rId1" Type="http://schemas.openxmlformats.org/officeDocument/2006/relationships/tags" Target="../tags/tag680.xml"/><Relationship Id="rId5" Type="http://schemas.openxmlformats.org/officeDocument/2006/relationships/slide" Target="../slides/slide11.xml"/><Relationship Id="rId4"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tags" Target="../tags/tag703.xml"/><Relationship Id="rId2" Type="http://schemas.openxmlformats.org/officeDocument/2006/relationships/tags" Target="../tags/tag702.xml"/><Relationship Id="rId1" Type="http://schemas.openxmlformats.org/officeDocument/2006/relationships/tags" Target="../tags/tag701.xml"/><Relationship Id="rId5" Type="http://schemas.openxmlformats.org/officeDocument/2006/relationships/slide" Target="../slides/slide12.xml"/><Relationship Id="rId4"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tags" Target="../tags/tag708.xml"/><Relationship Id="rId2" Type="http://schemas.openxmlformats.org/officeDocument/2006/relationships/tags" Target="../tags/tag707.xml"/><Relationship Id="rId1" Type="http://schemas.openxmlformats.org/officeDocument/2006/relationships/tags" Target="../tags/tag706.xml"/><Relationship Id="rId5" Type="http://schemas.openxmlformats.org/officeDocument/2006/relationships/slide" Target="../slides/slide13.xml"/><Relationship Id="rId4"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tags" Target="../tags/tag722.xml"/><Relationship Id="rId2" Type="http://schemas.openxmlformats.org/officeDocument/2006/relationships/tags" Target="../tags/tag721.xml"/><Relationship Id="rId1" Type="http://schemas.openxmlformats.org/officeDocument/2006/relationships/tags" Target="../tags/tag720.xml"/><Relationship Id="rId5" Type="http://schemas.openxmlformats.org/officeDocument/2006/relationships/slide" Target="../slides/slide14.xml"/><Relationship Id="rId4"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tags" Target="../tags/tag736.xml"/><Relationship Id="rId2" Type="http://schemas.openxmlformats.org/officeDocument/2006/relationships/tags" Target="../tags/tag735.xml"/><Relationship Id="rId1" Type="http://schemas.openxmlformats.org/officeDocument/2006/relationships/tags" Target="../tags/tag734.xml"/><Relationship Id="rId5" Type="http://schemas.openxmlformats.org/officeDocument/2006/relationships/slide" Target="../slides/slide15.xml"/><Relationship Id="rId4"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tags" Target="../tags/tag741.xml"/><Relationship Id="rId2" Type="http://schemas.openxmlformats.org/officeDocument/2006/relationships/tags" Target="../tags/tag740.xml"/><Relationship Id="rId1" Type="http://schemas.openxmlformats.org/officeDocument/2006/relationships/tags" Target="../tags/tag739.xml"/><Relationship Id="rId5" Type="http://schemas.openxmlformats.org/officeDocument/2006/relationships/slide" Target="../slides/slide16.xml"/><Relationship Id="rId4"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tags" Target="../tags/tag748.xml"/><Relationship Id="rId2" Type="http://schemas.openxmlformats.org/officeDocument/2006/relationships/tags" Target="../tags/tag747.xml"/><Relationship Id="rId1" Type="http://schemas.openxmlformats.org/officeDocument/2006/relationships/tags" Target="../tags/tag746.xml"/><Relationship Id="rId5" Type="http://schemas.openxmlformats.org/officeDocument/2006/relationships/slide" Target="../slides/slide17.xml"/><Relationship Id="rId4"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tags" Target="../tags/tag761.xml"/><Relationship Id="rId2" Type="http://schemas.openxmlformats.org/officeDocument/2006/relationships/tags" Target="../tags/tag760.xml"/><Relationship Id="rId1" Type="http://schemas.openxmlformats.org/officeDocument/2006/relationships/tags" Target="../tags/tag759.xml"/><Relationship Id="rId5" Type="http://schemas.openxmlformats.org/officeDocument/2006/relationships/slide" Target="../slides/slide18.xml"/><Relationship Id="rId4"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tags" Target="../tags/tag765.xml"/><Relationship Id="rId2" Type="http://schemas.openxmlformats.org/officeDocument/2006/relationships/tags" Target="../tags/tag764.xml"/><Relationship Id="rId1" Type="http://schemas.openxmlformats.org/officeDocument/2006/relationships/tags" Target="../tags/tag763.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385.xml"/><Relationship Id="rId2" Type="http://schemas.openxmlformats.org/officeDocument/2006/relationships/tags" Target="../tags/tag384.xml"/><Relationship Id="rId1" Type="http://schemas.openxmlformats.org/officeDocument/2006/relationships/tags" Target="../tags/tag383.xml"/><Relationship Id="rId5" Type="http://schemas.openxmlformats.org/officeDocument/2006/relationships/slide" Target="../slides/slide2.xml"/><Relationship Id="rId4"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390.xml"/><Relationship Id="rId2" Type="http://schemas.openxmlformats.org/officeDocument/2006/relationships/tags" Target="../tags/tag389.xml"/><Relationship Id="rId1" Type="http://schemas.openxmlformats.org/officeDocument/2006/relationships/tags" Target="../tags/tag388.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tags" Target="../tags/tag398.xml"/><Relationship Id="rId2" Type="http://schemas.openxmlformats.org/officeDocument/2006/relationships/tags" Target="../tags/tag397.xml"/><Relationship Id="rId1" Type="http://schemas.openxmlformats.org/officeDocument/2006/relationships/tags" Target="../tags/tag396.xml"/><Relationship Id="rId5" Type="http://schemas.openxmlformats.org/officeDocument/2006/relationships/slide" Target="../slides/slide4.xml"/><Relationship Id="rId4"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407.xml"/><Relationship Id="rId2" Type="http://schemas.openxmlformats.org/officeDocument/2006/relationships/tags" Target="../tags/tag406.xml"/><Relationship Id="rId1" Type="http://schemas.openxmlformats.org/officeDocument/2006/relationships/tags" Target="../tags/tag405.xml"/><Relationship Id="rId5" Type="http://schemas.openxmlformats.org/officeDocument/2006/relationships/slide" Target="../slides/slide5.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tags" Target="../tags/tag412.xml"/><Relationship Id="rId2" Type="http://schemas.openxmlformats.org/officeDocument/2006/relationships/tags" Target="../tags/tag411.xml"/><Relationship Id="rId1" Type="http://schemas.openxmlformats.org/officeDocument/2006/relationships/tags" Target="../tags/tag410.xml"/><Relationship Id="rId5" Type="http://schemas.openxmlformats.org/officeDocument/2006/relationships/slide" Target="../slides/slide6.xml"/><Relationship Id="rId4"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tags" Target="../tags/tag596.xml"/><Relationship Id="rId2" Type="http://schemas.openxmlformats.org/officeDocument/2006/relationships/tags" Target="../tags/tag595.xml"/><Relationship Id="rId1" Type="http://schemas.openxmlformats.org/officeDocument/2006/relationships/tags" Target="../tags/tag594.xml"/><Relationship Id="rId5" Type="http://schemas.openxmlformats.org/officeDocument/2006/relationships/slide" Target="../slides/slide7.xml"/><Relationship Id="rId4"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tags" Target="../tags/tag658.xml"/><Relationship Id="rId2" Type="http://schemas.openxmlformats.org/officeDocument/2006/relationships/tags" Target="../tags/tag657.xml"/><Relationship Id="rId1" Type="http://schemas.openxmlformats.org/officeDocument/2006/relationships/tags" Target="../tags/tag656.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tags" Target="../tags/tag663.xml"/><Relationship Id="rId2" Type="http://schemas.openxmlformats.org/officeDocument/2006/relationships/tags" Target="../tags/tag662.xml"/><Relationship Id="rId1" Type="http://schemas.openxmlformats.org/officeDocument/2006/relationships/tags" Target="../tags/tag661.xml"/><Relationship Id="rId5" Type="http://schemas.openxmlformats.org/officeDocument/2006/relationships/slide" Target="../slides/slide9.xml"/><Relationship Id="rId4"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a:t>
            </a:fld>
            <a:endParaRPr lang="pl-PL" dirty="0"/>
          </a:p>
        </p:txBody>
      </p:sp>
    </p:spTree>
    <p:extLst>
      <p:ext uri="{BB962C8B-B14F-4D97-AF65-F5344CB8AC3E}">
        <p14:creationId xmlns:p14="http://schemas.microsoft.com/office/powerpoint/2010/main" val="807340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0</a:t>
            </a:fld>
            <a:endParaRPr lang="pl-PL" dirty="0"/>
          </a:p>
        </p:txBody>
      </p:sp>
    </p:spTree>
    <p:extLst>
      <p:ext uri="{BB962C8B-B14F-4D97-AF65-F5344CB8AC3E}">
        <p14:creationId xmlns:p14="http://schemas.microsoft.com/office/powerpoint/2010/main" val="2725607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1</a:t>
            </a:fld>
            <a:endParaRPr lang="pl-PL" dirty="0"/>
          </a:p>
        </p:txBody>
      </p:sp>
    </p:spTree>
    <p:extLst>
      <p:ext uri="{BB962C8B-B14F-4D97-AF65-F5344CB8AC3E}">
        <p14:creationId xmlns:p14="http://schemas.microsoft.com/office/powerpoint/2010/main" val="2350095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2</a:t>
            </a:fld>
            <a:endParaRPr lang="pl-PL" dirty="0"/>
          </a:p>
        </p:txBody>
      </p:sp>
    </p:spTree>
    <p:extLst>
      <p:ext uri="{BB962C8B-B14F-4D97-AF65-F5344CB8AC3E}">
        <p14:creationId xmlns:p14="http://schemas.microsoft.com/office/powerpoint/2010/main" val="2381679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3</a:t>
            </a:fld>
            <a:endParaRPr lang="pl-PL" dirty="0"/>
          </a:p>
        </p:txBody>
      </p:sp>
    </p:spTree>
    <p:extLst>
      <p:ext uri="{BB962C8B-B14F-4D97-AF65-F5344CB8AC3E}">
        <p14:creationId xmlns:p14="http://schemas.microsoft.com/office/powerpoint/2010/main" val="2622872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4</a:t>
            </a:fld>
            <a:endParaRPr lang="pl-PL" dirty="0"/>
          </a:p>
        </p:txBody>
      </p:sp>
    </p:spTree>
    <p:extLst>
      <p:ext uri="{BB962C8B-B14F-4D97-AF65-F5344CB8AC3E}">
        <p14:creationId xmlns:p14="http://schemas.microsoft.com/office/powerpoint/2010/main" val="1387078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5</a:t>
            </a:fld>
            <a:endParaRPr lang="pl-PL" dirty="0"/>
          </a:p>
        </p:txBody>
      </p:sp>
    </p:spTree>
    <p:extLst>
      <p:ext uri="{BB962C8B-B14F-4D97-AF65-F5344CB8AC3E}">
        <p14:creationId xmlns:p14="http://schemas.microsoft.com/office/powerpoint/2010/main" val="1717244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6</a:t>
            </a:fld>
            <a:endParaRPr lang="pl-PL" dirty="0"/>
          </a:p>
        </p:txBody>
      </p:sp>
    </p:spTree>
    <p:extLst>
      <p:ext uri="{BB962C8B-B14F-4D97-AF65-F5344CB8AC3E}">
        <p14:creationId xmlns:p14="http://schemas.microsoft.com/office/powerpoint/2010/main" val="8331675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7</a:t>
            </a:fld>
            <a:endParaRPr lang="pl-PL" dirty="0"/>
          </a:p>
        </p:txBody>
      </p:sp>
    </p:spTree>
    <p:extLst>
      <p:ext uri="{BB962C8B-B14F-4D97-AF65-F5344CB8AC3E}">
        <p14:creationId xmlns:p14="http://schemas.microsoft.com/office/powerpoint/2010/main" val="3858062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8</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9</a:t>
            </a:fld>
            <a:endParaRPr lang="pl-PL" dirty="0"/>
          </a:p>
        </p:txBody>
      </p:sp>
    </p:spTree>
    <p:extLst>
      <p:ext uri="{BB962C8B-B14F-4D97-AF65-F5344CB8AC3E}">
        <p14:creationId xmlns:p14="http://schemas.microsoft.com/office/powerpoint/2010/main" val="61476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2</a:t>
            </a:fld>
            <a:endParaRPr lang="pl-PL" dirty="0"/>
          </a:p>
        </p:txBody>
      </p:sp>
    </p:spTree>
    <p:extLst>
      <p:ext uri="{BB962C8B-B14F-4D97-AF65-F5344CB8AC3E}">
        <p14:creationId xmlns:p14="http://schemas.microsoft.com/office/powerpoint/2010/main" val="3384390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3</a:t>
            </a:fld>
            <a:endParaRPr lang="pl-PL" dirty="0"/>
          </a:p>
        </p:txBody>
      </p:sp>
    </p:spTree>
    <p:extLst>
      <p:ext uri="{BB962C8B-B14F-4D97-AF65-F5344CB8AC3E}">
        <p14:creationId xmlns:p14="http://schemas.microsoft.com/office/powerpoint/2010/main" val="3123356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4</a:t>
            </a:fld>
            <a:endParaRPr lang="pl-PL" dirty="0"/>
          </a:p>
        </p:txBody>
      </p:sp>
    </p:spTree>
    <p:extLst>
      <p:ext uri="{BB962C8B-B14F-4D97-AF65-F5344CB8AC3E}">
        <p14:creationId xmlns:p14="http://schemas.microsoft.com/office/powerpoint/2010/main" val="1715967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5</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6</a:t>
            </a:fld>
            <a:endParaRPr lang="pl-PL" dirty="0"/>
          </a:p>
        </p:txBody>
      </p:sp>
    </p:spTree>
    <p:extLst>
      <p:ext uri="{BB962C8B-B14F-4D97-AF65-F5344CB8AC3E}">
        <p14:creationId xmlns:p14="http://schemas.microsoft.com/office/powerpoint/2010/main" val="28088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7</a:t>
            </a:fld>
            <a:endParaRPr lang="pl-PL" dirty="0"/>
          </a:p>
        </p:txBody>
      </p:sp>
    </p:spTree>
    <p:extLst>
      <p:ext uri="{BB962C8B-B14F-4D97-AF65-F5344CB8AC3E}">
        <p14:creationId xmlns:p14="http://schemas.microsoft.com/office/powerpoint/2010/main" val="3126232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8</a:t>
            </a:fld>
            <a:endParaRPr lang="pl-PL" dirty="0"/>
          </a:p>
        </p:txBody>
      </p:sp>
    </p:spTree>
    <p:extLst>
      <p:ext uri="{BB962C8B-B14F-4D97-AF65-F5344CB8AC3E}">
        <p14:creationId xmlns:p14="http://schemas.microsoft.com/office/powerpoint/2010/main" val="1303604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9</a:t>
            </a:fld>
            <a:endParaRPr lang="pl-PL" dirty="0"/>
          </a:p>
        </p:txBody>
      </p:sp>
    </p:spTree>
    <p:extLst>
      <p:ext uri="{BB962C8B-B14F-4D97-AF65-F5344CB8AC3E}">
        <p14:creationId xmlns:p14="http://schemas.microsoft.com/office/powerpoint/2010/main" val="2326607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slideMaster" Target="../slideMasters/slideMaster1.xml"/><Relationship Id="rId5" Type="http://schemas.openxmlformats.org/officeDocument/2006/relationships/tags" Target="../tags/tag7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Master" Target="../slideMasters/slideMaster1.xml"/><Relationship Id="rId5" Type="http://schemas.openxmlformats.org/officeDocument/2006/relationships/tags" Target="../tags/tag107.xml"/><Relationship Id="rId4" Type="http://schemas.openxmlformats.org/officeDocument/2006/relationships/tags" Target="../tags/tag10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slideMaster" Target="../slideMasters/slideMaster1.xml"/><Relationship Id="rId4" Type="http://schemas.openxmlformats.org/officeDocument/2006/relationships/tags" Target="../tags/tag11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Master" Target="../slideMasters/slideMaster1.xml"/><Relationship Id="rId5" Type="http://schemas.openxmlformats.org/officeDocument/2006/relationships/tags" Target="../tags/tag117.xml"/><Relationship Id="rId4" Type="http://schemas.openxmlformats.org/officeDocument/2006/relationships/tags" Target="../tags/tag116.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1.jpg"/></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7.xml"/><Relationship Id="rId7" Type="http://schemas.openxmlformats.org/officeDocument/2006/relationships/tags" Target="../tags/tag131.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39.xml"/><Relationship Id="rId3" Type="http://schemas.openxmlformats.org/officeDocument/2006/relationships/tags" Target="../tags/tag134.xml"/><Relationship Id="rId7" Type="http://schemas.openxmlformats.org/officeDocument/2006/relationships/tags" Target="../tags/tag138.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slideMaster" Target="../slideMasters/slideMaster1.xml"/><Relationship Id="rId5" Type="http://schemas.openxmlformats.org/officeDocument/2006/relationships/tags" Target="../tags/tag144.xml"/><Relationship Id="rId10" Type="http://schemas.openxmlformats.org/officeDocument/2006/relationships/tags" Target="../tags/tag149.xml"/><Relationship Id="rId4" Type="http://schemas.openxmlformats.org/officeDocument/2006/relationships/tags" Target="../tags/tag143.xml"/><Relationship Id="rId9" Type="http://schemas.openxmlformats.org/officeDocument/2006/relationships/tags" Target="../tags/tag148.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slideMaster" Target="../slideMasters/slideMaster1.xml"/><Relationship Id="rId5" Type="http://schemas.openxmlformats.org/officeDocument/2006/relationships/tags" Target="../tags/tag154.xml"/><Relationship Id="rId10" Type="http://schemas.openxmlformats.org/officeDocument/2006/relationships/tags" Target="../tags/tag159.xml"/><Relationship Id="rId4" Type="http://schemas.openxmlformats.org/officeDocument/2006/relationships/tags" Target="../tags/tag153.xml"/><Relationship Id="rId9" Type="http://schemas.openxmlformats.org/officeDocument/2006/relationships/tags" Target="../tags/tag158.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67.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slideMaster" Target="../slideMasters/slideMaster1.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tags" Target="../tags/tag181.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tags" Target="../tags/tag180.xml"/><Relationship Id="rId5" Type="http://schemas.openxmlformats.org/officeDocument/2006/relationships/tags" Target="../tags/tag174.xml"/><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3.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3.xml"/><Relationship Id="rId7" Type="http://schemas.openxmlformats.org/officeDocument/2006/relationships/tags" Target="../tags/tag197.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jpg"/><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slideMaster" Target="../slideMasters/slideMaster1.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tags" Target="../tags/tag20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4.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1.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tags" Target="../tags/tag230.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5" Type="http://schemas.openxmlformats.org/officeDocument/2006/relationships/slideMaster" Target="../slideMasters/slideMaster1.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40.xml"/><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slideMaster" Target="../slideMasters/slideMaster1.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tags" Target="../tags/tag243.xml"/><Relationship Id="rId5" Type="http://schemas.openxmlformats.org/officeDocument/2006/relationships/tags" Target="../tags/tag237.xml"/><Relationship Id="rId10" Type="http://schemas.openxmlformats.org/officeDocument/2006/relationships/tags" Target="../tags/tag242.xml"/><Relationship Id="rId4" Type="http://schemas.openxmlformats.org/officeDocument/2006/relationships/tags" Target="../tags/tag236.xml"/><Relationship Id="rId9" Type="http://schemas.openxmlformats.org/officeDocument/2006/relationships/tags" Target="../tags/tag241.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51.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5" Type="http://schemas.openxmlformats.org/officeDocument/2006/relationships/tags" Target="../tags/tag248.xml"/><Relationship Id="rId10" Type="http://schemas.openxmlformats.org/officeDocument/2006/relationships/slideMaster" Target="../slideMasters/slideMaster1.xml"/><Relationship Id="rId4" Type="http://schemas.openxmlformats.org/officeDocument/2006/relationships/tags" Target="../tags/tag247.xml"/><Relationship Id="rId9" Type="http://schemas.openxmlformats.org/officeDocument/2006/relationships/tags" Target="../tags/tag252.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60.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slideMaster" Target="../slideMasters/slideMaster1.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5" Type="http://schemas.openxmlformats.org/officeDocument/2006/relationships/tags" Target="../tags/tag257.xml"/><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4.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72.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slideMaster" Target="../slideMasters/slideMaster1.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tags" Target="../tags/tag288.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tags" Target="../tags/tag287.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5" Type="http://schemas.openxmlformats.org/officeDocument/2006/relationships/tags" Target="../tags/tag280.xml"/><Relationship Id="rId15" Type="http://schemas.openxmlformats.org/officeDocument/2006/relationships/slideMaster" Target="../slideMasters/slideMaster1.xml"/><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tags" Target="../tags/tag289.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tags" Target="../tags/tag302.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tags" Target="../tags/tag301.xml"/><Relationship Id="rId17" Type="http://schemas.openxmlformats.org/officeDocument/2006/relationships/slideMaster" Target="../slideMasters/slideMaster1.xml"/><Relationship Id="rId2" Type="http://schemas.openxmlformats.org/officeDocument/2006/relationships/tags" Target="../tags/tag291.xml"/><Relationship Id="rId16" Type="http://schemas.openxmlformats.org/officeDocument/2006/relationships/tags" Target="../tags/tag305.xml"/><Relationship Id="rId1" Type="http://schemas.openxmlformats.org/officeDocument/2006/relationships/tags" Target="../tags/tag290.xml"/><Relationship Id="rId6" Type="http://schemas.openxmlformats.org/officeDocument/2006/relationships/tags" Target="../tags/tag295.xml"/><Relationship Id="rId11" Type="http://schemas.openxmlformats.org/officeDocument/2006/relationships/tags" Target="../tags/tag300.xml"/><Relationship Id="rId5" Type="http://schemas.openxmlformats.org/officeDocument/2006/relationships/tags" Target="../tags/tag294.xml"/><Relationship Id="rId15" Type="http://schemas.openxmlformats.org/officeDocument/2006/relationships/tags" Target="../tags/tag304.xml"/><Relationship Id="rId10" Type="http://schemas.openxmlformats.org/officeDocument/2006/relationships/tags" Target="../tags/tag299.xml"/><Relationship Id="rId4" Type="http://schemas.openxmlformats.org/officeDocument/2006/relationships/tags" Target="../tags/tag293.xml"/><Relationship Id="rId9" Type="http://schemas.openxmlformats.org/officeDocument/2006/relationships/tags" Target="../tags/tag298.xml"/><Relationship Id="rId14" Type="http://schemas.openxmlformats.org/officeDocument/2006/relationships/tags" Target="../tags/tag30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6.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tags" Target="../tags/tag319.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tags" Target="../tags/tag318.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tags" Target="../tags/tag317.xml"/><Relationship Id="rId5" Type="http://schemas.openxmlformats.org/officeDocument/2006/relationships/tags" Target="../tags/tag311.xml"/><Relationship Id="rId15" Type="http://schemas.openxmlformats.org/officeDocument/2006/relationships/slideMaster" Target="../slideMasters/slideMaster1.xml"/><Relationship Id="rId10" Type="http://schemas.openxmlformats.org/officeDocument/2006/relationships/tags" Target="../tags/tag316.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slideMaster" Target="../slideMasters/slideMaster1.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slideMaster" Target="../slideMasters/slideMaster1.xml"/><Relationship Id="rId4" Type="http://schemas.openxmlformats.org/officeDocument/2006/relationships/tags" Target="../tags/tag33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slideMaster" Target="../slideMasters/slideMaster1.xml"/><Relationship Id="rId5" Type="http://schemas.openxmlformats.org/officeDocument/2006/relationships/tags" Target="../tags/tag336.xml"/><Relationship Id="rId4" Type="http://schemas.openxmlformats.org/officeDocument/2006/relationships/tags" Target="../tags/tag33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slideMaster" Target="../slideMasters/slideMaster1.xml"/><Relationship Id="rId5" Type="http://schemas.openxmlformats.org/officeDocument/2006/relationships/tags" Target="../tags/tag341.xml"/><Relationship Id="rId4" Type="http://schemas.openxmlformats.org/officeDocument/2006/relationships/tags" Target="../tags/tag34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tags" Target="../tags/tag343.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slideMaster" Target="../slideMasters/slideMaster1.xml"/><Relationship Id="rId2" Type="http://schemas.openxmlformats.org/officeDocument/2006/relationships/tags" Target="../tags/tag28.xml"/><Relationship Id="rId16" Type="http://schemas.openxmlformats.org/officeDocument/2006/relationships/tags" Target="../tags/tag42.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tags" Target="../tags/tag346.xml"/><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9.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tags" Target="../tags/tag350.xml"/><Relationship Id="rId5" Type="http://schemas.openxmlformats.org/officeDocument/2006/relationships/image" Target="../media/image1.jp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slideMaster" Target="../slideMasters/slideMaster1.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noProof="0">
                <a:solidFill>
                  <a:schemeClr val="bg1"/>
                </a:solidFill>
              </a:rPr>
              <a:t>Title layouts</a:t>
            </a:r>
            <a:endParaRPr lang="pl-PL" sz="12000" noProof="0" dirty="0">
              <a:solidFill>
                <a:schemeClr val="bg1"/>
              </a:solidFill>
            </a:endParaRPr>
          </a:p>
        </p:txBody>
      </p:sp>
    </p:spTree>
    <p:extLst>
      <p:ext uri="{BB962C8B-B14F-4D97-AF65-F5344CB8AC3E}">
        <p14:creationId xmlns:p14="http://schemas.microsoft.com/office/powerpoint/2010/main" val="746623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4"/>
            </p:custDataLst>
          </p:nvPr>
        </p:nvSpPr>
        <p:spPr/>
        <p:txBody>
          <a:bodyPr/>
          <a:lstStyle/>
          <a:p>
            <a:r>
              <a:rPr lang="pl-PL"/>
              <a:t>06.11.2024</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5"/>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779961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 20 % X">
    <p:bg>
      <p:bgPr>
        <a:solidFill>
          <a:schemeClr val="tx2"/>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8600919-13F4-6DC6-A2C5-C181B01667E7}"/>
              </a:ext>
            </a:extLst>
          </p:cNvPr>
          <p:cNvSpPr/>
          <p:nvPr userDrawn="1">
            <p:custDataLst>
              <p:tags r:id="rId1"/>
            </p:custDataLst>
          </p:nvPr>
        </p:nvSpPr>
        <p:spPr>
          <a:xfrm>
            <a:off x="538798" y="0"/>
            <a:ext cx="11653201"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Freihandform: Form 8">
            <a:extLst>
              <a:ext uri="{FF2B5EF4-FFF2-40B4-BE49-F238E27FC236}">
                <a16:creationId xmlns:a16="http://schemas.microsoft.com/office/drawing/2014/main" id="{5F00AFF7-0142-C5BB-0F49-A9400DE07C8D}"/>
              </a:ext>
            </a:extLst>
          </p:cNvPr>
          <p:cNvSpPr/>
          <p:nvPr userDrawn="1">
            <p:custDataLst>
              <p:tags r:id="rId2"/>
            </p:custDataLst>
          </p:nvPr>
        </p:nvSpPr>
        <p:spPr>
          <a:xfrm>
            <a:off x="538800" y="0"/>
            <a:ext cx="11653200" cy="6858000"/>
          </a:xfrm>
          <a:custGeom>
            <a:avLst/>
            <a:gdLst>
              <a:gd name="connsiteX0" fmla="*/ 8962954 w 11653200"/>
              <a:gd name="connsiteY0" fmla="*/ 5902032 h 6858000"/>
              <a:gd name="connsiteX1" fmla="*/ 9558209 w 11653200"/>
              <a:gd name="connsiteY1" fmla="*/ 6677066 h 6858000"/>
              <a:gd name="connsiteX2" fmla="*/ 9697212 w 11653200"/>
              <a:gd name="connsiteY2" fmla="*/ 6858000 h 6858000"/>
              <a:gd name="connsiteX3" fmla="*/ 8228972 w 11653200"/>
              <a:gd name="connsiteY3" fmla="*/ 6858000 h 6858000"/>
              <a:gd name="connsiteX4" fmla="*/ 8367932 w 11653200"/>
              <a:gd name="connsiteY4" fmla="*/ 6677066 h 6858000"/>
              <a:gd name="connsiteX5" fmla="*/ 8962954 w 11653200"/>
              <a:gd name="connsiteY5" fmla="*/ 5902032 h 6858000"/>
              <a:gd name="connsiteX6" fmla="*/ 11653200 w 11653200"/>
              <a:gd name="connsiteY6" fmla="*/ 2397407 h 6858000"/>
              <a:gd name="connsiteX7" fmla="*/ 11653200 w 11653200"/>
              <a:gd name="connsiteY7" fmla="*/ 4454973 h 6858000"/>
              <a:gd name="connsiteX8" fmla="*/ 11484514 w 11653200"/>
              <a:gd name="connsiteY8" fmla="*/ 4235131 h 6858000"/>
              <a:gd name="connsiteX9" fmla="*/ 10863789 w 11653200"/>
              <a:gd name="connsiteY9" fmla="*/ 3426358 h 6858000"/>
              <a:gd name="connsiteX10" fmla="*/ 11484514 w 11653200"/>
              <a:gd name="connsiteY10" fmla="*/ 2617281 h 6858000"/>
              <a:gd name="connsiteX11" fmla="*/ 8232718 w 11653200"/>
              <a:gd name="connsiteY11" fmla="*/ 0 h 6858000"/>
              <a:gd name="connsiteX12" fmla="*/ 9693465 w 11653200"/>
              <a:gd name="connsiteY12" fmla="*/ 0 h 6858000"/>
              <a:gd name="connsiteX13" fmla="*/ 9558209 w 11653200"/>
              <a:gd name="connsiteY13" fmla="*/ 176004 h 6858000"/>
              <a:gd name="connsiteX14" fmla="*/ 8962954 w 11653200"/>
              <a:gd name="connsiteY14" fmla="*/ 950582 h 6858000"/>
              <a:gd name="connsiteX15" fmla="*/ 8367932 w 11653200"/>
              <a:gd name="connsiteY15" fmla="*/ 176004 h 6858000"/>
              <a:gd name="connsiteX16" fmla="*/ 0 w 11653200"/>
              <a:gd name="connsiteY16" fmla="*/ 0 h 6858000"/>
              <a:gd name="connsiteX17" fmla="*/ 4434358 w 11653200"/>
              <a:gd name="connsiteY17" fmla="*/ 0 h 6858000"/>
              <a:gd name="connsiteX18" fmla="*/ 4473888 w 11653200"/>
              <a:gd name="connsiteY18" fmla="*/ 51575 h 6858000"/>
              <a:gd name="connsiteX19" fmla="*/ 7062621 w 11653200"/>
              <a:gd name="connsiteY19" fmla="*/ 3426358 h 6858000"/>
              <a:gd name="connsiteX20" fmla="*/ 4473888 w 11653200"/>
              <a:gd name="connsiteY20" fmla="*/ 6801008 h 6858000"/>
              <a:gd name="connsiteX21" fmla="*/ 4430208 w 11653200"/>
              <a:gd name="connsiteY21" fmla="*/ 6858000 h 6858000"/>
              <a:gd name="connsiteX22" fmla="*/ 0 w 11653200"/>
              <a:gd name="connsiteY2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653200" h="6858000">
                <a:moveTo>
                  <a:pt x="8962954" y="5902032"/>
                </a:moveTo>
                <a:cubicBezTo>
                  <a:pt x="9171408" y="6173496"/>
                  <a:pt x="9371050" y="6433432"/>
                  <a:pt x="9558209" y="6677066"/>
                </a:cubicBezTo>
                <a:lnTo>
                  <a:pt x="9697212" y="6858000"/>
                </a:lnTo>
                <a:lnTo>
                  <a:pt x="8228972" y="6858000"/>
                </a:lnTo>
                <a:lnTo>
                  <a:pt x="8367932" y="6677066"/>
                </a:lnTo>
                <a:cubicBezTo>
                  <a:pt x="8555029" y="6433432"/>
                  <a:pt x="8754594" y="6173496"/>
                  <a:pt x="8962954" y="5902032"/>
                </a:cubicBezTo>
                <a:close/>
                <a:moveTo>
                  <a:pt x="11653200" y="2397407"/>
                </a:moveTo>
                <a:lnTo>
                  <a:pt x="11653200" y="4454973"/>
                </a:lnTo>
                <a:lnTo>
                  <a:pt x="11484514" y="4235131"/>
                </a:lnTo>
                <a:cubicBezTo>
                  <a:pt x="11280824" y="3969692"/>
                  <a:pt x="11072979" y="3698878"/>
                  <a:pt x="10863789" y="3426358"/>
                </a:cubicBezTo>
                <a:cubicBezTo>
                  <a:pt x="11072979" y="3153687"/>
                  <a:pt x="11280824" y="2882777"/>
                  <a:pt x="11484514" y="2617281"/>
                </a:cubicBezTo>
                <a:close/>
                <a:moveTo>
                  <a:pt x="8232718" y="0"/>
                </a:moveTo>
                <a:lnTo>
                  <a:pt x="9693465" y="0"/>
                </a:lnTo>
                <a:lnTo>
                  <a:pt x="9558209" y="176004"/>
                </a:lnTo>
                <a:cubicBezTo>
                  <a:pt x="9371050" y="419551"/>
                  <a:pt x="9171408" y="679345"/>
                  <a:pt x="8962954" y="950582"/>
                </a:cubicBezTo>
                <a:cubicBezTo>
                  <a:pt x="8754594" y="679345"/>
                  <a:pt x="8555029" y="419551"/>
                  <a:pt x="8367932" y="176004"/>
                </a:cubicBezTo>
                <a:close/>
                <a:moveTo>
                  <a:pt x="0" y="0"/>
                </a:moveTo>
                <a:lnTo>
                  <a:pt x="4434358" y="0"/>
                </a:lnTo>
                <a:lnTo>
                  <a:pt x="4473888" y="51575"/>
                </a:lnTo>
                <a:cubicBezTo>
                  <a:pt x="5105603" y="875701"/>
                  <a:pt x="6068971" y="2131172"/>
                  <a:pt x="7062621" y="3426358"/>
                </a:cubicBezTo>
                <a:cubicBezTo>
                  <a:pt x="6068971" y="4720827"/>
                  <a:pt x="5105603" y="5976822"/>
                  <a:pt x="4473888" y="6801008"/>
                </a:cubicBezTo>
                <a:lnTo>
                  <a:pt x="443020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4"/>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6"/>
            </p:custDataLst>
          </p:nvPr>
        </p:nvSpPr>
        <p:spPr/>
        <p:txBody>
          <a:bodyPr/>
          <a:lstStyle/>
          <a:p>
            <a:r>
              <a:rPr lang="pl-PL"/>
              <a:t>06.11.2024</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7"/>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8"/>
            </p:custDataLst>
          </p:nvPr>
        </p:nvSpPr>
        <p:spPr/>
        <p:txBody>
          <a:bodyPr/>
          <a:lstStyle/>
          <a:p>
            <a:fld id="{92DB0D90-6264-4E90-9724-ABC670DBF4FB}" type="slidenum">
              <a:rPr lang="pl-PL" smtClean="0"/>
              <a:pPr/>
              <a:t>‹#›</a:t>
            </a:fld>
            <a:endParaRPr lang="pl-PL" dirty="0"/>
          </a:p>
        </p:txBody>
      </p:sp>
      <p:sp>
        <p:nvSpPr>
          <p:cNvPr id="3" name="Rechteck 2">
            <a:extLst>
              <a:ext uri="{FF2B5EF4-FFF2-40B4-BE49-F238E27FC236}">
                <a16:creationId xmlns:a16="http://schemas.microsoft.com/office/drawing/2014/main" id="{E496BA2E-1480-0685-59EA-10967269F16F}"/>
              </a:ext>
            </a:extLst>
          </p:cNvPr>
          <p:cNvSpPr/>
          <p:nvPr userDrawn="1">
            <p:custDataLst>
              <p:tags r:id="rId9"/>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4" name="Rechteck 3">
            <a:extLst>
              <a:ext uri="{FF2B5EF4-FFF2-40B4-BE49-F238E27FC236}">
                <a16:creationId xmlns:a16="http://schemas.microsoft.com/office/drawing/2014/main" id="{1F9CF062-E67F-69B9-3ADB-F5E5A538C0ED}"/>
              </a:ext>
            </a:extLst>
          </p:cNvPr>
          <p:cNvSpPr>
            <a:spLocks/>
          </p:cNvSpPr>
          <p:nvPr userDrawn="1">
            <p:custDataLst>
              <p:tags r:id="rId1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4065006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Inhaltsplatzhalter 2">
            <a:extLst>
              <a:ext uri="{FF2B5EF4-FFF2-40B4-BE49-F238E27FC236}">
                <a16:creationId xmlns:a16="http://schemas.microsoft.com/office/drawing/2014/main" id="{439C0895-1734-BA09-0AE8-E0C4B5B7D345}"/>
              </a:ext>
            </a:extLst>
          </p:cNvPr>
          <p:cNvSpPr>
            <a:spLocks noGrp="1"/>
          </p:cNvSpPr>
          <p:nvPr>
            <p:ph idx="1" hasCustomPrompt="1"/>
            <p:custDataLst>
              <p:tags r:id="rId2"/>
            </p:custDataLst>
          </p:nvPr>
        </p:nvSpPr>
        <p:spPr>
          <a:xfrm>
            <a:off x="898525" y="1548000"/>
            <a:ext cx="9528176" cy="4586400"/>
          </a:xfrm>
        </p:spPr>
        <p:txBody>
          <a:bodyPr/>
          <a:lstStyle/>
          <a:p>
            <a:pPr lvl="0"/>
            <a:r>
              <a:rPr lang="pl-PL" dirty="0" err="1"/>
              <a:t>Please</a:t>
            </a:r>
            <a:r>
              <a:rPr lang="pl-PL" dirty="0"/>
              <a:t> format the </a:t>
            </a:r>
            <a:r>
              <a:rPr lang="pl-PL" dirty="0" err="1"/>
              <a:t>text</a:t>
            </a:r>
            <a:r>
              <a:rPr lang="pl-PL" dirty="0"/>
              <a:t> via the List Level </a:t>
            </a:r>
            <a:r>
              <a:rPr lang="pl-PL" dirty="0" err="1"/>
              <a:t>button</a:t>
            </a:r>
            <a:endParaRPr lang="pl-PL" dirty="0"/>
          </a:p>
          <a:p>
            <a:pPr lvl="1"/>
            <a:r>
              <a:rPr lang="pl-PL" dirty="0" err="1"/>
              <a:t>Zweite</a:t>
            </a:r>
            <a:r>
              <a:rPr lang="pl-PL" dirty="0"/>
              <a:t> </a:t>
            </a:r>
            <a:r>
              <a:rPr lang="pl-PL" dirty="0" err="1"/>
              <a:t>Ebene</a:t>
            </a:r>
            <a:endParaRPr lang="pl-PL" dirty="0"/>
          </a:p>
          <a:p>
            <a:pPr lvl="2"/>
            <a:r>
              <a:rPr lang="pl-PL" dirty="0" err="1"/>
              <a:t>Dritte</a:t>
            </a:r>
            <a:r>
              <a:rPr lang="pl-PL" dirty="0"/>
              <a:t> </a:t>
            </a:r>
            <a:r>
              <a:rPr lang="pl-PL" dirty="0" err="1"/>
              <a:t>Ebene</a:t>
            </a:r>
            <a:endParaRPr lang="pl-PL" dirty="0"/>
          </a:p>
          <a:p>
            <a:pPr lvl="3"/>
            <a:r>
              <a:rPr lang="pl-PL" dirty="0" err="1"/>
              <a:t>Vierte</a:t>
            </a:r>
            <a:r>
              <a:rPr lang="pl-PL" dirty="0"/>
              <a:t> </a:t>
            </a:r>
            <a:r>
              <a:rPr lang="pl-PL" dirty="0" err="1"/>
              <a:t>Ebene</a:t>
            </a:r>
            <a:endParaRPr lang="pl-PL" dirty="0"/>
          </a:p>
          <a:p>
            <a:pPr lvl="4"/>
            <a:r>
              <a:rPr lang="pl-PL" dirty="0" err="1"/>
              <a:t>Fünfte</a:t>
            </a:r>
            <a:r>
              <a:rPr lang="pl-PL" dirty="0"/>
              <a:t> </a:t>
            </a:r>
            <a:r>
              <a:rPr lang="pl-PL" dirty="0" err="1"/>
              <a:t>Eben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6" name="Datumsplatzhalter 5">
            <a:extLst>
              <a:ext uri="{FF2B5EF4-FFF2-40B4-BE49-F238E27FC236}">
                <a16:creationId xmlns:a16="http://schemas.microsoft.com/office/drawing/2014/main" id="{F65EE91B-E413-FBA1-851B-B5E21653450C}"/>
              </a:ext>
            </a:extLst>
          </p:cNvPr>
          <p:cNvSpPr>
            <a:spLocks noGrp="1"/>
          </p:cNvSpPr>
          <p:nvPr>
            <p:ph type="dt" sz="half" idx="15"/>
            <p:custDataLst>
              <p:tags r:id="rId4"/>
            </p:custDataLst>
          </p:nvPr>
        </p:nvSpPr>
        <p:spPr/>
        <p:txBody>
          <a:bodyPr/>
          <a:lstStyle/>
          <a:p>
            <a:r>
              <a:rPr lang="pl-PL"/>
              <a:t>06.11.2024</a:t>
            </a:r>
            <a:endParaRPr lang="pl-PL" dirty="0"/>
          </a:p>
        </p:txBody>
      </p:sp>
      <p:sp>
        <p:nvSpPr>
          <p:cNvPr id="7" name="Fußzeilenplatzhalter 6">
            <a:extLst>
              <a:ext uri="{FF2B5EF4-FFF2-40B4-BE49-F238E27FC236}">
                <a16:creationId xmlns:a16="http://schemas.microsoft.com/office/drawing/2014/main" id="{3981CF2A-9397-021B-ED84-E09550FFA8B3}"/>
              </a:ext>
            </a:extLst>
          </p:cNvPr>
          <p:cNvSpPr>
            <a:spLocks noGrp="1"/>
          </p:cNvSpPr>
          <p:nvPr>
            <p:ph type="ftr" sz="quarter" idx="16"/>
            <p:custDataLst>
              <p:tags r:id="rId5"/>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3A97FDEB-BB52-F8C8-EAAF-F91A15687AE1}"/>
              </a:ext>
            </a:extLst>
          </p:cNvPr>
          <p:cNvSpPr>
            <a:spLocks noGrp="1"/>
          </p:cNvSpPr>
          <p:nvPr>
            <p:ph type="sldNum" sz="quarter" idx="17"/>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2664013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579138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
        <p:nvSpPr>
          <p:cNvPr id="2" name="Textplatzhalter 4">
            <a:extLst>
              <a:ext uri="{FF2B5EF4-FFF2-40B4-BE49-F238E27FC236}">
                <a16:creationId xmlns:a16="http://schemas.microsoft.com/office/drawing/2014/main" id="{C0944364-B53D-1198-F1CA-032D070525E2}"/>
              </a:ext>
            </a:extLst>
          </p:cNvPr>
          <p:cNvSpPr>
            <a:spLocks noGrp="1"/>
          </p:cNvSpPr>
          <p:nvPr>
            <p:ph type="body" sz="quarter" idx="21" hasCustomPrompt="1"/>
            <p:custDataLst>
              <p:tags r:id="rId7"/>
            </p:custDataLst>
          </p:nvPr>
        </p:nvSpPr>
        <p:spPr>
          <a:xfrm>
            <a:off x="6545263"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Tree>
    <p:extLst>
      <p:ext uri="{BB962C8B-B14F-4D97-AF65-F5344CB8AC3E}">
        <p14:creationId xmlns:p14="http://schemas.microsoft.com/office/powerpoint/2010/main" val="3078075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8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38766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886651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Headlin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Datumsplatzhalter 2">
            <a:extLst>
              <a:ext uri="{FF2B5EF4-FFF2-40B4-BE49-F238E27FC236}">
                <a16:creationId xmlns:a16="http://schemas.microsoft.com/office/drawing/2014/main" id="{D07DB473-962D-AD57-9196-D5A180E4ABF1}"/>
              </a:ext>
            </a:extLst>
          </p:cNvPr>
          <p:cNvSpPr>
            <a:spLocks noGrp="1"/>
          </p:cNvSpPr>
          <p:nvPr>
            <p:ph type="dt" sz="half" idx="15"/>
            <p:custDataLst>
              <p:tags r:id="rId2"/>
            </p:custDataLst>
          </p:nvPr>
        </p:nvSpPr>
        <p:spPr/>
        <p:txBody>
          <a:bodyPr/>
          <a:lstStyle/>
          <a:p>
            <a:r>
              <a:rPr lang="pl-PL"/>
              <a:t>06.11.2024</a:t>
            </a:r>
            <a:endParaRPr lang="pl-PL" dirty="0"/>
          </a:p>
        </p:txBody>
      </p:sp>
      <p:sp>
        <p:nvSpPr>
          <p:cNvPr id="8" name="Fußzeilenplatzhalter 7">
            <a:extLst>
              <a:ext uri="{FF2B5EF4-FFF2-40B4-BE49-F238E27FC236}">
                <a16:creationId xmlns:a16="http://schemas.microsoft.com/office/drawing/2014/main" id="{476C8BE4-5DDD-0B65-47D8-3F7B1F7B2592}"/>
              </a:ext>
            </a:extLst>
          </p:cNvPr>
          <p:cNvSpPr>
            <a:spLocks noGrp="1"/>
          </p:cNvSpPr>
          <p:nvPr>
            <p:ph type="ftr" sz="quarter" idx="16"/>
            <p:custDataLst>
              <p:tags r:id="rId3"/>
            </p:custDataLst>
          </p:nvPr>
        </p:nvSpPr>
        <p:spPr/>
        <p:txBody>
          <a:bodyPr/>
          <a:lstStyle/>
          <a:p>
            <a:r>
              <a:rPr lang="pl-PL"/>
              <a:t>Najważniejsze informacje o dawstwie szpiku | C1- Public | #KOMÓRKOMANIA</a:t>
            </a:r>
            <a:endParaRPr lang="pl-PL" dirty="0"/>
          </a:p>
        </p:txBody>
      </p:sp>
      <p:sp>
        <p:nvSpPr>
          <p:cNvPr id="9" name="Foliennummernplatzhalter 8">
            <a:extLst>
              <a:ext uri="{FF2B5EF4-FFF2-40B4-BE49-F238E27FC236}">
                <a16:creationId xmlns:a16="http://schemas.microsoft.com/office/drawing/2014/main" id="{25F6BD41-6F25-DDC7-01AD-FD1B37FBE89F}"/>
              </a:ext>
            </a:extLst>
          </p:cNvPr>
          <p:cNvSpPr>
            <a:spLocks noGrp="1"/>
          </p:cNvSpPr>
          <p:nvPr>
            <p:ph type="sldNum" sz="quarter" idx="17"/>
            <p:custDataLst>
              <p:tags r:id="rId4"/>
            </p:custDataLst>
          </p:nvPr>
        </p:nvSpPr>
        <p:spPr/>
        <p:txBody>
          <a:bodyPr/>
          <a:lstStyle/>
          <a:p>
            <a:fld id="{92DB0D90-6264-4E90-9724-ABC670DBF4FB}" type="slidenum">
              <a:rPr lang="pl-PL" smtClean="0"/>
              <a:pPr/>
              <a:t>‹#›</a:t>
            </a:fld>
            <a:endParaRPr lang="pl-PL" dirty="0"/>
          </a:p>
        </p:txBody>
      </p:sp>
      <p:sp>
        <p:nvSpPr>
          <p:cNvPr id="10" name="Titel 9">
            <a:extLst>
              <a:ext uri="{FF2B5EF4-FFF2-40B4-BE49-F238E27FC236}">
                <a16:creationId xmlns:a16="http://schemas.microsoft.com/office/drawing/2014/main" id="{A7009BFE-C474-5719-70CC-7E16EC314E9B}"/>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Tree>
    <p:extLst>
      <p:ext uri="{BB962C8B-B14F-4D97-AF65-F5344CB8AC3E}">
        <p14:creationId xmlns:p14="http://schemas.microsoft.com/office/powerpoint/2010/main" val="36300465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c">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891AE8F-062D-6295-CA3F-35725C666124}"/>
              </a:ext>
            </a:extLst>
          </p:cNvPr>
          <p:cNvSpPr/>
          <p:nvPr userDrawn="1">
            <p:custDataLst>
              <p:tags r:id="rId1"/>
            </p:custDataLst>
          </p:nvPr>
        </p:nvSpPr>
        <p:spPr>
          <a:xfrm>
            <a:off x="729672" y="387927"/>
            <a:ext cx="1219200" cy="369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3" name="Datumsplatzhalter 2">
            <a:extLst>
              <a:ext uri="{FF2B5EF4-FFF2-40B4-BE49-F238E27FC236}">
                <a16:creationId xmlns:a16="http://schemas.microsoft.com/office/drawing/2014/main" id="{1B632C87-A27A-7229-D788-51616F43D34C}"/>
              </a:ext>
            </a:extLst>
          </p:cNvPr>
          <p:cNvSpPr>
            <a:spLocks noGrp="1"/>
          </p:cNvSpPr>
          <p:nvPr>
            <p:ph type="dt" sz="half" idx="10"/>
            <p:custDataLst>
              <p:tags r:id="rId2"/>
            </p:custDataLst>
          </p:nvPr>
        </p:nvSpPr>
        <p:spPr/>
        <p:txBody>
          <a:bodyPr/>
          <a:lstStyle/>
          <a:p>
            <a:r>
              <a:rPr lang="pl-PL"/>
              <a:t>06.11.2024</a:t>
            </a:r>
            <a:endParaRPr lang="pl-PL" dirty="0"/>
          </a:p>
        </p:txBody>
      </p:sp>
      <p:sp>
        <p:nvSpPr>
          <p:cNvPr id="4" name="Fußzeilenplatzhalter 3">
            <a:extLst>
              <a:ext uri="{FF2B5EF4-FFF2-40B4-BE49-F238E27FC236}">
                <a16:creationId xmlns:a16="http://schemas.microsoft.com/office/drawing/2014/main" id="{7A33577A-E104-2170-D56B-621A46F28E12}"/>
              </a:ext>
            </a:extLst>
          </p:cNvPr>
          <p:cNvSpPr>
            <a:spLocks noGrp="1"/>
          </p:cNvSpPr>
          <p:nvPr>
            <p:ph type="ftr" sz="quarter" idx="11"/>
            <p:custDataLst>
              <p:tags r:id="rId3"/>
            </p:custDataLst>
          </p:nvPr>
        </p:nvSpPr>
        <p:spPr/>
        <p:txBody>
          <a:bodyPr/>
          <a:lstStyle/>
          <a:p>
            <a:r>
              <a:rPr lang="pl-PL"/>
              <a:t>Najważniejsze informacje o dawstwie szpiku | C1- Public | #KOMÓRKOMANIA</a:t>
            </a:r>
            <a:endParaRPr lang="pl-PL" dirty="0"/>
          </a:p>
        </p:txBody>
      </p:sp>
      <p:sp>
        <p:nvSpPr>
          <p:cNvPr id="5" name="Foliennummernplatzhalter 4">
            <a:extLst>
              <a:ext uri="{FF2B5EF4-FFF2-40B4-BE49-F238E27FC236}">
                <a16:creationId xmlns:a16="http://schemas.microsoft.com/office/drawing/2014/main" id="{B02D7620-6BD3-0124-6C9B-7D0E79826CF9}"/>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16646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mage text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Image text layouts  </a:t>
            </a:r>
            <a:endParaRPr lang="pl-PL" sz="12000" dirty="0">
              <a:solidFill>
                <a:schemeClr val="bg1"/>
              </a:solidFill>
            </a:endParaRPr>
          </a:p>
        </p:txBody>
      </p:sp>
    </p:spTree>
    <p:extLst>
      <p:ext uri="{BB962C8B-B14F-4D97-AF65-F5344CB8AC3E}">
        <p14:creationId xmlns:p14="http://schemas.microsoft.com/office/powerpoint/2010/main" val="34006356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 text + imag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3">
            <a:extLst>
              <a:ext uri="{FF2B5EF4-FFF2-40B4-BE49-F238E27FC236}">
                <a16:creationId xmlns:a16="http://schemas.microsoft.com/office/drawing/2014/main" id="{EB7C6611-1997-1E05-1D82-0E98671BA6C1}"/>
              </a:ext>
            </a:extLst>
          </p:cNvPr>
          <p:cNvSpPr>
            <a:spLocks noGrp="1"/>
          </p:cNvSpPr>
          <p:nvPr>
            <p:ph type="pic" sz="quarter" idx="19" hasCustomPrompt="1"/>
            <p:custDataLst>
              <p:tags r:id="rId3"/>
            </p:custDataLst>
          </p:nvPr>
        </p:nvSpPr>
        <p:spPr>
          <a:xfrm>
            <a:off x="7962899" y="0"/>
            <a:ext cx="4229099"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12" name="Titel 11">
            <a:extLst>
              <a:ext uri="{FF2B5EF4-FFF2-40B4-BE49-F238E27FC236}">
                <a16:creationId xmlns:a16="http://schemas.microsoft.com/office/drawing/2014/main" id="{230A5D0A-A03C-2A34-B1E1-C81F0317F54F}"/>
              </a:ext>
            </a:extLst>
          </p:cNvPr>
          <p:cNvSpPr>
            <a:spLocks noGrp="1"/>
          </p:cNvSpPr>
          <p:nvPr>
            <p:ph type="title" hasCustomPrompt="1"/>
            <p:custDataLst>
              <p:tags r:id="rId4"/>
            </p:custDataLst>
          </p:nvPr>
        </p:nvSpPr>
        <p:spPr>
          <a:xfrm>
            <a:off x="898525" y="683999"/>
            <a:ext cx="5286375" cy="759600"/>
          </a:xfrm>
        </p:spPr>
        <p:txBody>
          <a:bodyPr/>
          <a:lstStyle>
            <a:lvl1pPr>
              <a:defRPr/>
            </a:lvl1pPr>
          </a:lstStyle>
          <a:p>
            <a:r>
              <a:rPr lang="pl-PL"/>
              <a:t>Headline</a:t>
            </a:r>
            <a:endParaRPr lang="pl-PL" dirty="0"/>
          </a:p>
        </p:txBody>
      </p:sp>
      <p:sp>
        <p:nvSpPr>
          <p:cNvPr id="14" name="Fußzeilenplatzhalter 13">
            <a:extLst>
              <a:ext uri="{FF2B5EF4-FFF2-40B4-BE49-F238E27FC236}">
                <a16:creationId xmlns:a16="http://schemas.microsoft.com/office/drawing/2014/main" id="{ADCF5EB0-9B83-68B8-9C92-39A62F7E3B1D}"/>
              </a:ext>
            </a:extLst>
          </p:cNvPr>
          <p:cNvSpPr>
            <a:spLocks noGrp="1"/>
          </p:cNvSpPr>
          <p:nvPr>
            <p:ph type="ftr" sz="quarter" idx="21"/>
            <p:custDataLst>
              <p:tags r:id="rId5"/>
            </p:custDataLst>
          </p:nvPr>
        </p:nvSpPr>
        <p:spPr>
          <a:xfrm>
            <a:off x="1878676" y="6470705"/>
            <a:ext cx="5715925" cy="281691"/>
          </a:xfrm>
        </p:spPr>
        <p:txBody>
          <a:bodyPr/>
          <a:lstStyle>
            <a:lvl1pPr algn="r">
              <a:defRPr/>
            </a:lvl1p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061826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tx2"/>
        </a:solidFill>
        <a:effectLst/>
      </p:bgPr>
    </p:bg>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8031A212-EFA4-1FC0-A634-A5484954E738}"/>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1" name="Bildplatzhalter">
            <a:extLst>
              <a:ext uri="{FF2B5EF4-FFF2-40B4-BE49-F238E27FC236}">
                <a16:creationId xmlns:a16="http://schemas.microsoft.com/office/drawing/2014/main" id="{EF5AEA91-2AC7-F0F0-9782-C62498B58821}"/>
              </a:ext>
            </a:extLst>
          </p:cNvPr>
          <p:cNvSpPr>
            <a:spLocks noGrp="1"/>
          </p:cNvSpPr>
          <p:nvPr>
            <p:ph type="pic" sz="quarter" idx="11" hasCustomPrompt="1"/>
            <p:custDataLst>
              <p:tags r:id="rId2"/>
            </p:custDataLst>
          </p:nvPr>
        </p:nvSpPr>
        <p:spPr>
          <a:xfrm>
            <a:off x="4902228" y="-1"/>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txBody>
          <a:bodyPr wrap="square" lIns="720000" tIns="720000" rIns="3600000" bIns="0">
            <a:noAutofit/>
          </a:bodyPr>
          <a:lstStyle>
            <a:lvl1pPr>
              <a:defRPr sz="800"/>
            </a:lvl1pPr>
            <a:lvl2pPr marL="0" indent="0" algn="l">
              <a:buNone/>
              <a:defRPr sz="800"/>
            </a:lvl2pPr>
          </a:lstStyle>
          <a:p>
            <a:pPr lvl="1"/>
            <a:r>
              <a:rPr lang="pl-PL" noProof="0"/>
              <a:t>Do not use copy-and-paste to load the picture, </a:t>
            </a:r>
            <a:br>
              <a:rPr lang="pl-PL" noProof="0"/>
            </a:br>
            <a:r>
              <a:rPr lang="pl-PL" noProof="0"/>
              <a:t>copy-and-paste does not work with the X special picture placeholders.</a:t>
            </a:r>
            <a:br>
              <a:rPr lang="pl-PL" noProof="0"/>
            </a:br>
            <a:br>
              <a:rPr lang="pl-PL" noProof="0"/>
            </a:br>
            <a:r>
              <a:rPr lang="pl-PL" noProof="0"/>
              <a:t>To load a picture into the X picture placeholder, activate the picture placeholder by clicking on it. </a:t>
            </a:r>
            <a:br>
              <a:rPr lang="pl-PL" noProof="0"/>
            </a:br>
            <a:r>
              <a:rPr lang="pl-PL" noProof="0"/>
              <a:t>Then load the picture via Menu → Insert → Pictures → Insert Picture From …</a:t>
            </a:r>
            <a:br>
              <a:rPr lang="pl-PL" noProof="0"/>
            </a:br>
            <a:br>
              <a:rPr lang="pl-PL" noProof="0"/>
            </a:br>
            <a:r>
              <a:rPr lang="pl-PL" noProof="0"/>
              <a:t>If the red X element is in the way, place it in the background. </a:t>
            </a:r>
            <a:br>
              <a:rPr lang="pl-PL" noProof="0"/>
            </a:br>
            <a:r>
              <a:rPr lang="pl-PL" noProof="0"/>
              <a:t>After the picture is loaded into the picture placeholder, </a:t>
            </a:r>
            <a:br>
              <a:rPr lang="pl-PL" noProof="0"/>
            </a:br>
            <a:r>
              <a:rPr lang="pl-PL" noProof="0"/>
              <a:t>place the picture in the background</a:t>
            </a:r>
            <a:endParaRPr lang="pl-PL" noProof="0"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noProof="0"/>
              <a:t>Headline</a:t>
            </a:r>
            <a:endParaRPr lang="pl-PL" noProof="0"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noProof="0"/>
              <a:t>Subline</a:t>
            </a:r>
            <a:endParaRPr lang="pl-PL" noProof="0"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oter Balken 21 % Transparenz">
            <a:extLst>
              <a:ext uri="{FF2B5EF4-FFF2-40B4-BE49-F238E27FC236}">
                <a16:creationId xmlns:a16="http://schemas.microsoft.com/office/drawing/2014/main" id="{76EC34EF-2CF1-FC63-29DC-C6AC09592D57}"/>
              </a:ext>
            </a:extLst>
          </p:cNvPr>
          <p:cNvSpPr>
            <a:spLocks noGrp="1"/>
          </p:cNvSpPr>
          <p:nvPr>
            <p:ph type="body" sz="quarter" idx="13"/>
            <p:custDataLst>
              <p:tags r:id="rId6"/>
            </p:custDataLst>
          </p:nvPr>
        </p:nvSpPr>
        <p:spPr>
          <a:xfrm>
            <a:off x="4903968" y="0"/>
            <a:ext cx="7288033" cy="6858000"/>
          </a:xfrm>
          <a:custGeom>
            <a:avLst/>
            <a:gdLst>
              <a:gd name="connsiteX0" fmla="*/ 5264141 w 7288033"/>
              <a:gd name="connsiteY0" fmla="*/ 0 h 6858000"/>
              <a:gd name="connsiteX1" fmla="*/ 7288033 w 7288033"/>
              <a:gd name="connsiteY1" fmla="*/ 0 h 6858000"/>
              <a:gd name="connsiteX2" fmla="*/ 7288033 w 7288033"/>
              <a:gd name="connsiteY2" fmla="*/ 3035642 h 6858000"/>
              <a:gd name="connsiteX3" fmla="*/ 7026984 w 7288033"/>
              <a:gd name="connsiteY3" fmla="*/ 3375779 h 6858000"/>
              <a:gd name="connsiteX4" fmla="*/ 4428304 w 7288033"/>
              <a:gd name="connsiteY4" fmla="*/ 6761143 h 6858000"/>
              <a:gd name="connsiteX5" fmla="*/ 4353940 w 7288033"/>
              <a:gd name="connsiteY5" fmla="*/ 6858000 h 6858000"/>
              <a:gd name="connsiteX6" fmla="*/ 0 w 7288033"/>
              <a:gd name="connsiteY6" fmla="*/ 6858000 h 6858000"/>
              <a:gd name="connsiteX7" fmla="*/ 139962 w 7288033"/>
              <a:gd name="connsiteY7" fmla="*/ 6675604 h 6858000"/>
              <a:gd name="connsiteX8" fmla="*/ 5193258 w 7288033"/>
              <a:gd name="connsiteY8" fmla="*/ 923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8033" h="6858000">
                <a:moveTo>
                  <a:pt x="5264141" y="0"/>
                </a:moveTo>
                <a:lnTo>
                  <a:pt x="7288033" y="0"/>
                </a:lnTo>
                <a:lnTo>
                  <a:pt x="7288033" y="3035642"/>
                </a:lnTo>
                <a:lnTo>
                  <a:pt x="7026984" y="3375779"/>
                </a:lnTo>
                <a:cubicBezTo>
                  <a:pt x="6128175" y="4546865"/>
                  <a:pt x="5205306" y="5749093"/>
                  <a:pt x="4428304" y="6761143"/>
                </a:cubicBezTo>
                <a:lnTo>
                  <a:pt x="4353940" y="6858000"/>
                </a:lnTo>
                <a:lnTo>
                  <a:pt x="0" y="6858000"/>
                </a:lnTo>
                <a:lnTo>
                  <a:pt x="139962" y="6675604"/>
                </a:lnTo>
                <a:cubicBezTo>
                  <a:pt x="1501647" y="4901104"/>
                  <a:pt x="3639207" y="2116299"/>
                  <a:pt x="5193258" y="92314"/>
                </a:cubicBezTo>
                <a:close/>
              </a:path>
            </a:pathLst>
          </a:custGeom>
          <a:solidFill>
            <a:schemeClr val="tx2">
              <a:alpha val="30000"/>
            </a:schemeClr>
          </a:solidFill>
        </p:spPr>
        <p:txBody>
          <a:bodyPr wrap="square">
            <a:noAutofit/>
          </a:bodyPr>
          <a:lstStyle>
            <a:lvl1pPr>
              <a:defRPr sz="800">
                <a:no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noProof="0"/>
              <a:t>Edit Master text styles</a:t>
            </a:r>
          </a:p>
        </p:txBody>
      </p:sp>
      <p:sp>
        <p:nvSpPr>
          <p:cNvPr id="7" name="Datumsplatzhalter 6">
            <a:extLst>
              <a:ext uri="{FF2B5EF4-FFF2-40B4-BE49-F238E27FC236}">
                <a16:creationId xmlns:a16="http://schemas.microsoft.com/office/drawing/2014/main" id="{318BB9F8-D41F-4BC0-3637-28F4778722B1}"/>
              </a:ext>
            </a:extLst>
          </p:cNvPr>
          <p:cNvSpPr>
            <a:spLocks noGrp="1"/>
          </p:cNvSpPr>
          <p:nvPr>
            <p:ph type="dt" sz="half" idx="14"/>
            <p:custDataLst>
              <p:tags r:id="rId7"/>
            </p:custDataLst>
          </p:nvPr>
        </p:nvSpPr>
        <p:spPr>
          <a:xfrm>
            <a:off x="540000" y="6470705"/>
            <a:ext cx="3044827" cy="281691"/>
          </a:xfrm>
        </p:spPr>
        <p:txBody>
          <a:bodyPr/>
          <a:lstStyle>
            <a:lvl1pPr algn="l">
              <a:defRPr/>
            </a:lvl1pPr>
          </a:lstStyle>
          <a:p>
            <a:r>
              <a:rPr lang="pl-PL" noProof="0"/>
              <a:t>06.11.2024</a:t>
            </a:r>
            <a:endParaRPr lang="pl-PL" noProof="0" dirty="0"/>
          </a:p>
        </p:txBody>
      </p:sp>
      <p:pic>
        <p:nvPicPr>
          <p:cNvPr id="6" name="Grafik 5">
            <a:extLst>
              <a:ext uri="{FF2B5EF4-FFF2-40B4-BE49-F238E27FC236}">
                <a16:creationId xmlns:a16="http://schemas.microsoft.com/office/drawing/2014/main" id="{A1F8C65C-721D-4F49-AB39-381490DD4B9F}"/>
              </a:ext>
            </a:extLst>
          </p:cNvPr>
          <p:cNvPicPr>
            <a:picLocks noChangeAspect="1"/>
          </p:cNvPicPr>
          <p:nvPr userDrawn="1"/>
        </p:nvPicPr>
        <p:blipFill>
          <a:blip r:embed="rId9"/>
          <a:stretch>
            <a:fillRect/>
          </a:stretch>
        </p:blipFill>
        <p:spPr>
          <a:xfrm>
            <a:off x="539999" y="448674"/>
            <a:ext cx="2460376" cy="727764"/>
          </a:xfrm>
          <a:prstGeom prst="rect">
            <a:avLst/>
          </a:prstGeom>
        </p:spPr>
      </p:pic>
    </p:spTree>
    <p:extLst>
      <p:ext uri="{BB962C8B-B14F-4D97-AF65-F5344CB8AC3E}">
        <p14:creationId xmlns:p14="http://schemas.microsoft.com/office/powerpoint/2010/main" val="22449869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 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5135200" y="223200"/>
            <a:ext cx="52915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5135200" y="683999"/>
            <a:ext cx="6696438"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5135200" y="1548000"/>
            <a:ext cx="6696438"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42352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5135200"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E4A4CD09-8343-3C76-441B-82A382C07CEA}"/>
              </a:ext>
            </a:extLst>
          </p:cNvPr>
          <p:cNvSpPr>
            <a:spLocks noGrp="1"/>
          </p:cNvSpPr>
          <p:nvPr>
            <p:ph type="dt" sz="half" idx="19"/>
            <p:custDataLst>
              <p:tags r:id="rId6"/>
            </p:custDataLst>
          </p:nvPr>
        </p:nvSpPr>
        <p:spPr>
          <a:xfrm>
            <a:off x="10782300" y="6470705"/>
            <a:ext cx="1049338" cy="281691"/>
          </a:xfrm>
        </p:spPr>
        <p:txBody>
          <a:bodyPr/>
          <a:lstStyle/>
          <a:p>
            <a:r>
              <a:rPr lang="pl-PL"/>
              <a:t>06.11.2024</a:t>
            </a:r>
            <a:endParaRPr lang="pl-PL" dirty="0"/>
          </a:p>
        </p:txBody>
      </p:sp>
      <p:sp>
        <p:nvSpPr>
          <p:cNvPr id="12" name="Foliennummernplatzhalter 11">
            <a:extLst>
              <a:ext uri="{FF2B5EF4-FFF2-40B4-BE49-F238E27FC236}">
                <a16:creationId xmlns:a16="http://schemas.microsoft.com/office/drawing/2014/main" id="{39904F0F-95C7-E920-16D7-DFE5F784E84C}"/>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8944763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 text 1/2">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6545263" y="223200"/>
            <a:ext cx="3881437"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6545264" y="683999"/>
            <a:ext cx="5286373"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6545264" y="1548000"/>
            <a:ext cx="5286374"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56449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p>
          <a:p>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6566863"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04CB3857-165E-8E80-A189-2BC17AFF0D19}"/>
              </a:ext>
            </a:extLst>
          </p:cNvPr>
          <p:cNvSpPr>
            <a:spLocks noGrp="1"/>
          </p:cNvSpPr>
          <p:nvPr>
            <p:ph type="dt" sz="half" idx="19"/>
            <p:custDataLst>
              <p:tags r:id="rId6"/>
            </p:custDataLst>
          </p:nvPr>
        </p:nvSpPr>
        <p:spPr>
          <a:xfrm>
            <a:off x="10787066" y="6470705"/>
            <a:ext cx="1044572" cy="281691"/>
          </a:xfrm>
        </p:spPr>
        <p:txBody>
          <a:bodyPr/>
          <a:lstStyle/>
          <a:p>
            <a:r>
              <a:rPr lang="pl-PL"/>
              <a:t>06.11.2024</a:t>
            </a:r>
            <a:endParaRPr lang="pl-PL" dirty="0"/>
          </a:p>
        </p:txBody>
      </p:sp>
      <p:sp>
        <p:nvSpPr>
          <p:cNvPr id="12" name="Foliennummernplatzhalter 11">
            <a:extLst>
              <a:ext uri="{FF2B5EF4-FFF2-40B4-BE49-F238E27FC236}">
                <a16:creationId xmlns:a16="http://schemas.microsoft.com/office/drawing/2014/main" id="{0D2D38D5-D091-F13B-D961-D6DBD546BA36}"/>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5958427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2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9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9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3"/>
            </p:custDataLst>
          </p:nvPr>
        </p:nvSpPr>
        <p:spPr>
          <a:xfrm>
            <a:off x="6540500" y="539750"/>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4"/>
            </p:custDataLst>
          </p:nvPr>
        </p:nvSpPr>
        <p:spPr>
          <a:xfrm>
            <a:off x="6540500" y="3428512"/>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5"/>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6"/>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8"/>
            </p:custDataLst>
          </p:nvPr>
        </p:nvSpPr>
        <p:spPr>
          <a:xfrm>
            <a:off x="898524" y="684001"/>
            <a:ext cx="4921976" cy="759600"/>
          </a:xfrm>
        </p:spPr>
        <p:txBody>
          <a:bodyPr/>
          <a:lstStyle>
            <a:lvl1pPr>
              <a:defRPr/>
            </a:lvl1pPr>
          </a:lstStyle>
          <a:p>
            <a:r>
              <a:rPr lang="pl-PL"/>
              <a:t>Headline</a:t>
            </a:r>
            <a:endParaRPr lang="pl-PL" dirty="0"/>
          </a:p>
        </p:txBody>
      </p:sp>
    </p:spTree>
    <p:extLst>
      <p:ext uri="{BB962C8B-B14F-4D97-AF65-F5344CB8AC3E}">
        <p14:creationId xmlns:p14="http://schemas.microsoft.com/office/powerpoint/2010/main" val="658245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3 images">
    <p:bg>
      <p:bgPr>
        <a:solidFill>
          <a:schemeClr val="tx2"/>
        </a:solidFill>
        <a:effectLst/>
      </p:bgPr>
    </p:bg>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7A51E147-0100-C9EE-6894-FB03D3E6D03D}"/>
              </a:ext>
            </a:extLst>
          </p:cNvPr>
          <p:cNvSpPr/>
          <p:nvPr userDrawn="1">
            <p:custDataLst>
              <p:tags r:id="rId1"/>
            </p:custDataLst>
          </p:nvPr>
        </p:nvSpPr>
        <p:spPr>
          <a:xfrm>
            <a:off x="899999"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9999"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899999" y="1548000"/>
            <a:ext cx="4921200"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4"/>
            </p:custDataLst>
          </p:nvPr>
        </p:nvSpPr>
        <p:spPr>
          <a:xfrm>
            <a:off x="899999" y="684001"/>
            <a:ext cx="4921200" cy="759600"/>
          </a:xfrm>
        </p:spPr>
        <p:txBody>
          <a:bodyPr/>
          <a:lstStyle>
            <a:lvl1pPr>
              <a:defRPr/>
            </a:lvl1pPr>
          </a:lstStyle>
          <a:p>
            <a:r>
              <a:rPr lang="pl-PL"/>
              <a:t>Headli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5"/>
            </p:custDataLst>
          </p:nvPr>
        </p:nvSpPr>
        <p:spPr>
          <a:xfrm>
            <a:off x="6545764" y="539750"/>
            <a:ext cx="528489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6"/>
            </p:custDataLst>
          </p:nvPr>
        </p:nvSpPr>
        <p:spPr>
          <a:xfrm>
            <a:off x="6545764"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27" name="Bildplatzhalter 6">
            <a:extLst>
              <a:ext uri="{FF2B5EF4-FFF2-40B4-BE49-F238E27FC236}">
                <a16:creationId xmlns:a16="http://schemas.microsoft.com/office/drawing/2014/main" id="{5C68CFCB-6EE3-B4A7-7D86-8B33BAADC7CB}"/>
              </a:ext>
            </a:extLst>
          </p:cNvPr>
          <p:cNvSpPr>
            <a:spLocks noGrp="1"/>
          </p:cNvSpPr>
          <p:nvPr>
            <p:ph type="pic" sz="quarter" idx="25" hasCustomPrompt="1"/>
            <p:custDataLst>
              <p:tags r:id="rId7"/>
            </p:custDataLst>
          </p:nvPr>
        </p:nvSpPr>
        <p:spPr>
          <a:xfrm>
            <a:off x="9278213"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9" name="Datumsplatzhalter 8">
            <a:extLst>
              <a:ext uri="{FF2B5EF4-FFF2-40B4-BE49-F238E27FC236}">
                <a16:creationId xmlns:a16="http://schemas.microsoft.com/office/drawing/2014/main" id="{824431AC-83CA-0DAE-123C-BD7E835E157D}"/>
              </a:ext>
            </a:extLst>
          </p:cNvPr>
          <p:cNvSpPr>
            <a:spLocks noGrp="1"/>
          </p:cNvSpPr>
          <p:nvPr>
            <p:ph type="dt" sz="half" idx="26"/>
            <p:custDataLst>
              <p:tags r:id="rId8"/>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676A3F4C-28B9-8BAA-F509-25AAB2B4C44F}"/>
              </a:ext>
            </a:extLst>
          </p:cNvPr>
          <p:cNvSpPr>
            <a:spLocks noGrp="1"/>
          </p:cNvSpPr>
          <p:nvPr>
            <p:ph type="ftr" sz="quarter" idx="27"/>
            <p:custDataLst>
              <p:tags r:id="rId9"/>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00B3F39B-62AD-073A-3D3B-F316C69E2F70}"/>
              </a:ext>
            </a:extLst>
          </p:cNvPr>
          <p:cNvSpPr>
            <a:spLocks noGrp="1"/>
          </p:cNvSpPr>
          <p:nvPr>
            <p:ph type="sldNum" sz="quarter" idx="28"/>
            <p:custDataLst>
              <p:tags r:id="rId10"/>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9820779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4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200" cy="4586400"/>
          </a:xfrm>
        </p:spPr>
        <p:txBody>
          <a:bodyPr/>
          <a:lstStyle>
            <a:lvl2pPr>
              <a:defRPr/>
            </a:lvl2pPr>
            <a:lvl3pPr>
              <a:defRPr/>
            </a:lvl3pPr>
            <a:lvl4pPr>
              <a:defRPr/>
            </a:lvl4pPr>
            <a:lvl5pPr>
              <a:defRPr/>
            </a:lvl5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pl-PL" sz="1600" b="1" i="0" u="none" strike="noStrike" kern="1200" cap="none" spc="0" normalizeH="0" baseline="0" noProof="0">
                <a:ln>
                  <a:noFill/>
                </a:ln>
                <a:solidFill>
                  <a:srgbClr val="000000"/>
                </a:solidFill>
                <a:effectLst/>
                <a:uLnTx/>
                <a:uFillTx/>
                <a:latin typeface="Arial"/>
                <a:ea typeface="+mn-ea"/>
                <a:cs typeface="+mn-cs"/>
              </a:rPr>
              <a:t>Please use the list level controls </a:t>
            </a:r>
            <a:r>
              <a:rPr kumimoji="0" lang="pl-PL" sz="1600" b="0" i="0" u="none" strike="noStrike" kern="1200" cap="none" spc="0" normalizeH="0" baseline="0" noProof="0">
                <a:ln>
                  <a:noFill/>
                </a:ln>
                <a:solidFill>
                  <a:srgbClr val="000000"/>
                </a:solidFill>
                <a:effectLst/>
                <a:uLnTx/>
                <a:uFillTx/>
                <a:latin typeface="Arial"/>
                <a:ea typeface="+mn-ea"/>
                <a:cs typeface="+mn-cs"/>
              </a:rPr>
              <a:t>to format the copy. The list level controls are located in the Paragraph menu area to the right of the numbering button. Do not use the bullet point button. See the Guidelines for more information. </a:t>
            </a:r>
          </a:p>
          <a:p>
            <a:pPr lvl="1"/>
            <a:r>
              <a:rPr lang="pl-PL"/>
              <a:t>Second level</a:t>
            </a:r>
          </a:p>
          <a:p>
            <a:pPr lvl="2"/>
            <a:r>
              <a:rPr lang="pl-PL"/>
              <a:t>Third level</a:t>
            </a:r>
          </a:p>
          <a:p>
            <a:pPr lvl="3"/>
            <a:r>
              <a:rPr lang="pl-PL"/>
              <a:t>Fourth level</a:t>
            </a:r>
          </a:p>
          <a:p>
            <a:pPr lvl="4"/>
            <a:r>
              <a:rPr lang="pl-PL"/>
              <a:t>Fifths level</a:t>
            </a:r>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3"/>
            </p:custDataLst>
          </p:nvPr>
        </p:nvSpPr>
        <p:spPr>
          <a:xfrm>
            <a:off x="6540501"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4"/>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5"/>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6"/>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7"/>
            </p:custDataLst>
          </p:nvPr>
        </p:nvSpPr>
        <p:spPr>
          <a:xfrm>
            <a:off x="898524" y="684001"/>
            <a:ext cx="4921200" cy="759600"/>
          </a:xfrm>
        </p:spPr>
        <p:txBody>
          <a:bodyPr/>
          <a:lstStyle>
            <a:lvl1pPr>
              <a:defRPr/>
            </a:lvl1pPr>
          </a:lstStyle>
          <a:p>
            <a:r>
              <a:rPr lang="pl-PL"/>
              <a:t>Headline</a:t>
            </a:r>
            <a:endParaRPr lang="pl-PL" dirty="0"/>
          </a:p>
        </p:txBody>
      </p:sp>
      <p:sp>
        <p:nvSpPr>
          <p:cNvPr id="2" name="Bildplatzhalter 6">
            <a:extLst>
              <a:ext uri="{FF2B5EF4-FFF2-40B4-BE49-F238E27FC236}">
                <a16:creationId xmlns:a16="http://schemas.microsoft.com/office/drawing/2014/main" id="{72CAF802-8593-6DEA-7F7E-8C0DC013C596}"/>
              </a:ext>
            </a:extLst>
          </p:cNvPr>
          <p:cNvSpPr>
            <a:spLocks noGrp="1"/>
          </p:cNvSpPr>
          <p:nvPr>
            <p:ph type="pic" sz="quarter" idx="24" hasCustomPrompt="1"/>
            <p:custDataLst>
              <p:tags r:id="rId8"/>
            </p:custDataLst>
          </p:nvPr>
        </p:nvSpPr>
        <p:spPr>
          <a:xfrm>
            <a:off x="9276069"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3BF33BF0-C236-E171-D74C-6EDC3E1A9815}"/>
              </a:ext>
            </a:extLst>
          </p:cNvPr>
          <p:cNvSpPr>
            <a:spLocks noGrp="1"/>
          </p:cNvSpPr>
          <p:nvPr>
            <p:ph type="pic" sz="quarter" idx="25" hasCustomPrompt="1"/>
            <p:custDataLst>
              <p:tags r:id="rId9"/>
            </p:custDataLst>
          </p:nvPr>
        </p:nvSpPr>
        <p:spPr>
          <a:xfrm>
            <a:off x="9276069"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15" name="Bildplatzhalter 6">
            <a:extLst>
              <a:ext uri="{FF2B5EF4-FFF2-40B4-BE49-F238E27FC236}">
                <a16:creationId xmlns:a16="http://schemas.microsoft.com/office/drawing/2014/main" id="{7434BC59-6A01-C008-D2BF-6904A9CBDDF3}"/>
              </a:ext>
            </a:extLst>
          </p:cNvPr>
          <p:cNvSpPr>
            <a:spLocks noGrp="1"/>
          </p:cNvSpPr>
          <p:nvPr>
            <p:ph type="pic" sz="quarter" idx="26" hasCustomPrompt="1"/>
            <p:custDataLst>
              <p:tags r:id="rId10"/>
            </p:custDataLst>
          </p:nvPr>
        </p:nvSpPr>
        <p:spPr>
          <a:xfrm>
            <a:off x="6540501"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9383177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373806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Bildplatzhalter 6">
            <a:extLst>
              <a:ext uri="{FF2B5EF4-FFF2-40B4-BE49-F238E27FC236}">
                <a16:creationId xmlns:a16="http://schemas.microsoft.com/office/drawing/2014/main" id="{6F61EEAA-23E2-E0C6-16B9-37B5382CD311}"/>
              </a:ext>
            </a:extLst>
          </p:cNvPr>
          <p:cNvSpPr>
            <a:spLocks noGrp="1"/>
          </p:cNvSpPr>
          <p:nvPr>
            <p:ph type="pic" sz="quarter" idx="20" hasCustomPrompt="1"/>
            <p:custDataLst>
              <p:tags r:id="rId2"/>
            </p:custDataLst>
          </p:nvPr>
        </p:nvSpPr>
        <p:spPr>
          <a:xfrm>
            <a:off x="5130800" y="539750"/>
            <a:ext cx="4407224"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Titel 2">
            <a:extLst>
              <a:ext uri="{FF2B5EF4-FFF2-40B4-BE49-F238E27FC236}">
                <a16:creationId xmlns:a16="http://schemas.microsoft.com/office/drawing/2014/main" id="{94DE6017-D8BB-5A49-6EC3-FAA7BFAA7763}"/>
              </a:ext>
            </a:extLst>
          </p:cNvPr>
          <p:cNvSpPr>
            <a:spLocks noGrp="1"/>
          </p:cNvSpPr>
          <p:nvPr>
            <p:ph type="title" hasCustomPrompt="1"/>
            <p:custDataLst>
              <p:tags r:id="rId3"/>
            </p:custDataLst>
          </p:nvPr>
        </p:nvSpPr>
        <p:spPr>
          <a:xfrm>
            <a:off x="898525" y="684000"/>
            <a:ext cx="3876676" cy="759600"/>
          </a:xfrm>
        </p:spPr>
        <p:txBody>
          <a:bodyPr/>
          <a:lstStyle>
            <a:lvl1pPr>
              <a:defRPr/>
            </a:lvl1pPr>
          </a:lstStyle>
          <a:p>
            <a:r>
              <a:rPr lang="pl-PL"/>
              <a:t>Headline</a:t>
            </a:r>
            <a:endParaRPr lang="pl-PL" dirty="0"/>
          </a:p>
        </p:txBody>
      </p:sp>
      <p:sp>
        <p:nvSpPr>
          <p:cNvPr id="12" name="Datumsplatzhalter 11">
            <a:extLst>
              <a:ext uri="{FF2B5EF4-FFF2-40B4-BE49-F238E27FC236}">
                <a16:creationId xmlns:a16="http://schemas.microsoft.com/office/drawing/2014/main" id="{60F09F97-B248-17B7-8500-303D13B2D762}"/>
              </a:ext>
            </a:extLst>
          </p:cNvPr>
          <p:cNvSpPr>
            <a:spLocks noGrp="1"/>
          </p:cNvSpPr>
          <p:nvPr>
            <p:ph type="dt" sz="half" idx="26"/>
            <p:custDataLst>
              <p:tags r:id="rId4"/>
            </p:custDataLst>
          </p:nvPr>
        </p:nvSpPr>
        <p:spPr/>
        <p:txBody>
          <a:bodyPr/>
          <a:lstStyle/>
          <a:p>
            <a:r>
              <a:rPr lang="pl-PL"/>
              <a:t>06.11.2024</a:t>
            </a:r>
            <a:endParaRPr lang="pl-PL" dirty="0"/>
          </a:p>
        </p:txBody>
      </p:sp>
      <p:sp>
        <p:nvSpPr>
          <p:cNvPr id="13" name="Fußzeilenplatzhalter 12">
            <a:extLst>
              <a:ext uri="{FF2B5EF4-FFF2-40B4-BE49-F238E27FC236}">
                <a16:creationId xmlns:a16="http://schemas.microsoft.com/office/drawing/2014/main" id="{4AD3063A-4907-06F9-5F5A-7096EA47CCEE}"/>
              </a:ext>
            </a:extLst>
          </p:cNvPr>
          <p:cNvSpPr>
            <a:spLocks noGrp="1"/>
          </p:cNvSpPr>
          <p:nvPr>
            <p:ph type="ftr" sz="quarter" idx="27"/>
            <p:custDataLst>
              <p:tags r:id="rId5"/>
            </p:custDataLst>
          </p:nvPr>
        </p:nvSpPr>
        <p:spPr/>
        <p:txBody>
          <a:bodyPr/>
          <a:lstStyle/>
          <a:p>
            <a:r>
              <a:rPr lang="pl-PL"/>
              <a:t>Najważniejsze informacje o dawstwie szpiku | C1- Public | #KOMÓRKOMANIA</a:t>
            </a:r>
            <a:endParaRPr lang="pl-PL" dirty="0"/>
          </a:p>
        </p:txBody>
      </p:sp>
      <p:sp>
        <p:nvSpPr>
          <p:cNvPr id="14" name="Foliennummernplatzhalter 13">
            <a:extLst>
              <a:ext uri="{FF2B5EF4-FFF2-40B4-BE49-F238E27FC236}">
                <a16:creationId xmlns:a16="http://schemas.microsoft.com/office/drawing/2014/main" id="{60252CD8-4908-9A2B-3CD1-CD8B7126EAF5}"/>
              </a:ext>
            </a:extLst>
          </p:cNvPr>
          <p:cNvSpPr>
            <a:spLocks noGrp="1"/>
          </p:cNvSpPr>
          <p:nvPr>
            <p:ph type="sldNum" sz="quarter" idx="28"/>
            <p:custDataLst>
              <p:tags r:id="rId6"/>
            </p:custDataLst>
          </p:nvPr>
        </p:nvSpPr>
        <p:spPr/>
        <p:txBody>
          <a:bodyPr/>
          <a:lstStyle/>
          <a:p>
            <a:fld id="{92DB0D90-6264-4E90-9724-ABC670DBF4FB}" type="slidenum">
              <a:rPr lang="pl-PL" smtClean="0"/>
              <a:pPr/>
              <a:t>‹#›</a:t>
            </a:fld>
            <a:endParaRPr lang="pl-PL" dirty="0"/>
          </a:p>
        </p:txBody>
      </p:sp>
      <p:sp>
        <p:nvSpPr>
          <p:cNvPr id="16" name="Bildplatzhalter 6">
            <a:extLst>
              <a:ext uri="{FF2B5EF4-FFF2-40B4-BE49-F238E27FC236}">
                <a16:creationId xmlns:a16="http://schemas.microsoft.com/office/drawing/2014/main" id="{D7121455-6043-AEDB-132A-9B51E2768B03}"/>
              </a:ext>
            </a:extLst>
          </p:cNvPr>
          <p:cNvSpPr>
            <a:spLocks noGrp="1"/>
          </p:cNvSpPr>
          <p:nvPr>
            <p:ph type="pic" sz="quarter" idx="30" hasCustomPrompt="1"/>
            <p:custDataLst>
              <p:tags r:id="rId7"/>
            </p:custDataLst>
          </p:nvPr>
        </p:nvSpPr>
        <p:spPr>
          <a:xfrm>
            <a:off x="9718027" y="539750"/>
            <a:ext cx="2113613"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2" name="Bildplatzhalter 6">
            <a:extLst>
              <a:ext uri="{FF2B5EF4-FFF2-40B4-BE49-F238E27FC236}">
                <a16:creationId xmlns:a16="http://schemas.microsoft.com/office/drawing/2014/main" id="{6E10A4EE-18B0-B63A-1130-2AE1F5374441}"/>
              </a:ext>
            </a:extLst>
          </p:cNvPr>
          <p:cNvSpPr>
            <a:spLocks noGrp="1"/>
          </p:cNvSpPr>
          <p:nvPr>
            <p:ph type="pic" sz="quarter" idx="34" hasCustomPrompt="1"/>
            <p:custDataLst>
              <p:tags r:id="rId8"/>
            </p:custDataLst>
          </p:nvPr>
        </p:nvSpPr>
        <p:spPr>
          <a:xfrm>
            <a:off x="5130801"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206DB515-A4F9-61A1-E71C-833B55D7A99E}"/>
              </a:ext>
            </a:extLst>
          </p:cNvPr>
          <p:cNvSpPr>
            <a:spLocks noGrp="1"/>
          </p:cNvSpPr>
          <p:nvPr>
            <p:ph type="pic" sz="quarter" idx="35" hasCustomPrompt="1"/>
            <p:custDataLst>
              <p:tags r:id="rId9"/>
            </p:custDataLst>
          </p:nvPr>
        </p:nvSpPr>
        <p:spPr>
          <a:xfrm>
            <a:off x="7424413"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4" name="Bildplatzhalter 6">
            <a:extLst>
              <a:ext uri="{FF2B5EF4-FFF2-40B4-BE49-F238E27FC236}">
                <a16:creationId xmlns:a16="http://schemas.microsoft.com/office/drawing/2014/main" id="{569943D6-C617-BDD1-BF22-631B3B16BCD8}"/>
              </a:ext>
            </a:extLst>
          </p:cNvPr>
          <p:cNvSpPr>
            <a:spLocks noGrp="1"/>
          </p:cNvSpPr>
          <p:nvPr>
            <p:ph type="pic" sz="quarter" idx="36" hasCustomPrompt="1"/>
            <p:custDataLst>
              <p:tags r:id="rId10"/>
            </p:custDataLst>
          </p:nvPr>
        </p:nvSpPr>
        <p:spPr>
          <a:xfrm>
            <a:off x="9718027"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2057539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10571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F1C47934-AC73-793F-5679-E827489C39B8}"/>
              </a:ext>
            </a:extLst>
          </p:cNvPr>
          <p:cNvSpPr>
            <a:spLocks noGrp="1"/>
          </p:cNvSpPr>
          <p:nvPr>
            <p:ph type="pic" sz="quarter" idx="19" hasCustomPrompt="1"/>
            <p:custDataLst>
              <p:tags r:id="rId2"/>
            </p:custDataLst>
          </p:nvPr>
        </p:nvSpPr>
        <p:spPr>
          <a:xfrm>
            <a:off x="898524" y="1548000"/>
            <a:ext cx="3155364"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8" name="Bildplatzhalter 6">
            <a:extLst>
              <a:ext uri="{FF2B5EF4-FFF2-40B4-BE49-F238E27FC236}">
                <a16:creationId xmlns:a16="http://schemas.microsoft.com/office/drawing/2014/main" id="{5CC04346-3B03-A74A-6C8B-F051E56C56C7}"/>
              </a:ext>
            </a:extLst>
          </p:cNvPr>
          <p:cNvSpPr>
            <a:spLocks noGrp="1"/>
          </p:cNvSpPr>
          <p:nvPr>
            <p:ph type="pic" sz="quarter" idx="20" hasCustomPrompt="1"/>
            <p:custDataLst>
              <p:tags r:id="rId4"/>
            </p:custDataLst>
          </p:nvPr>
        </p:nvSpPr>
        <p:spPr>
          <a:xfrm>
            <a:off x="898524"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97897BE7-BBDF-0148-0347-63E3F91D91B7}"/>
              </a:ext>
            </a:extLst>
          </p:cNvPr>
          <p:cNvSpPr>
            <a:spLocks noGrp="1"/>
          </p:cNvSpPr>
          <p:nvPr>
            <p:ph type="pic" sz="quarter" idx="21" hasCustomPrompt="1"/>
            <p:custDataLst>
              <p:tags r:id="rId5"/>
            </p:custDataLst>
          </p:nvPr>
        </p:nvSpPr>
        <p:spPr>
          <a:xfrm>
            <a:off x="3122099"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86971AF9-9415-B5D8-3A5E-5552BE49AC0A}"/>
              </a:ext>
            </a:extLst>
          </p:cNvPr>
          <p:cNvSpPr>
            <a:spLocks noGrp="1"/>
          </p:cNvSpPr>
          <p:nvPr>
            <p:ph type="pic" sz="quarter" idx="22" hasCustomPrompt="1"/>
            <p:custDataLst>
              <p:tags r:id="rId6"/>
            </p:custDataLst>
          </p:nvPr>
        </p:nvSpPr>
        <p:spPr>
          <a:xfrm>
            <a:off x="5345674" y="39312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EBCD51D1-78EC-7A2E-8887-3874FBEFFAF2}"/>
              </a:ext>
            </a:extLst>
          </p:cNvPr>
          <p:cNvSpPr>
            <a:spLocks noGrp="1"/>
          </p:cNvSpPr>
          <p:nvPr>
            <p:ph type="pic" sz="quarter" idx="23" hasCustomPrompt="1"/>
            <p:custDataLst>
              <p:tags r:id="rId7"/>
            </p:custDataLst>
          </p:nvPr>
        </p:nvSpPr>
        <p:spPr>
          <a:xfrm>
            <a:off x="7569248" y="1548000"/>
            <a:ext cx="2043574" cy="4586400"/>
          </a:xfrm>
          <a:solidFill>
            <a:schemeClr val="bg2"/>
          </a:solidFill>
        </p:spPr>
        <p:txBody>
          <a:bodyPr tIns="144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Bildplatzhalter 6">
            <a:extLst>
              <a:ext uri="{FF2B5EF4-FFF2-40B4-BE49-F238E27FC236}">
                <a16:creationId xmlns:a16="http://schemas.microsoft.com/office/drawing/2014/main" id="{721D749D-32AE-31D1-E58D-39BF5F972654}"/>
              </a:ext>
            </a:extLst>
          </p:cNvPr>
          <p:cNvSpPr>
            <a:spLocks noGrp="1"/>
          </p:cNvSpPr>
          <p:nvPr>
            <p:ph type="pic" sz="quarter" idx="24" hasCustomPrompt="1"/>
            <p:custDataLst>
              <p:tags r:id="rId8"/>
            </p:custDataLst>
          </p:nvPr>
        </p:nvSpPr>
        <p:spPr>
          <a:xfrm>
            <a:off x="9792825" y="3931200"/>
            <a:ext cx="2043577"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5" name="Bildplatzhalter 6">
            <a:extLst>
              <a:ext uri="{FF2B5EF4-FFF2-40B4-BE49-F238E27FC236}">
                <a16:creationId xmlns:a16="http://schemas.microsoft.com/office/drawing/2014/main" id="{5385D06B-FA42-F47A-0628-FABC6814766F}"/>
              </a:ext>
            </a:extLst>
          </p:cNvPr>
          <p:cNvSpPr>
            <a:spLocks noGrp="1"/>
          </p:cNvSpPr>
          <p:nvPr>
            <p:ph type="pic" sz="quarter" idx="27" hasCustomPrompt="1"/>
            <p:custDataLst>
              <p:tags r:id="rId9"/>
            </p:custDataLst>
          </p:nvPr>
        </p:nvSpPr>
        <p:spPr>
          <a:xfrm>
            <a:off x="4233887" y="1548000"/>
            <a:ext cx="3155362"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2" name="Bildplatzhalter 6">
            <a:extLst>
              <a:ext uri="{FF2B5EF4-FFF2-40B4-BE49-F238E27FC236}">
                <a16:creationId xmlns:a16="http://schemas.microsoft.com/office/drawing/2014/main" id="{566CA3EF-838E-DA55-6A4D-D60058D946ED}"/>
              </a:ext>
            </a:extLst>
          </p:cNvPr>
          <p:cNvSpPr>
            <a:spLocks noGrp="1"/>
          </p:cNvSpPr>
          <p:nvPr>
            <p:ph type="pic" sz="quarter" idx="32" hasCustomPrompt="1"/>
            <p:custDataLst>
              <p:tags r:id="rId10"/>
            </p:custDataLst>
          </p:nvPr>
        </p:nvSpPr>
        <p:spPr>
          <a:xfrm>
            <a:off x="9792825" y="15480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 name="Datumsplatzhalter 1">
            <a:extLst>
              <a:ext uri="{FF2B5EF4-FFF2-40B4-BE49-F238E27FC236}">
                <a16:creationId xmlns:a16="http://schemas.microsoft.com/office/drawing/2014/main" id="{067A480E-E835-BA36-7102-E7B210078D66}"/>
              </a:ext>
            </a:extLst>
          </p:cNvPr>
          <p:cNvSpPr>
            <a:spLocks noGrp="1"/>
          </p:cNvSpPr>
          <p:nvPr>
            <p:ph type="dt" sz="half" idx="33"/>
            <p:custDataLst>
              <p:tags r:id="rId11"/>
            </p:custDataLst>
          </p:nvPr>
        </p:nvSpPr>
        <p:spPr/>
        <p:txBody>
          <a:bodyPr/>
          <a:lstStyle/>
          <a:p>
            <a:r>
              <a:rPr lang="pl-PL"/>
              <a:t>06.11.2024</a:t>
            </a:r>
            <a:endParaRPr lang="pl-PL" dirty="0"/>
          </a:p>
        </p:txBody>
      </p:sp>
      <p:sp>
        <p:nvSpPr>
          <p:cNvPr id="5" name="Fußzeilenplatzhalter 4">
            <a:extLst>
              <a:ext uri="{FF2B5EF4-FFF2-40B4-BE49-F238E27FC236}">
                <a16:creationId xmlns:a16="http://schemas.microsoft.com/office/drawing/2014/main" id="{50E82F6C-54C8-00E4-A33D-42BD70D9747B}"/>
              </a:ext>
            </a:extLst>
          </p:cNvPr>
          <p:cNvSpPr>
            <a:spLocks noGrp="1"/>
          </p:cNvSpPr>
          <p:nvPr>
            <p:ph type="ftr" sz="quarter" idx="34"/>
            <p:custDataLst>
              <p:tags r:id="rId12"/>
            </p:custDataLst>
          </p:nvPr>
        </p:nvSpPr>
        <p:spPr/>
        <p:txBody>
          <a:bodyPr/>
          <a:lstStyle/>
          <a:p>
            <a:r>
              <a:rPr lang="pl-PL"/>
              <a:t>Najważniejsze informacje o dawstwie szpiku | C1- Public | #KOMÓRKOMANIA</a:t>
            </a:r>
            <a:endParaRPr lang="pl-PL" dirty="0"/>
          </a:p>
        </p:txBody>
      </p:sp>
      <p:sp>
        <p:nvSpPr>
          <p:cNvPr id="14" name="Foliennummernplatzhalter 13">
            <a:extLst>
              <a:ext uri="{FF2B5EF4-FFF2-40B4-BE49-F238E27FC236}">
                <a16:creationId xmlns:a16="http://schemas.microsoft.com/office/drawing/2014/main" id="{9511D31C-C93B-30C5-897E-A46410D1E899}"/>
              </a:ext>
            </a:extLst>
          </p:cNvPr>
          <p:cNvSpPr>
            <a:spLocks noGrp="1"/>
          </p:cNvSpPr>
          <p:nvPr>
            <p:ph type="sldNum" sz="quarter" idx="35"/>
            <p:custDataLst>
              <p:tags r:id="rId13"/>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08668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agram / table">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Diagram / table</a:t>
            </a:r>
            <a:endParaRPr lang="pl-PL" sz="12000" dirty="0">
              <a:solidFill>
                <a:schemeClr val="bg1"/>
              </a:solidFill>
            </a:endParaRPr>
          </a:p>
        </p:txBody>
      </p:sp>
    </p:spTree>
    <p:extLst>
      <p:ext uri="{BB962C8B-B14F-4D97-AF65-F5344CB8AC3E}">
        <p14:creationId xmlns:p14="http://schemas.microsoft.com/office/powerpoint/2010/main" val="1035666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diagram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6" name="Diagrammplatzhalter 5">
            <a:extLst>
              <a:ext uri="{FF2B5EF4-FFF2-40B4-BE49-F238E27FC236}">
                <a16:creationId xmlns:a16="http://schemas.microsoft.com/office/drawing/2014/main" id="{5C9F6C26-5A62-B4B6-2610-90CD935AC46A}"/>
              </a:ext>
            </a:extLst>
          </p:cNvPr>
          <p:cNvSpPr>
            <a:spLocks noGrp="1"/>
          </p:cNvSpPr>
          <p:nvPr>
            <p:ph type="chart" sz="quarter" idx="18"/>
            <p:custDataLst>
              <p:tags r:id="rId2"/>
            </p:custDataLst>
          </p:nvPr>
        </p:nvSpPr>
        <p:spPr>
          <a:xfrm>
            <a:off x="898524" y="1548000"/>
            <a:ext cx="5286376" cy="4586400"/>
          </a:xfrm>
        </p:spPr>
        <p:txBody>
          <a:bodyPr/>
          <a:lstStyle>
            <a:lvl1pPr>
              <a:defRPr/>
            </a:lvl1pPr>
          </a:lstStyle>
          <a:p>
            <a:r>
              <a:rPr lang="en-US"/>
              <a:t>Click icon to add chart</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6546000" y="1548000"/>
            <a:ext cx="5286376" cy="4586400"/>
          </a:xfrm>
        </p:spPr>
        <p:txBody>
          <a:bodyPr/>
          <a:lstStyle>
            <a:lvl1pPr>
              <a:defRPr/>
            </a:lvl1pPr>
          </a:lstStyle>
          <a:p>
            <a:r>
              <a:rPr lang="en-US"/>
              <a:t>Click icon to add chart</a:t>
            </a:r>
            <a:endParaRPr lang="pl-PL" dirty="0"/>
          </a:p>
        </p:txBody>
      </p:sp>
      <p:sp>
        <p:nvSpPr>
          <p:cNvPr id="8" name="Titel 7">
            <a:extLst>
              <a:ext uri="{FF2B5EF4-FFF2-40B4-BE49-F238E27FC236}">
                <a16:creationId xmlns:a16="http://schemas.microsoft.com/office/drawing/2014/main" id="{47F126F8-DD39-67DF-E012-5C3A1D8A5CDC}"/>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9A360000-A717-E796-C434-232952463725}"/>
              </a:ext>
            </a:extLst>
          </p:cNvPr>
          <p:cNvSpPr>
            <a:spLocks noGrp="1"/>
          </p:cNvSpPr>
          <p:nvPr>
            <p:ph type="dt" sz="half" idx="20"/>
            <p:custDataLst>
              <p:tags r:id="rId5"/>
            </p:custDataLst>
          </p:nvPr>
        </p:nvSpPr>
        <p:spPr/>
        <p:txBody>
          <a:bodyPr/>
          <a:lstStyle/>
          <a:p>
            <a:r>
              <a:rPr lang="pl-PL"/>
              <a:t>06.11.2024</a:t>
            </a:r>
            <a:endParaRPr lang="pl-PL" dirty="0"/>
          </a:p>
        </p:txBody>
      </p:sp>
      <p:sp>
        <p:nvSpPr>
          <p:cNvPr id="5" name="Fußzeilenplatzhalter 4">
            <a:extLst>
              <a:ext uri="{FF2B5EF4-FFF2-40B4-BE49-F238E27FC236}">
                <a16:creationId xmlns:a16="http://schemas.microsoft.com/office/drawing/2014/main" id="{86E39CDB-BC4E-CEC2-7BAF-503606E3FDF9}"/>
              </a:ext>
            </a:extLst>
          </p:cNvPr>
          <p:cNvSpPr>
            <a:spLocks noGrp="1"/>
          </p:cNvSpPr>
          <p:nvPr>
            <p:ph type="ftr" sz="quarter" idx="21"/>
            <p:custDataLst>
              <p:tags r:id="rId6"/>
            </p:custDataLst>
          </p:nvPr>
        </p:nvSpPr>
        <p:spPr/>
        <p:txBody>
          <a:bodyPr/>
          <a:lstStyle/>
          <a:p>
            <a:r>
              <a:rPr lang="pl-PL"/>
              <a:t>Najważniejsze informacje o dawstwie szpiku | C1- Public | #KOMÓRKOMANIA</a:t>
            </a:r>
            <a:endParaRPr lang="pl-PL" dirty="0"/>
          </a:p>
        </p:txBody>
      </p:sp>
      <p:sp>
        <p:nvSpPr>
          <p:cNvPr id="9" name="Foliennummernplatzhalter 8">
            <a:extLst>
              <a:ext uri="{FF2B5EF4-FFF2-40B4-BE49-F238E27FC236}">
                <a16:creationId xmlns:a16="http://schemas.microsoft.com/office/drawing/2014/main" id="{E0D51513-940E-3D55-75A9-092DF05A2233}"/>
              </a:ext>
            </a:extLst>
          </p:cNvPr>
          <p:cNvSpPr>
            <a:spLocks noGrp="1"/>
          </p:cNvSpPr>
          <p:nvPr>
            <p:ph type="sldNum" sz="quarter" idx="22"/>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9783509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diagram">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60C75785-09F9-CAF5-FB73-4B9A4EEE1EFA}"/>
              </a:ext>
            </a:extLst>
          </p:cNvPr>
          <p:cNvSpPr>
            <a:spLocks noGrp="1"/>
          </p:cNvSpPr>
          <p:nvPr>
            <p:ph type="body" sz="quarter" idx="20" hasCustomPrompt="1"/>
            <p:custDataLst>
              <p:tags r:id="rId2"/>
            </p:custDataLst>
          </p:nvPr>
        </p:nvSpPr>
        <p:spPr>
          <a:xfrm>
            <a:off x="898524" y="1548000"/>
            <a:ext cx="3876676" cy="45900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5130801" y="1548000"/>
            <a:ext cx="6700838" cy="4590000"/>
          </a:xfrm>
        </p:spPr>
        <p:txBody>
          <a:bodyPr/>
          <a:lstStyle>
            <a:lvl1pPr>
              <a:defRPr/>
            </a:lvl1pPr>
          </a:lstStyle>
          <a:p>
            <a:r>
              <a:rPr lang="en-US"/>
              <a:t>Click icon to add chart</a:t>
            </a:r>
            <a:endParaRPr lang="pl-PL" dirty="0"/>
          </a:p>
        </p:txBody>
      </p:sp>
      <p:sp>
        <p:nvSpPr>
          <p:cNvPr id="4" name="Titel 3">
            <a:extLst>
              <a:ext uri="{FF2B5EF4-FFF2-40B4-BE49-F238E27FC236}">
                <a16:creationId xmlns:a16="http://schemas.microsoft.com/office/drawing/2014/main" id="{EC7C9753-0751-4260-2928-B377854ECEFE}"/>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10" name="Datumsplatzhalter 9">
            <a:extLst>
              <a:ext uri="{FF2B5EF4-FFF2-40B4-BE49-F238E27FC236}">
                <a16:creationId xmlns:a16="http://schemas.microsoft.com/office/drawing/2014/main" id="{186C9CB7-FEDD-AC62-83D2-56B5FB805465}"/>
              </a:ext>
            </a:extLst>
          </p:cNvPr>
          <p:cNvSpPr>
            <a:spLocks noGrp="1"/>
          </p:cNvSpPr>
          <p:nvPr>
            <p:ph type="dt" sz="half" idx="21"/>
            <p:custDataLst>
              <p:tags r:id="rId5"/>
            </p:custDataLst>
          </p:nvPr>
        </p:nvSpPr>
        <p:spPr/>
        <p:txBody>
          <a:bodyPr/>
          <a:lstStyle/>
          <a:p>
            <a:r>
              <a:rPr lang="pl-PL"/>
              <a:t>06.11.2024</a:t>
            </a:r>
            <a:endParaRPr lang="pl-PL" dirty="0"/>
          </a:p>
        </p:txBody>
      </p:sp>
      <p:sp>
        <p:nvSpPr>
          <p:cNvPr id="12" name="Fußzeilenplatzhalter 11">
            <a:extLst>
              <a:ext uri="{FF2B5EF4-FFF2-40B4-BE49-F238E27FC236}">
                <a16:creationId xmlns:a16="http://schemas.microsoft.com/office/drawing/2014/main" id="{83833CBB-6F4C-7119-2C3E-E07E3871F5F8}"/>
              </a:ext>
            </a:extLst>
          </p:cNvPr>
          <p:cNvSpPr>
            <a:spLocks noGrp="1"/>
          </p:cNvSpPr>
          <p:nvPr>
            <p:ph type="ftr" sz="quarter" idx="22"/>
            <p:custDataLst>
              <p:tags r:id="rId6"/>
            </p:custDataLst>
          </p:nvPr>
        </p:nvSpPr>
        <p:spPr/>
        <p:txBody>
          <a:bodyPr/>
          <a:lstStyle/>
          <a:p>
            <a:r>
              <a:rPr lang="pl-PL"/>
              <a:t>Najważniejsze informacje o dawstwie szpiku | C1- Public | #KOMÓRKOMANIA</a:t>
            </a:r>
            <a:endParaRPr lang="pl-PL" dirty="0"/>
          </a:p>
        </p:txBody>
      </p:sp>
      <p:sp>
        <p:nvSpPr>
          <p:cNvPr id="13" name="Foliennummernplatzhalter 12">
            <a:extLst>
              <a:ext uri="{FF2B5EF4-FFF2-40B4-BE49-F238E27FC236}">
                <a16:creationId xmlns:a16="http://schemas.microsoft.com/office/drawing/2014/main" id="{E8D4D7B1-9F4E-6F3B-9EBA-A9CFCD962A14}"/>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347190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tx2"/>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0D2AF78-421B-12E1-61DD-624EF926360E}"/>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5" name="Rechteck 4">
            <a:extLst>
              <a:ext uri="{FF2B5EF4-FFF2-40B4-BE49-F238E27FC236}">
                <a16:creationId xmlns:a16="http://schemas.microsoft.com/office/drawing/2014/main" id="{DAF65BA7-806A-2319-0E1B-A0A7561F8B98}"/>
              </a:ext>
            </a:extLst>
          </p:cNvPr>
          <p:cNvSpPr/>
          <p:nvPr userDrawn="1">
            <p:custDataLst>
              <p:tags r:id="rId2"/>
            </p:custDataLst>
          </p:nvPr>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a:t>Headline</a:t>
            </a:r>
            <a:endParaRPr lang="pl-PL"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Subline</a:t>
            </a:r>
            <a:endParaRPr lang="pl-PL"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8" name="Freihandform: Form 17">
            <a:extLst>
              <a:ext uri="{FF2B5EF4-FFF2-40B4-BE49-F238E27FC236}">
                <a16:creationId xmlns:a16="http://schemas.microsoft.com/office/drawing/2014/main" id="{5351C952-8159-FF25-4D55-552EF81FB611}"/>
              </a:ext>
            </a:extLst>
          </p:cNvPr>
          <p:cNvSpPr/>
          <p:nvPr>
            <p:custDataLst>
              <p:tags r:id="rId6"/>
            </p:custDataLst>
          </p:nvPr>
        </p:nvSpPr>
        <p:spPr>
          <a:xfrm>
            <a:off x="4899404" y="0"/>
            <a:ext cx="7292597" cy="6858000"/>
          </a:xfrm>
          <a:custGeom>
            <a:avLst/>
            <a:gdLst>
              <a:gd name="connsiteX0" fmla="*/ 4068 w 7292597"/>
              <a:gd name="connsiteY0" fmla="*/ 0 h 6858000"/>
              <a:gd name="connsiteX1" fmla="*/ 4373065 w 7292597"/>
              <a:gd name="connsiteY1" fmla="*/ 0 h 6858000"/>
              <a:gd name="connsiteX2" fmla="*/ 4581950 w 7292597"/>
              <a:gd name="connsiteY2" fmla="*/ 271921 h 6858000"/>
              <a:gd name="connsiteX3" fmla="*/ 4818041 w 7292597"/>
              <a:gd name="connsiteY3" fmla="*/ 579259 h 6858000"/>
              <a:gd name="connsiteX4" fmla="*/ 5054233 w 7292597"/>
              <a:gd name="connsiteY4" fmla="*/ 271921 h 6858000"/>
              <a:gd name="connsiteX5" fmla="*/ 5263199 w 7292597"/>
              <a:gd name="connsiteY5" fmla="*/ 0 h 6858000"/>
              <a:gd name="connsiteX6" fmla="*/ 7292597 w 7292597"/>
              <a:gd name="connsiteY6" fmla="*/ 0 h 6858000"/>
              <a:gd name="connsiteX7" fmla="*/ 7292597 w 7292597"/>
              <a:gd name="connsiteY7" fmla="*/ 3050338 h 6858000"/>
              <a:gd name="connsiteX8" fmla="*/ 7004042 w 7292597"/>
              <a:gd name="connsiteY8" fmla="*/ 3426453 h 6858000"/>
              <a:gd name="connsiteX9" fmla="*/ 7292597 w 7292597"/>
              <a:gd name="connsiteY9" fmla="*/ 3802396 h 6858000"/>
              <a:gd name="connsiteX10" fmla="*/ 7292597 w 7292597"/>
              <a:gd name="connsiteY10" fmla="*/ 6858000 h 6858000"/>
              <a:gd name="connsiteX11" fmla="*/ 5266903 w 7292597"/>
              <a:gd name="connsiteY11" fmla="*/ 6858000 h 6858000"/>
              <a:gd name="connsiteX12" fmla="*/ 5054233 w 7292597"/>
              <a:gd name="connsiteY12" fmla="*/ 6581099 h 6858000"/>
              <a:gd name="connsiteX13" fmla="*/ 4818041 w 7292597"/>
              <a:gd name="connsiteY13" fmla="*/ 6273532 h 6858000"/>
              <a:gd name="connsiteX14" fmla="*/ 4581950 w 7292597"/>
              <a:gd name="connsiteY14" fmla="*/ 6581099 h 6858000"/>
              <a:gd name="connsiteX15" fmla="*/ 4369363 w 7292597"/>
              <a:gd name="connsiteY15" fmla="*/ 6858000 h 6858000"/>
              <a:gd name="connsiteX16" fmla="*/ 0 w 7292597"/>
              <a:gd name="connsiteY16" fmla="*/ 6858000 h 6858000"/>
              <a:gd name="connsiteX17" fmla="*/ 26803 w 7292597"/>
              <a:gd name="connsiteY17" fmla="*/ 6823041 h 6858000"/>
              <a:gd name="connsiteX18" fmla="*/ 2632615 w 7292597"/>
              <a:gd name="connsiteY18" fmla="*/ 3426453 h 6858000"/>
              <a:gd name="connsiteX19" fmla="*/ 26803 w 7292597"/>
              <a:gd name="connsiteY19" fmla="*/ 2964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92597" h="6858000">
                <a:moveTo>
                  <a:pt x="4068" y="0"/>
                </a:moveTo>
                <a:lnTo>
                  <a:pt x="4373065" y="0"/>
                </a:lnTo>
                <a:lnTo>
                  <a:pt x="4581950" y="271921"/>
                </a:lnTo>
                <a:cubicBezTo>
                  <a:pt x="4659419" y="372769"/>
                  <a:pt x="4738168" y="475283"/>
                  <a:pt x="4818041" y="579259"/>
                </a:cubicBezTo>
                <a:cubicBezTo>
                  <a:pt x="4897950" y="475283"/>
                  <a:pt x="4976732" y="372769"/>
                  <a:pt x="5054233" y="271921"/>
                </a:cubicBezTo>
                <a:lnTo>
                  <a:pt x="5263199" y="0"/>
                </a:lnTo>
                <a:lnTo>
                  <a:pt x="7292597" y="0"/>
                </a:lnTo>
                <a:lnTo>
                  <a:pt x="7292597" y="3050338"/>
                </a:lnTo>
                <a:lnTo>
                  <a:pt x="7004042" y="3426453"/>
                </a:lnTo>
                <a:lnTo>
                  <a:pt x="7292597" y="3802396"/>
                </a:lnTo>
                <a:lnTo>
                  <a:pt x="7292597" y="6858000"/>
                </a:lnTo>
                <a:lnTo>
                  <a:pt x="5266903" y="6858000"/>
                </a:lnTo>
                <a:lnTo>
                  <a:pt x="5054233" y="6581099"/>
                </a:lnTo>
                <a:cubicBezTo>
                  <a:pt x="4976732" y="6480185"/>
                  <a:pt x="4897950" y="6377595"/>
                  <a:pt x="4818041" y="6273532"/>
                </a:cubicBezTo>
                <a:cubicBezTo>
                  <a:pt x="4738168" y="6377595"/>
                  <a:pt x="4659419" y="6480185"/>
                  <a:pt x="4581950" y="6581099"/>
                </a:cubicBezTo>
                <a:lnTo>
                  <a:pt x="4369363" y="6858000"/>
                </a:lnTo>
                <a:lnTo>
                  <a:pt x="0" y="6858000"/>
                </a:lnTo>
                <a:lnTo>
                  <a:pt x="26803" y="6823041"/>
                </a:lnTo>
                <a:cubicBezTo>
                  <a:pt x="732731" y="5902306"/>
                  <a:pt x="1670325" y="4680068"/>
                  <a:pt x="2632615" y="3426453"/>
                </a:cubicBezTo>
                <a:cubicBezTo>
                  <a:pt x="1670325" y="2172145"/>
                  <a:pt x="732731" y="950225"/>
                  <a:pt x="26803" y="29649"/>
                </a:cubicBezTo>
                <a:close/>
              </a:path>
            </a:pathLst>
          </a:custGeom>
          <a:solidFill>
            <a:srgbClr val="A9C9E5"/>
          </a:solidFill>
          <a:ln w="115635" cap="flat">
            <a:noFill/>
            <a:prstDash val="solid"/>
            <a:round/>
          </a:ln>
        </p:spPr>
        <p:txBody>
          <a:bodyPr rtlCol="0" anchor="ctr"/>
          <a:lstStyle/>
          <a:p>
            <a:endParaRPr lang="pl-PL" dirty="0"/>
          </a:p>
        </p:txBody>
      </p:sp>
      <p:sp>
        <p:nvSpPr>
          <p:cNvPr id="19" name="Freihandform: Form 18">
            <a:extLst>
              <a:ext uri="{FF2B5EF4-FFF2-40B4-BE49-F238E27FC236}">
                <a16:creationId xmlns:a16="http://schemas.microsoft.com/office/drawing/2014/main" id="{89A197DA-05FC-2E4D-6DAF-7DF69DAD698A}"/>
              </a:ext>
            </a:extLst>
          </p:cNvPr>
          <p:cNvSpPr/>
          <p:nvPr>
            <p:custDataLst>
              <p:tags r:id="rId7"/>
            </p:custDataLst>
          </p:nvPr>
        </p:nvSpPr>
        <p:spPr>
          <a:xfrm>
            <a:off x="4901156" y="0"/>
            <a:ext cx="7290844" cy="6858000"/>
          </a:xfrm>
          <a:custGeom>
            <a:avLst/>
            <a:gdLst>
              <a:gd name="connsiteX0" fmla="*/ 5264141 w 7290844"/>
              <a:gd name="connsiteY0" fmla="*/ 0 h 6858000"/>
              <a:gd name="connsiteX1" fmla="*/ 7290844 w 7290844"/>
              <a:gd name="connsiteY1" fmla="*/ 0 h 6858000"/>
              <a:gd name="connsiteX2" fmla="*/ 7290844 w 7290844"/>
              <a:gd name="connsiteY2" fmla="*/ 3047010 h 6858000"/>
              <a:gd name="connsiteX3" fmla="*/ 7038628 w 7290844"/>
              <a:gd name="connsiteY3" fmla="*/ 3375638 h 6858000"/>
              <a:gd name="connsiteX4" fmla="*/ 4433064 w 7290844"/>
              <a:gd name="connsiteY4" fmla="*/ 6769969 h 6858000"/>
              <a:gd name="connsiteX5" fmla="*/ 4365477 w 7290844"/>
              <a:gd name="connsiteY5" fmla="*/ 6858000 h 6858000"/>
              <a:gd name="connsiteX6" fmla="*/ 0 w 7290844"/>
              <a:gd name="connsiteY6" fmla="*/ 6858000 h 6858000"/>
              <a:gd name="connsiteX7" fmla="*/ 133362 w 7290844"/>
              <a:gd name="connsiteY7" fmla="*/ 6684204 h 6858000"/>
              <a:gd name="connsiteX8" fmla="*/ 5200045 w 7290844"/>
              <a:gd name="connsiteY8" fmla="*/ 834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0844" h="6858000">
                <a:moveTo>
                  <a:pt x="5264141" y="0"/>
                </a:moveTo>
                <a:lnTo>
                  <a:pt x="7290844" y="0"/>
                </a:lnTo>
                <a:lnTo>
                  <a:pt x="7290844" y="3047010"/>
                </a:lnTo>
                <a:lnTo>
                  <a:pt x="7038628" y="3375638"/>
                </a:lnTo>
                <a:cubicBezTo>
                  <a:pt x="6137438" y="4549826"/>
                  <a:pt x="5212124" y="5755239"/>
                  <a:pt x="4433064" y="6769969"/>
                </a:cubicBezTo>
                <a:lnTo>
                  <a:pt x="4365477" y="6858000"/>
                </a:lnTo>
                <a:lnTo>
                  <a:pt x="0" y="6858000"/>
                </a:lnTo>
                <a:lnTo>
                  <a:pt x="133362" y="6684204"/>
                </a:lnTo>
                <a:cubicBezTo>
                  <a:pt x="1498655" y="4905003"/>
                  <a:pt x="3641877" y="2112822"/>
                  <a:pt x="5200045" y="83476"/>
                </a:cubicBezTo>
                <a:close/>
              </a:path>
            </a:pathLst>
          </a:custGeom>
          <a:solidFill>
            <a:srgbClr val="E30513"/>
          </a:solidFill>
          <a:ln w="115635" cap="flat">
            <a:noFill/>
            <a:prstDash val="solid"/>
            <a:round/>
          </a:ln>
        </p:spPr>
        <p:txBody>
          <a:bodyPr rtlCol="0" anchor="ctr"/>
          <a:lstStyle/>
          <a:p>
            <a:endParaRPr lang="pl-PL" dirty="0"/>
          </a:p>
        </p:txBody>
      </p:sp>
      <p:sp>
        <p:nvSpPr>
          <p:cNvPr id="11" name="Datumsplatzhalter 6">
            <a:extLst>
              <a:ext uri="{FF2B5EF4-FFF2-40B4-BE49-F238E27FC236}">
                <a16:creationId xmlns:a16="http://schemas.microsoft.com/office/drawing/2014/main" id="{1E7F608D-C184-61D5-6C65-7EF5A4407A17}"/>
              </a:ext>
            </a:extLst>
          </p:cNvPr>
          <p:cNvSpPr>
            <a:spLocks noGrp="1"/>
          </p:cNvSpPr>
          <p:nvPr>
            <p:ph type="dt" sz="half" idx="14"/>
            <p:custDataLst>
              <p:tags r:id="rId8"/>
            </p:custDataLst>
          </p:nvPr>
        </p:nvSpPr>
        <p:spPr>
          <a:xfrm>
            <a:off x="540000" y="6470705"/>
            <a:ext cx="3044827" cy="281691"/>
          </a:xfrm>
        </p:spPr>
        <p:txBody>
          <a:bodyPr/>
          <a:lstStyle>
            <a:lvl1pPr algn="l">
              <a:defRPr/>
            </a:lvl1pPr>
          </a:lstStyle>
          <a:p>
            <a:r>
              <a:rPr lang="pl-PL" noProof="0"/>
              <a:t>06.11.2024</a:t>
            </a:r>
            <a:endParaRPr lang="pl-PL" noProof="0" dirty="0"/>
          </a:p>
        </p:txBody>
      </p:sp>
      <p:pic>
        <p:nvPicPr>
          <p:cNvPr id="13" name="Grafik 12">
            <a:extLst>
              <a:ext uri="{FF2B5EF4-FFF2-40B4-BE49-F238E27FC236}">
                <a16:creationId xmlns:a16="http://schemas.microsoft.com/office/drawing/2014/main" id="{CA1EE840-FC67-479F-A70A-2F23947E740C}"/>
              </a:ext>
            </a:extLst>
          </p:cNvPr>
          <p:cNvPicPr>
            <a:picLocks noChangeAspect="1"/>
          </p:cNvPicPr>
          <p:nvPr userDrawn="1"/>
        </p:nvPicPr>
        <p:blipFill>
          <a:blip r:embed="rId10"/>
          <a:stretch>
            <a:fillRect/>
          </a:stretch>
        </p:blipFill>
        <p:spPr>
          <a:xfrm>
            <a:off x="539999" y="448674"/>
            <a:ext cx="2460376" cy="727764"/>
          </a:xfrm>
          <a:prstGeom prst="rect">
            <a:avLst/>
          </a:prstGeom>
        </p:spPr>
      </p:pic>
    </p:spTree>
    <p:extLst>
      <p:ext uri="{BB962C8B-B14F-4D97-AF65-F5344CB8AC3E}">
        <p14:creationId xmlns:p14="http://schemas.microsoft.com/office/powerpoint/2010/main" val="11450743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Tabellenplatzhalter 6">
            <a:extLst>
              <a:ext uri="{FF2B5EF4-FFF2-40B4-BE49-F238E27FC236}">
                <a16:creationId xmlns:a16="http://schemas.microsoft.com/office/drawing/2014/main" id="{FADE790D-90C0-0F30-A6E8-1A338D20A86F}"/>
              </a:ext>
            </a:extLst>
          </p:cNvPr>
          <p:cNvSpPr>
            <a:spLocks noGrp="1"/>
          </p:cNvSpPr>
          <p:nvPr>
            <p:ph type="tbl" sz="quarter" idx="18" hasCustomPrompt="1"/>
            <p:custDataLst>
              <p:tags r:id="rId2"/>
            </p:custDataLst>
          </p:nvPr>
        </p:nvSpPr>
        <p:spPr>
          <a:xfrm>
            <a:off x="898524" y="1548000"/>
            <a:ext cx="9528176" cy="4586400"/>
          </a:xfrm>
        </p:spPr>
        <p:txBody>
          <a:bodyPr/>
          <a:lstStyle>
            <a:lvl1pPr>
              <a:defRPr/>
            </a:lvl1pPr>
          </a:lstStyle>
          <a:p>
            <a:r>
              <a:rPr lang="pl-PL"/>
              <a:t>Tabl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E68DCDA3-4974-E33F-9A3F-49B7BEBB407A}"/>
              </a:ext>
            </a:extLst>
          </p:cNvPr>
          <p:cNvSpPr>
            <a:spLocks noGrp="1"/>
          </p:cNvSpPr>
          <p:nvPr>
            <p:ph type="dt" sz="half" idx="19"/>
            <p:custDataLst>
              <p:tags r:id="rId4"/>
            </p:custDataLst>
          </p:nvPr>
        </p:nvSpPr>
        <p:spPr/>
        <p:txBody>
          <a:bodyPr/>
          <a:lstStyle/>
          <a:p>
            <a:r>
              <a:rPr lang="pl-PL"/>
              <a:t>06.11.2024</a:t>
            </a:r>
            <a:endParaRPr lang="pl-PL" dirty="0"/>
          </a:p>
        </p:txBody>
      </p:sp>
      <p:sp>
        <p:nvSpPr>
          <p:cNvPr id="6" name="Fußzeilenplatzhalter 5">
            <a:extLst>
              <a:ext uri="{FF2B5EF4-FFF2-40B4-BE49-F238E27FC236}">
                <a16:creationId xmlns:a16="http://schemas.microsoft.com/office/drawing/2014/main" id="{830E9A29-26AC-ECED-AA3C-BABA03D65CE6}"/>
              </a:ext>
            </a:extLst>
          </p:cNvPr>
          <p:cNvSpPr>
            <a:spLocks noGrp="1"/>
          </p:cNvSpPr>
          <p:nvPr>
            <p:ph type="ftr" sz="quarter" idx="20"/>
            <p:custDataLst>
              <p:tags r:id="rId5"/>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9768D234-AC29-E099-274C-C6383A89E3DF}"/>
              </a:ext>
            </a:extLst>
          </p:cNvPr>
          <p:cNvSpPr>
            <a:spLocks noGrp="1"/>
          </p:cNvSpPr>
          <p:nvPr>
            <p:ph type="sldNum" sz="quarter" idx="21"/>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9185334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xt box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xt box layouts</a:t>
            </a:r>
            <a:endParaRPr lang="pl-PL" sz="12000" dirty="0">
              <a:solidFill>
                <a:schemeClr val="bg1"/>
              </a:solidFill>
            </a:endParaRPr>
          </a:p>
        </p:txBody>
      </p:sp>
    </p:spTree>
    <p:extLst>
      <p:ext uri="{BB962C8B-B14F-4D97-AF65-F5344CB8AC3E}">
        <p14:creationId xmlns:p14="http://schemas.microsoft.com/office/powerpoint/2010/main" val="3043380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4 text boxes">
    <p:bg>
      <p:bgPr>
        <a:solidFill>
          <a:schemeClr val="tx2"/>
        </a:solidFill>
        <a:effectLst/>
      </p:bgPr>
    </p:bg>
    <p:spTree>
      <p:nvGrpSpPr>
        <p:cNvPr id="1" name=""/>
        <p:cNvGrpSpPr/>
        <p:nvPr/>
      </p:nvGrpSpPr>
      <p:grpSpPr>
        <a:xfrm>
          <a:off x="0" y="0"/>
          <a:ext cx="0" cy="0"/>
          <a:chOff x="0" y="0"/>
          <a:chExt cx="0" cy="0"/>
        </a:xfrm>
      </p:grpSpPr>
      <p:sp>
        <p:nvSpPr>
          <p:cNvPr id="5" name="Bildplatzhalter 12">
            <a:extLst>
              <a:ext uri="{FF2B5EF4-FFF2-40B4-BE49-F238E27FC236}">
                <a16:creationId xmlns:a16="http://schemas.microsoft.com/office/drawing/2014/main" id="{38BAD7EB-837F-14B8-F720-062DD3FDF000}"/>
              </a:ext>
            </a:extLst>
          </p:cNvPr>
          <p:cNvSpPr>
            <a:spLocks noGrp="1"/>
          </p:cNvSpPr>
          <p:nvPr>
            <p:ph type="pic" sz="quarter" idx="42" hasCustomPrompt="1"/>
            <p:custDataLst>
              <p:tags r:id="rId1"/>
            </p:custDataLst>
          </p:nvPr>
        </p:nvSpPr>
        <p:spPr>
          <a:xfrm>
            <a:off x="8846598" y="540001"/>
            <a:ext cx="2985040" cy="2708999"/>
          </a:xfrm>
          <a:custGeom>
            <a:avLst/>
            <a:gdLst>
              <a:gd name="connsiteX0" fmla="*/ 136804 w 2985040"/>
              <a:gd name="connsiteY0" fmla="*/ 0 h 2708999"/>
              <a:gd name="connsiteX1" fmla="*/ 2848236 w 2985040"/>
              <a:gd name="connsiteY1" fmla="*/ 0 h 2708999"/>
              <a:gd name="connsiteX2" fmla="*/ 2985040 w 2985040"/>
              <a:gd name="connsiteY2" fmla="*/ 136804 h 2708999"/>
              <a:gd name="connsiteX3" fmla="*/ 2985040 w 2985040"/>
              <a:gd name="connsiteY3" fmla="*/ 2708999 h 2708999"/>
              <a:gd name="connsiteX4" fmla="*/ 0 w 2985040"/>
              <a:gd name="connsiteY4" fmla="*/ 2708999 h 2708999"/>
              <a:gd name="connsiteX5" fmla="*/ 0 w 2985040"/>
              <a:gd name="connsiteY5" fmla="*/ 136804 h 2708999"/>
              <a:gd name="connsiteX6" fmla="*/ 136804 w 2985040"/>
              <a:gd name="connsiteY6" fmla="*/ 0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5040" h="2708999">
                <a:moveTo>
                  <a:pt x="136804" y="0"/>
                </a:moveTo>
                <a:lnTo>
                  <a:pt x="2848236" y="0"/>
                </a:lnTo>
                <a:cubicBezTo>
                  <a:pt x="2923791" y="0"/>
                  <a:pt x="2985040" y="61249"/>
                  <a:pt x="2985040" y="136804"/>
                </a:cubicBezTo>
                <a:lnTo>
                  <a:pt x="2985040" y="2708999"/>
                </a:lnTo>
                <a:lnTo>
                  <a:pt x="0" y="2708999"/>
                </a:lnTo>
                <a:lnTo>
                  <a:pt x="0" y="136804"/>
                </a:lnTo>
                <a:cubicBezTo>
                  <a:pt x="0" y="61249"/>
                  <a:pt x="61249" y="0"/>
                  <a:pt x="136804" y="0"/>
                </a:cubicBezTo>
                <a:close/>
              </a:path>
            </a:pathLst>
          </a:custGeom>
          <a:solidFill>
            <a:srgbClr val="999999"/>
          </a:solidFill>
        </p:spPr>
        <p:txBody>
          <a:bodyPr wrap="square" tIns="720000">
            <a:noAutofit/>
          </a:bodyPr>
          <a:lstStyle>
            <a:lvl1pPr algn="ctr">
              <a:defRPr sz="1200"/>
            </a:lvl1pPr>
          </a:lstStyle>
          <a:p>
            <a:r>
              <a:rPr lang="pl-PL"/>
              <a:t>Load </a:t>
            </a:r>
            <a:r>
              <a:rPr lang="pl-PL" noProof="0"/>
              <a:t>image</a:t>
            </a:r>
            <a:br>
              <a:rPr lang="pl-PL" noProof="0"/>
            </a:br>
            <a:r>
              <a:rPr lang="pl-PL"/>
              <a:t>▼</a:t>
            </a:r>
            <a:endParaRPr lang="pl-PL" dirty="0"/>
          </a:p>
        </p:txBody>
      </p:sp>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2"/>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3"/>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4"/>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5"/>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6"/>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pl-PL" noProof="0"/>
              <a:t>06.11.2024</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C1- Public | #KOMÓRKOMANI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19" name="Textplatzhalter 8" hidden="1">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9648193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 4 text boxes">
    <p:bg>
      <p:bgPr>
        <a:solidFill>
          <a:schemeClr val="tx2"/>
        </a:solidFill>
        <a:effectLst/>
      </p:bgPr>
    </p:bg>
    <p:spTree>
      <p:nvGrpSpPr>
        <p:cNvPr id="1" name=""/>
        <p:cNvGrpSpPr/>
        <p:nvPr/>
      </p:nvGrpSpPr>
      <p:grpSpPr>
        <a:xfrm>
          <a:off x="0" y="0"/>
          <a:ext cx="0" cy="0"/>
          <a:chOff x="0" y="0"/>
          <a:chExt cx="0" cy="0"/>
        </a:xfrm>
      </p:grpSpPr>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1"/>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2"/>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4"/>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5"/>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4" name="Textplatzhalter 4">
            <a:extLst>
              <a:ext uri="{FF2B5EF4-FFF2-40B4-BE49-F238E27FC236}">
                <a16:creationId xmlns:a16="http://schemas.microsoft.com/office/drawing/2014/main" id="{E0B9C495-4354-075A-AA1B-CE8281723D67}"/>
              </a:ext>
            </a:extLst>
          </p:cNvPr>
          <p:cNvSpPr>
            <a:spLocks noGrp="1"/>
          </p:cNvSpPr>
          <p:nvPr>
            <p:ph type="body" sz="quarter" idx="33" hasCustomPrompt="1"/>
            <p:custDataLst>
              <p:tags r:id="rId6"/>
            </p:custDataLst>
          </p:nvPr>
        </p:nvSpPr>
        <p:spPr>
          <a:xfrm>
            <a:off x="8846598"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pl-PL" noProof="0"/>
              <a:t>06.11.2024</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C1- Public | #KOMÓRKOMANI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4</a:t>
            </a:r>
            <a:endParaRPr lang="pl-PL" noProof="0" dirty="0"/>
          </a:p>
        </p:txBody>
      </p:sp>
      <p:sp>
        <p:nvSpPr>
          <p:cNvPr id="19" name="Textplatzhalter 8">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Wingdings" panose="05000000000000000000" pitchFamily="2" charset="2"/>
              <a:buChar char="§"/>
              <a:defRPr sz="1400">
                <a:solidFill>
                  <a:srgbClr val="333333"/>
                </a:solidFill>
              </a:defRPr>
            </a:lvl2pPr>
            <a:lvl3pPr marL="504000" indent="-252000">
              <a:buFont typeface="Wingdings" panose="05000000000000000000" pitchFamily="2" charset="2"/>
              <a:buChar char="§"/>
              <a:defRPr sz="1400">
                <a:solidFill>
                  <a:srgbClr val="333333"/>
                </a:solidFill>
              </a:defRPr>
            </a:lvl3pPr>
            <a:lvl4pPr marL="756000" indent="-252000">
              <a:buFont typeface="Wingdings" panose="05000000000000000000" pitchFamily="2" charset="2"/>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3043804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ext boxes">
    <p:bg>
      <p:bgPr>
        <a:solidFill>
          <a:schemeClr val="tx2"/>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Textplatzhalter 1">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Textplatzhalter 2">
            <a:extLst>
              <a:ext uri="{FF2B5EF4-FFF2-40B4-BE49-F238E27FC236}">
                <a16:creationId xmlns:a16="http://schemas.microsoft.com/office/drawing/2014/main" id="{882D9AE1-7A91-462D-3E26-0078F415316B}"/>
              </a:ext>
            </a:extLst>
          </p:cNvPr>
          <p:cNvSpPr>
            <a:spLocks noGrp="1"/>
          </p:cNvSpPr>
          <p:nvPr>
            <p:ph type="body" sz="quarter" idx="35" hasCustomPrompt="1"/>
            <p:custDataLst>
              <p:tags r:id="rId3"/>
            </p:custDataLst>
          </p:nvPr>
        </p:nvSpPr>
        <p:spPr>
          <a:xfrm>
            <a:off x="898524"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5" name="Textplatzhalter 3">
            <a:extLst>
              <a:ext uri="{FF2B5EF4-FFF2-40B4-BE49-F238E27FC236}">
                <a16:creationId xmlns:a16="http://schemas.microsoft.com/office/drawing/2014/main" id="{4041185E-0ABF-EC7B-F614-2D85548040F2}"/>
              </a:ext>
            </a:extLst>
          </p:cNvPr>
          <p:cNvSpPr>
            <a:spLocks noGrp="1"/>
          </p:cNvSpPr>
          <p:nvPr>
            <p:ph type="body" sz="quarter" idx="38" hasCustomPrompt="1"/>
            <p:custDataLst>
              <p:tags r:id="rId4"/>
            </p:custDataLst>
          </p:nvPr>
        </p:nvSpPr>
        <p:spPr>
          <a:xfrm>
            <a:off x="4664483"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7" name="Textplatzhalter 4">
            <a:extLst>
              <a:ext uri="{FF2B5EF4-FFF2-40B4-BE49-F238E27FC236}">
                <a16:creationId xmlns:a16="http://schemas.microsoft.com/office/drawing/2014/main" id="{AC1499B6-D703-8643-6DF0-5E59EA3EA5D8}"/>
              </a:ext>
            </a:extLst>
          </p:cNvPr>
          <p:cNvSpPr>
            <a:spLocks noGrp="1"/>
          </p:cNvSpPr>
          <p:nvPr>
            <p:ph type="body" sz="quarter" idx="39" hasCustomPrompt="1"/>
            <p:custDataLst>
              <p:tags r:id="rId5"/>
            </p:custDataLst>
          </p:nvPr>
        </p:nvSpPr>
        <p:spPr>
          <a:xfrm>
            <a:off x="8430442"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2" name="Textplatzhalter 5">
            <a:extLst>
              <a:ext uri="{FF2B5EF4-FFF2-40B4-BE49-F238E27FC236}">
                <a16:creationId xmlns:a16="http://schemas.microsoft.com/office/drawing/2014/main" id="{0CD15F63-4EF4-C285-F1A3-A45F781C8DE7}"/>
              </a:ext>
            </a:extLst>
          </p:cNvPr>
          <p:cNvSpPr>
            <a:spLocks noGrp="1"/>
          </p:cNvSpPr>
          <p:nvPr>
            <p:ph type="body" sz="quarter" idx="21" hasCustomPrompt="1"/>
            <p:custDataLst>
              <p:tags r:id="rId6"/>
            </p:custDataLst>
          </p:nvPr>
        </p:nvSpPr>
        <p:spPr>
          <a:xfrm>
            <a:off x="898524"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1</a:t>
            </a:r>
            <a:endParaRPr lang="pl-PL" dirty="0"/>
          </a:p>
        </p:txBody>
      </p:sp>
      <p:sp>
        <p:nvSpPr>
          <p:cNvPr id="4" name="Textplatzhalter 6">
            <a:extLst>
              <a:ext uri="{FF2B5EF4-FFF2-40B4-BE49-F238E27FC236}">
                <a16:creationId xmlns:a16="http://schemas.microsoft.com/office/drawing/2014/main" id="{DBC0ACC7-BA64-1C54-B81D-F70D829D4B22}"/>
              </a:ext>
            </a:extLst>
          </p:cNvPr>
          <p:cNvSpPr>
            <a:spLocks noGrp="1"/>
          </p:cNvSpPr>
          <p:nvPr>
            <p:ph type="body" sz="quarter" idx="22" hasCustomPrompt="1"/>
            <p:custDataLst>
              <p:tags r:id="rId7"/>
            </p:custDataLst>
          </p:nvPr>
        </p:nvSpPr>
        <p:spPr>
          <a:xfrm>
            <a:off x="4664483"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2</a:t>
            </a:r>
            <a:endParaRPr lang="pl-PL" dirty="0"/>
          </a:p>
        </p:txBody>
      </p:sp>
      <p:sp>
        <p:nvSpPr>
          <p:cNvPr id="9" name="Textplatzhalter 7">
            <a:extLst>
              <a:ext uri="{FF2B5EF4-FFF2-40B4-BE49-F238E27FC236}">
                <a16:creationId xmlns:a16="http://schemas.microsoft.com/office/drawing/2014/main" id="{7675383B-55F7-9443-83C5-8D39DDE26CCA}"/>
              </a:ext>
            </a:extLst>
          </p:cNvPr>
          <p:cNvSpPr>
            <a:spLocks noGrp="1"/>
          </p:cNvSpPr>
          <p:nvPr>
            <p:ph type="body" sz="quarter" idx="23" hasCustomPrompt="1"/>
            <p:custDataLst>
              <p:tags r:id="rId8"/>
            </p:custDataLst>
          </p:nvPr>
        </p:nvSpPr>
        <p:spPr>
          <a:xfrm>
            <a:off x="8430442"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3</a:t>
            </a:r>
            <a:endParaRPr lang="pl-PL" dirty="0"/>
          </a:p>
        </p:txBody>
      </p:sp>
      <p:sp>
        <p:nvSpPr>
          <p:cNvPr id="10" name="Datumsplatzhalter 9">
            <a:extLst>
              <a:ext uri="{FF2B5EF4-FFF2-40B4-BE49-F238E27FC236}">
                <a16:creationId xmlns:a16="http://schemas.microsoft.com/office/drawing/2014/main" id="{2131BAEC-BDDE-F0A3-183E-6AD8FA51BD2B}"/>
              </a:ext>
            </a:extLst>
          </p:cNvPr>
          <p:cNvSpPr>
            <a:spLocks noGrp="1"/>
          </p:cNvSpPr>
          <p:nvPr>
            <p:ph type="dt" sz="half" idx="24"/>
            <p:custDataLst>
              <p:tags r:id="rId9"/>
            </p:custDataLst>
          </p:nvPr>
        </p:nvSpPr>
        <p:spPr>
          <a:xfrm>
            <a:off x="10756401" y="6470705"/>
            <a:ext cx="1080000" cy="281691"/>
          </a:xfrm>
        </p:spPr>
        <p:txBody>
          <a:bodyPr/>
          <a:lstStyle/>
          <a:p>
            <a:r>
              <a:rPr lang="pl-PL"/>
              <a:t>06.11.2024</a:t>
            </a:r>
            <a:endParaRPr lang="pl-PL" dirty="0"/>
          </a:p>
        </p:txBody>
      </p:sp>
      <p:sp>
        <p:nvSpPr>
          <p:cNvPr id="12" name="Fußzeilenplatzhalter 11">
            <a:extLst>
              <a:ext uri="{FF2B5EF4-FFF2-40B4-BE49-F238E27FC236}">
                <a16:creationId xmlns:a16="http://schemas.microsoft.com/office/drawing/2014/main" id="{92EFBB85-64D5-9BAC-593E-E211B8834FDC}"/>
              </a:ext>
            </a:extLst>
          </p:cNvPr>
          <p:cNvSpPr>
            <a:spLocks noGrp="1"/>
          </p:cNvSpPr>
          <p:nvPr>
            <p:ph type="ftr" sz="quarter" idx="25"/>
            <p:custDataLst>
              <p:tags r:id="rId10"/>
            </p:custDataLst>
          </p:nvPr>
        </p:nvSpPr>
        <p:spPr/>
        <p:txBody>
          <a:bodyPr/>
          <a:lstStyle/>
          <a:p>
            <a:r>
              <a:rPr lang="pl-PL"/>
              <a:t>Najważniejsze informacje o dawstwie szpiku | C1- Public | #KOMÓRKOMANIA</a:t>
            </a:r>
            <a:endParaRPr lang="pl-PL" dirty="0"/>
          </a:p>
        </p:txBody>
      </p:sp>
      <p:sp>
        <p:nvSpPr>
          <p:cNvPr id="13" name="Foliennummernplatzhalter 12">
            <a:extLst>
              <a:ext uri="{FF2B5EF4-FFF2-40B4-BE49-F238E27FC236}">
                <a16:creationId xmlns:a16="http://schemas.microsoft.com/office/drawing/2014/main" id="{E565B96F-E7C1-37B1-9F87-1BEB3DA9BCE6}"/>
              </a:ext>
            </a:extLst>
          </p:cNvPr>
          <p:cNvSpPr>
            <a:spLocks noGrp="1"/>
          </p:cNvSpPr>
          <p:nvPr>
            <p:ph type="sldNum" sz="quarter" idx="26"/>
            <p:custDataLst>
              <p:tags r:id="rId11"/>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42938287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lvl4pPr>
              <a:defRPr/>
            </a:lvl4p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p>
          <a:p>
            <a:pPr lvl="4"/>
            <a:endParaRPr lang="pl-PL" noProof="0"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endParaRPr lang="pl-PL" noProof="0" dirty="0"/>
          </a:p>
        </p:txBody>
      </p:sp>
      <p:sp>
        <p:nvSpPr>
          <p:cNvPr id="8" name="Bildplatzhalter 10">
            <a:extLst>
              <a:ext uri="{FF2B5EF4-FFF2-40B4-BE49-F238E27FC236}">
                <a16:creationId xmlns:a16="http://schemas.microsoft.com/office/drawing/2014/main" id="{3F27ABB9-2BC7-F83C-DB75-0BB6A720EB71}"/>
              </a:ext>
            </a:extLst>
          </p:cNvPr>
          <p:cNvSpPr>
            <a:spLocks noGrp="1"/>
          </p:cNvSpPr>
          <p:nvPr>
            <p:ph type="pic" sz="quarter" idx="20" hasCustomPrompt="1"/>
            <p:custDataLst>
              <p:tags r:id="rId4"/>
            </p:custDataLst>
          </p:nvPr>
        </p:nvSpPr>
        <p:spPr>
          <a:xfrm>
            <a:off x="898524"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9" name="Bildplatzhalter 10">
            <a:extLst>
              <a:ext uri="{FF2B5EF4-FFF2-40B4-BE49-F238E27FC236}">
                <a16:creationId xmlns:a16="http://schemas.microsoft.com/office/drawing/2014/main" id="{D3137261-A75E-C820-5721-9E753BB92919}"/>
              </a:ext>
            </a:extLst>
          </p:cNvPr>
          <p:cNvSpPr>
            <a:spLocks noGrp="1"/>
          </p:cNvSpPr>
          <p:nvPr>
            <p:ph type="pic" sz="quarter" idx="21" hasCustomPrompt="1"/>
            <p:custDataLst>
              <p:tags r:id="rId5"/>
            </p:custDataLst>
          </p:nvPr>
        </p:nvSpPr>
        <p:spPr>
          <a:xfrm>
            <a:off x="5841025"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noProof="0"/>
              <a:t>Headline</a:t>
            </a:r>
            <a:endParaRPr lang="pl-PL" noProof="0"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pl-PL" noProof="0"/>
              <a:t>06.11.2024</a:t>
            </a:r>
            <a:endParaRPr lang="pl-PL" noProof="0"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noProof="0"/>
              <a:t>Najważniejsze informacje o dawstwie szpiku | C1- Public | #KOMÓRKOMANIA</a:t>
            </a:r>
            <a:endParaRPr lang="pl-PL" noProof="0"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noProof="0" smtClean="0"/>
              <a:pPr/>
              <a:t>‹#›</a:t>
            </a:fld>
            <a:endParaRPr lang="pl-PL" noProof="0" dirty="0"/>
          </a:p>
        </p:txBody>
      </p:sp>
    </p:spTree>
    <p:extLst>
      <p:ext uri="{BB962C8B-B14F-4D97-AF65-F5344CB8AC3E}">
        <p14:creationId xmlns:p14="http://schemas.microsoft.com/office/powerpoint/2010/main" val="113546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4" name="Ellipse 3">
            <a:extLst>
              <a:ext uri="{FF2B5EF4-FFF2-40B4-BE49-F238E27FC236}">
                <a16:creationId xmlns:a16="http://schemas.microsoft.com/office/drawing/2014/main" id="{1A2D6186-4E26-9FBC-0596-545AAADB12D8}"/>
              </a:ext>
            </a:extLst>
          </p:cNvPr>
          <p:cNvSpPr/>
          <p:nvPr userDrawn="1">
            <p:custDataLst>
              <p:tags r:id="rId4"/>
            </p:custDataLst>
          </p:nvPr>
        </p:nvSpPr>
        <p:spPr>
          <a:xfrm>
            <a:off x="898524" y="1548000"/>
            <a:ext cx="651739" cy="65407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6" name="Ellipse 5">
            <a:extLst>
              <a:ext uri="{FF2B5EF4-FFF2-40B4-BE49-F238E27FC236}">
                <a16:creationId xmlns:a16="http://schemas.microsoft.com/office/drawing/2014/main" id="{AC4CDB54-0307-4CB9-B330-A101A8AECB82}"/>
              </a:ext>
            </a:extLst>
          </p:cNvPr>
          <p:cNvSpPr/>
          <p:nvPr userDrawn="1">
            <p:custDataLst>
              <p:tags r:id="rId5"/>
            </p:custDataLst>
          </p:nvPr>
        </p:nvSpPr>
        <p:spPr>
          <a:xfrm>
            <a:off x="5841025" y="1548000"/>
            <a:ext cx="651739" cy="65407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a:t>Headline</a:t>
            </a:r>
            <a:endParaRPr lang="pl-PL"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pl-PL"/>
              <a:t>06.11.2024</a:t>
            </a:r>
            <a:endParaRPr lang="pl-PL"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a:t>Najważniejsze informacje o dawstwie szpiku | C1- Public | #KOMÓRKOMANIA</a:t>
            </a:r>
            <a:endParaRPr lang="pl-PL"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smtClean="0"/>
              <a:pPr/>
              <a:t>‹#›</a:t>
            </a:fld>
            <a:endParaRPr lang="pl-PL" dirty="0"/>
          </a:p>
        </p:txBody>
      </p:sp>
      <p:sp>
        <p:nvSpPr>
          <p:cNvPr id="16" name="Freihandform: Form 15">
            <a:extLst>
              <a:ext uri="{FF2B5EF4-FFF2-40B4-BE49-F238E27FC236}">
                <a16:creationId xmlns:a16="http://schemas.microsoft.com/office/drawing/2014/main" id="{7DCB74A7-0A71-EF38-6E6A-C90333C0A870}"/>
              </a:ext>
            </a:extLst>
          </p:cNvPr>
          <p:cNvSpPr/>
          <p:nvPr userDrawn="1">
            <p:custDataLst>
              <p:tags r:id="rId10"/>
            </p:custDataLst>
          </p:nvPr>
        </p:nvSpPr>
        <p:spPr>
          <a:xfrm>
            <a:off x="984912" y="1634698"/>
            <a:ext cx="478963" cy="480678"/>
          </a:xfrm>
          <a:custGeom>
            <a:avLst/>
            <a:gdLst>
              <a:gd name="connsiteX0" fmla="*/ 199207 w 478963"/>
              <a:gd name="connsiteY0" fmla="*/ 0 h 480678"/>
              <a:gd name="connsiteX1" fmla="*/ 279756 w 478963"/>
              <a:gd name="connsiteY1" fmla="*/ 0 h 480678"/>
              <a:gd name="connsiteX2" fmla="*/ 279756 w 478963"/>
              <a:gd name="connsiteY2" fmla="*/ 200065 h 480678"/>
              <a:gd name="connsiteX3" fmla="*/ 478963 w 478963"/>
              <a:gd name="connsiteY3" fmla="*/ 200065 h 480678"/>
              <a:gd name="connsiteX4" fmla="*/ 478963 w 478963"/>
              <a:gd name="connsiteY4" fmla="*/ 280613 h 480678"/>
              <a:gd name="connsiteX5" fmla="*/ 279756 w 478963"/>
              <a:gd name="connsiteY5" fmla="*/ 280613 h 480678"/>
              <a:gd name="connsiteX6" fmla="*/ 279756 w 478963"/>
              <a:gd name="connsiteY6" fmla="*/ 480678 h 480678"/>
              <a:gd name="connsiteX7" fmla="*/ 199207 w 478963"/>
              <a:gd name="connsiteY7" fmla="*/ 480678 h 480678"/>
              <a:gd name="connsiteX8" fmla="*/ 199207 w 478963"/>
              <a:gd name="connsiteY8" fmla="*/ 280613 h 480678"/>
              <a:gd name="connsiteX9" fmla="*/ 0 w 478963"/>
              <a:gd name="connsiteY9" fmla="*/ 280613 h 480678"/>
              <a:gd name="connsiteX10" fmla="*/ 0 w 478963"/>
              <a:gd name="connsiteY10" fmla="*/ 200065 h 480678"/>
              <a:gd name="connsiteX11" fmla="*/ 199207 w 478963"/>
              <a:gd name="connsiteY11" fmla="*/ 200065 h 48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8963" h="480678">
                <a:moveTo>
                  <a:pt x="199207" y="0"/>
                </a:moveTo>
                <a:lnTo>
                  <a:pt x="279756" y="0"/>
                </a:lnTo>
                <a:lnTo>
                  <a:pt x="279756" y="200065"/>
                </a:lnTo>
                <a:lnTo>
                  <a:pt x="478963" y="200065"/>
                </a:lnTo>
                <a:lnTo>
                  <a:pt x="478963" y="280613"/>
                </a:lnTo>
                <a:lnTo>
                  <a:pt x="279756" y="280613"/>
                </a:lnTo>
                <a:lnTo>
                  <a:pt x="279756" y="480678"/>
                </a:lnTo>
                <a:lnTo>
                  <a:pt x="199207" y="480678"/>
                </a:lnTo>
                <a:lnTo>
                  <a:pt x="199207" y="280613"/>
                </a:lnTo>
                <a:lnTo>
                  <a:pt x="0" y="280613"/>
                </a:lnTo>
                <a:lnTo>
                  <a:pt x="0" y="200065"/>
                </a:lnTo>
                <a:lnTo>
                  <a:pt x="199207" y="2000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0" name="Additionszeichen 9">
            <a:extLst>
              <a:ext uri="{FF2B5EF4-FFF2-40B4-BE49-F238E27FC236}">
                <a16:creationId xmlns:a16="http://schemas.microsoft.com/office/drawing/2014/main" id="{76A18379-DE10-ECAA-C390-371C2C18DF30}"/>
              </a:ext>
            </a:extLst>
          </p:cNvPr>
          <p:cNvSpPr/>
          <p:nvPr userDrawn="1">
            <p:custDataLst>
              <p:tags r:id="rId11"/>
            </p:custDataLst>
          </p:nvPr>
        </p:nvSpPr>
        <p:spPr>
          <a:xfrm>
            <a:off x="5927413" y="1834763"/>
            <a:ext cx="478963" cy="80548"/>
          </a:xfrm>
          <a:custGeom>
            <a:avLst/>
            <a:gdLst>
              <a:gd name="connsiteX0" fmla="*/ 86388 w 651739"/>
              <a:gd name="connsiteY0" fmla="*/ 286763 h 654074"/>
              <a:gd name="connsiteX1" fmla="*/ 285595 w 651739"/>
              <a:gd name="connsiteY1" fmla="*/ 286763 h 654074"/>
              <a:gd name="connsiteX2" fmla="*/ 285595 w 651739"/>
              <a:gd name="connsiteY2" fmla="*/ 86698 h 654074"/>
              <a:gd name="connsiteX3" fmla="*/ 366144 w 651739"/>
              <a:gd name="connsiteY3" fmla="*/ 86698 h 654074"/>
              <a:gd name="connsiteX4" fmla="*/ 366144 w 651739"/>
              <a:gd name="connsiteY4" fmla="*/ 286763 h 654074"/>
              <a:gd name="connsiteX5" fmla="*/ 565351 w 651739"/>
              <a:gd name="connsiteY5" fmla="*/ 286763 h 654074"/>
              <a:gd name="connsiteX6" fmla="*/ 565351 w 651739"/>
              <a:gd name="connsiteY6" fmla="*/ 367311 h 654074"/>
              <a:gd name="connsiteX7" fmla="*/ 366144 w 651739"/>
              <a:gd name="connsiteY7" fmla="*/ 367311 h 654074"/>
              <a:gd name="connsiteX8" fmla="*/ 366144 w 651739"/>
              <a:gd name="connsiteY8" fmla="*/ 567376 h 654074"/>
              <a:gd name="connsiteX9" fmla="*/ 285595 w 651739"/>
              <a:gd name="connsiteY9" fmla="*/ 567376 h 654074"/>
              <a:gd name="connsiteX10" fmla="*/ 285595 w 651739"/>
              <a:gd name="connsiteY10" fmla="*/ 367311 h 654074"/>
              <a:gd name="connsiteX11" fmla="*/ 86388 w 651739"/>
              <a:gd name="connsiteY11" fmla="*/ 367311 h 654074"/>
              <a:gd name="connsiteX12" fmla="*/ 86388 w 651739"/>
              <a:gd name="connsiteY12" fmla="*/ 286763 h 654074"/>
              <a:gd name="connsiteX0" fmla="*/ 0 w 478963"/>
              <a:gd name="connsiteY0" fmla="*/ 200065 h 480678"/>
              <a:gd name="connsiteX1" fmla="*/ 199207 w 478963"/>
              <a:gd name="connsiteY1" fmla="*/ 200065 h 480678"/>
              <a:gd name="connsiteX2" fmla="*/ 279756 w 478963"/>
              <a:gd name="connsiteY2" fmla="*/ 0 h 480678"/>
              <a:gd name="connsiteX3" fmla="*/ 279756 w 478963"/>
              <a:gd name="connsiteY3" fmla="*/ 200065 h 480678"/>
              <a:gd name="connsiteX4" fmla="*/ 478963 w 478963"/>
              <a:gd name="connsiteY4" fmla="*/ 200065 h 480678"/>
              <a:gd name="connsiteX5" fmla="*/ 478963 w 478963"/>
              <a:gd name="connsiteY5" fmla="*/ 280613 h 480678"/>
              <a:gd name="connsiteX6" fmla="*/ 279756 w 478963"/>
              <a:gd name="connsiteY6" fmla="*/ 280613 h 480678"/>
              <a:gd name="connsiteX7" fmla="*/ 279756 w 478963"/>
              <a:gd name="connsiteY7" fmla="*/ 480678 h 480678"/>
              <a:gd name="connsiteX8" fmla="*/ 199207 w 478963"/>
              <a:gd name="connsiteY8" fmla="*/ 480678 h 480678"/>
              <a:gd name="connsiteX9" fmla="*/ 199207 w 478963"/>
              <a:gd name="connsiteY9" fmla="*/ 280613 h 480678"/>
              <a:gd name="connsiteX10" fmla="*/ 0 w 478963"/>
              <a:gd name="connsiteY10" fmla="*/ 280613 h 480678"/>
              <a:gd name="connsiteX11" fmla="*/ 0 w 478963"/>
              <a:gd name="connsiteY11" fmla="*/ 200065 h 480678"/>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279756 w 478963"/>
              <a:gd name="connsiteY6" fmla="*/ 280613 h 280613"/>
              <a:gd name="connsiteX7" fmla="*/ 199207 w 478963"/>
              <a:gd name="connsiteY7" fmla="*/ 280613 h 280613"/>
              <a:gd name="connsiteX8" fmla="*/ 199207 w 478963"/>
              <a:gd name="connsiteY8" fmla="*/ 80548 h 280613"/>
              <a:gd name="connsiteX9" fmla="*/ 0 w 478963"/>
              <a:gd name="connsiteY9" fmla="*/ 80548 h 280613"/>
              <a:gd name="connsiteX10" fmla="*/ 0 w 478963"/>
              <a:gd name="connsiteY10" fmla="*/ 0 h 280613"/>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199207 w 478963"/>
              <a:gd name="connsiteY6" fmla="*/ 280613 h 280613"/>
              <a:gd name="connsiteX7" fmla="*/ 199207 w 478963"/>
              <a:gd name="connsiteY7" fmla="*/ 80548 h 280613"/>
              <a:gd name="connsiteX8" fmla="*/ 0 w 478963"/>
              <a:gd name="connsiteY8" fmla="*/ 80548 h 280613"/>
              <a:gd name="connsiteX9" fmla="*/ 0 w 478963"/>
              <a:gd name="connsiteY9" fmla="*/ 0 h 280613"/>
              <a:gd name="connsiteX0" fmla="*/ 0 w 478963"/>
              <a:gd name="connsiteY0" fmla="*/ 0 h 80548"/>
              <a:gd name="connsiteX1" fmla="*/ 199207 w 478963"/>
              <a:gd name="connsiteY1" fmla="*/ 0 h 80548"/>
              <a:gd name="connsiteX2" fmla="*/ 279756 w 478963"/>
              <a:gd name="connsiteY2" fmla="*/ 0 h 80548"/>
              <a:gd name="connsiteX3" fmla="*/ 478963 w 478963"/>
              <a:gd name="connsiteY3" fmla="*/ 0 h 80548"/>
              <a:gd name="connsiteX4" fmla="*/ 478963 w 478963"/>
              <a:gd name="connsiteY4" fmla="*/ 80548 h 80548"/>
              <a:gd name="connsiteX5" fmla="*/ 279756 w 478963"/>
              <a:gd name="connsiteY5" fmla="*/ 80548 h 80548"/>
              <a:gd name="connsiteX6" fmla="*/ 199207 w 478963"/>
              <a:gd name="connsiteY6" fmla="*/ 80548 h 80548"/>
              <a:gd name="connsiteX7" fmla="*/ 0 w 478963"/>
              <a:gd name="connsiteY7" fmla="*/ 80548 h 80548"/>
              <a:gd name="connsiteX8" fmla="*/ 0 w 478963"/>
              <a:gd name="connsiteY8" fmla="*/ 0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963" h="80548">
                <a:moveTo>
                  <a:pt x="0" y="0"/>
                </a:moveTo>
                <a:lnTo>
                  <a:pt x="199207" y="0"/>
                </a:lnTo>
                <a:lnTo>
                  <a:pt x="279756" y="0"/>
                </a:lnTo>
                <a:lnTo>
                  <a:pt x="478963" y="0"/>
                </a:lnTo>
                <a:lnTo>
                  <a:pt x="478963" y="80548"/>
                </a:lnTo>
                <a:lnTo>
                  <a:pt x="279756" y="80548"/>
                </a:lnTo>
                <a:lnTo>
                  <a:pt x="199207" y="80548"/>
                </a:lnTo>
                <a:lnTo>
                  <a:pt x="0" y="80548"/>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Tree>
    <p:extLst>
      <p:ext uri="{BB962C8B-B14F-4D97-AF65-F5344CB8AC3E}">
        <p14:creationId xmlns:p14="http://schemas.microsoft.com/office/powerpoint/2010/main" val="33842274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eam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am layouts</a:t>
            </a:r>
            <a:endParaRPr lang="pl-PL" sz="12000" dirty="0">
              <a:solidFill>
                <a:schemeClr val="bg1"/>
              </a:solidFill>
            </a:endParaRPr>
          </a:p>
        </p:txBody>
      </p:sp>
    </p:spTree>
    <p:extLst>
      <p:ext uri="{BB962C8B-B14F-4D97-AF65-F5344CB8AC3E}">
        <p14:creationId xmlns:p14="http://schemas.microsoft.com/office/powerpoint/2010/main" val="37176036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eam member (1)">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44D29139-F10C-12BE-3E33-5D9AA4CBFDF2}"/>
              </a:ext>
            </a:extLst>
          </p:cNvPr>
          <p:cNvSpPr/>
          <p:nvPr userDrawn="1">
            <p:custDataLst>
              <p:tags r:id="rId1"/>
            </p:custDataLst>
          </p:nvPr>
        </p:nvSpPr>
        <p:spPr>
          <a:xfrm>
            <a:off x="540000" y="0"/>
            <a:ext cx="11652000" cy="6858000"/>
          </a:xfrm>
          <a:custGeom>
            <a:avLst/>
            <a:gdLst>
              <a:gd name="connsiteX0" fmla="*/ 1981284 w 11652000"/>
              <a:gd name="connsiteY0" fmla="*/ 1523051 h 6858000"/>
              <a:gd name="connsiteX1" fmla="*/ 361284 w 11652000"/>
              <a:gd name="connsiteY1" fmla="*/ 3143051 h 6858000"/>
              <a:gd name="connsiteX2" fmla="*/ 1981284 w 11652000"/>
              <a:gd name="connsiteY2" fmla="*/ 4763051 h 6858000"/>
              <a:gd name="connsiteX3" fmla="*/ 3601284 w 11652000"/>
              <a:gd name="connsiteY3" fmla="*/ 3143051 h 6858000"/>
              <a:gd name="connsiteX4" fmla="*/ 1981284 w 11652000"/>
              <a:gd name="connsiteY4" fmla="*/ 1523051 h 6858000"/>
              <a:gd name="connsiteX5" fmla="*/ 0 w 11652000"/>
              <a:gd name="connsiteY5" fmla="*/ 0 h 6858000"/>
              <a:gd name="connsiteX6" fmla="*/ 11652000 w 11652000"/>
              <a:gd name="connsiteY6" fmla="*/ 0 h 6858000"/>
              <a:gd name="connsiteX7" fmla="*/ 11652000 w 11652000"/>
              <a:gd name="connsiteY7" fmla="*/ 6858000 h 6858000"/>
              <a:gd name="connsiteX8" fmla="*/ 0 w 1165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2000" h="6858000">
                <a:moveTo>
                  <a:pt x="1981284" y="1523051"/>
                </a:moveTo>
                <a:cubicBezTo>
                  <a:pt x="1086583" y="1523051"/>
                  <a:pt x="361284" y="2248350"/>
                  <a:pt x="361284" y="3143051"/>
                </a:cubicBezTo>
                <a:cubicBezTo>
                  <a:pt x="361284" y="4037752"/>
                  <a:pt x="1086583" y="4763051"/>
                  <a:pt x="1981284" y="4763051"/>
                </a:cubicBezTo>
                <a:cubicBezTo>
                  <a:pt x="2875985" y="4763051"/>
                  <a:pt x="3601284" y="4037752"/>
                  <a:pt x="3601284" y="3143051"/>
                </a:cubicBezTo>
                <a:cubicBezTo>
                  <a:pt x="3601284" y="2248350"/>
                  <a:pt x="2875985" y="1523051"/>
                  <a:pt x="1981284" y="1523051"/>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944704" y="1566471"/>
            <a:ext cx="3153159" cy="3153159"/>
          </a:xfrm>
          <a:prstGeom prst="ellipse">
            <a:avLst/>
          </a:prstGeom>
          <a:solidFill>
            <a:schemeClr val="bg2"/>
          </a:solidFill>
          <a:ln w="50800">
            <a:noFill/>
          </a:ln>
        </p:spPr>
        <p:txBody>
          <a:bodyPr wrap="square"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4"/>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9" name="Textplatzhalter 8">
            <a:extLst>
              <a:ext uri="{FF2B5EF4-FFF2-40B4-BE49-F238E27FC236}">
                <a16:creationId xmlns:a16="http://schemas.microsoft.com/office/drawing/2014/main" id="{C04E7C88-AB62-3637-183B-1B25F8BD3A87}"/>
              </a:ext>
            </a:extLst>
          </p:cNvPr>
          <p:cNvSpPr>
            <a:spLocks noGrp="1"/>
          </p:cNvSpPr>
          <p:nvPr>
            <p:ph type="body" sz="quarter" idx="25" hasCustomPrompt="1"/>
            <p:custDataLst>
              <p:tags r:id="rId5"/>
            </p:custDataLst>
          </p:nvPr>
        </p:nvSpPr>
        <p:spPr>
          <a:xfrm>
            <a:off x="5130799" y="2438400"/>
            <a:ext cx="5289549" cy="3695699"/>
          </a:xfrm>
        </p:spPr>
        <p:txBody>
          <a:bodyPr/>
          <a:lstStyle>
            <a:lvl5pPr>
              <a:defRPr/>
            </a:lvl5p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Datumsplatzhalter 5">
            <a:extLst>
              <a:ext uri="{FF2B5EF4-FFF2-40B4-BE49-F238E27FC236}">
                <a16:creationId xmlns:a16="http://schemas.microsoft.com/office/drawing/2014/main" id="{BABCC8FB-F3F8-1B1E-D481-3CFA8354E010}"/>
              </a:ext>
            </a:extLst>
          </p:cNvPr>
          <p:cNvSpPr>
            <a:spLocks noGrp="1"/>
          </p:cNvSpPr>
          <p:nvPr>
            <p:ph type="dt" sz="half" idx="26"/>
            <p:custDataLst>
              <p:tags r:id="rId6"/>
            </p:custDataLst>
          </p:nvPr>
        </p:nvSpPr>
        <p:spPr/>
        <p:txBody>
          <a:bodyPr/>
          <a:lstStyle/>
          <a:p>
            <a:r>
              <a:rPr lang="pl-PL"/>
              <a:t>06.11.2024</a:t>
            </a:r>
            <a:endParaRPr lang="pl-PL" dirty="0"/>
          </a:p>
        </p:txBody>
      </p:sp>
      <p:sp>
        <p:nvSpPr>
          <p:cNvPr id="8" name="Fußzeilenplatzhalter 7">
            <a:extLst>
              <a:ext uri="{FF2B5EF4-FFF2-40B4-BE49-F238E27FC236}">
                <a16:creationId xmlns:a16="http://schemas.microsoft.com/office/drawing/2014/main" id="{6F681113-06F9-6515-8252-A525418367CC}"/>
              </a:ext>
            </a:extLst>
          </p:cNvPr>
          <p:cNvSpPr>
            <a:spLocks noGrp="1"/>
          </p:cNvSpPr>
          <p:nvPr>
            <p:ph type="ftr" sz="quarter" idx="27"/>
            <p:custDataLst>
              <p:tags r:id="rId7"/>
            </p:custDataLst>
          </p:nvPr>
        </p:nvSpPr>
        <p:spPr/>
        <p:txBody>
          <a:bodyPr/>
          <a:lstStyle/>
          <a:p>
            <a:r>
              <a:rPr lang="pl-PL"/>
              <a:t>Najważniejsze informacje o dawstwie szpiku | C1- Public | #KOMÓRKOMANIA</a:t>
            </a:r>
            <a:endParaRPr lang="pl-PL" dirty="0"/>
          </a:p>
        </p:txBody>
      </p:sp>
      <p:sp>
        <p:nvSpPr>
          <p:cNvPr id="10" name="Foliennummernplatzhalter 9">
            <a:extLst>
              <a:ext uri="{FF2B5EF4-FFF2-40B4-BE49-F238E27FC236}">
                <a16:creationId xmlns:a16="http://schemas.microsoft.com/office/drawing/2014/main" id="{E23D7F61-DCE2-00F3-A108-5AD2688A9A1A}"/>
              </a:ext>
            </a:extLst>
          </p:cNvPr>
          <p:cNvSpPr>
            <a:spLocks noGrp="1"/>
          </p:cNvSpPr>
          <p:nvPr>
            <p:ph type="sldNum" sz="quarter" idx="28"/>
            <p:custDataLst>
              <p:tags r:id="rId8"/>
            </p:custDataLst>
          </p:nvPr>
        </p:nvSpPr>
        <p:spPr/>
        <p:txBody>
          <a:bodyPr/>
          <a:lstStyle/>
          <a:p>
            <a:fld id="{92DB0D90-6264-4E90-9724-ABC670DBF4FB}" type="slidenum">
              <a:rPr lang="pl-PL" smtClean="0"/>
              <a:pPr/>
              <a:t>‹#›</a:t>
            </a:fld>
            <a:endParaRPr lang="pl-PL" dirty="0"/>
          </a:p>
        </p:txBody>
      </p:sp>
      <p:sp>
        <p:nvSpPr>
          <p:cNvPr id="3" name="Textplatzhalter 14">
            <a:extLst>
              <a:ext uri="{FF2B5EF4-FFF2-40B4-BE49-F238E27FC236}">
                <a16:creationId xmlns:a16="http://schemas.microsoft.com/office/drawing/2014/main" id="{EF74AE04-3C33-05FA-0D91-674C49E1A0E0}"/>
              </a:ext>
            </a:extLst>
          </p:cNvPr>
          <p:cNvSpPr>
            <a:spLocks noGrp="1"/>
          </p:cNvSpPr>
          <p:nvPr>
            <p:ph type="body" sz="quarter" idx="30" hasCustomPrompt="1"/>
            <p:custDataLst>
              <p:tags r:id="rId9"/>
            </p:custDataLst>
          </p:nvPr>
        </p:nvSpPr>
        <p:spPr>
          <a:xfrm>
            <a:off x="1063284" y="4719631"/>
            <a:ext cx="2916000" cy="1432941"/>
          </a:xfrm>
        </p:spPr>
        <p:txBody>
          <a:bodyPr lIns="0" tIns="288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1" name="Rechteck 10">
            <a:extLst>
              <a:ext uri="{FF2B5EF4-FFF2-40B4-BE49-F238E27FC236}">
                <a16:creationId xmlns:a16="http://schemas.microsoft.com/office/drawing/2014/main" id="{70623EFF-5BED-6DDC-AA21-542EA7D181B9}"/>
              </a:ext>
            </a:extLst>
          </p:cNvPr>
          <p:cNvSpPr/>
          <p:nvPr userDrawn="1">
            <p:custDataLst>
              <p:tags r:id="rId10"/>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echteck 11">
            <a:extLst>
              <a:ext uri="{FF2B5EF4-FFF2-40B4-BE49-F238E27FC236}">
                <a16:creationId xmlns:a16="http://schemas.microsoft.com/office/drawing/2014/main" id="{EFC604C2-A509-FDB4-57D1-D37C9123AD72}"/>
              </a:ext>
            </a:extLst>
          </p:cNvPr>
          <p:cNvSpPr>
            <a:spLocks/>
          </p:cNvSpPr>
          <p:nvPr userDrawn="1">
            <p:custDataLst>
              <p:tags r:id="rId11"/>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2903089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eam member (3)">
    <p:bg>
      <p:bgPr>
        <a:solidFill>
          <a:schemeClr val="tx2"/>
        </a:solidFill>
        <a:effectLst/>
      </p:bgPr>
    </p:bg>
    <p:spTree>
      <p:nvGrpSpPr>
        <p:cNvPr id="1" name=""/>
        <p:cNvGrpSpPr/>
        <p:nvPr/>
      </p:nvGrpSpPr>
      <p:grpSpPr>
        <a:xfrm>
          <a:off x="0" y="0"/>
          <a:ext cx="0" cy="0"/>
          <a:chOff x="0" y="0"/>
          <a:chExt cx="0" cy="0"/>
        </a:xfrm>
      </p:grpSpPr>
      <p:sp>
        <p:nvSpPr>
          <p:cNvPr id="22" name="Freihandform: Form 21">
            <a:extLst>
              <a:ext uri="{FF2B5EF4-FFF2-40B4-BE49-F238E27FC236}">
                <a16:creationId xmlns:a16="http://schemas.microsoft.com/office/drawing/2014/main" id="{D115A771-1D68-941B-EE50-C6423B122EE4}"/>
              </a:ext>
            </a:extLst>
          </p:cNvPr>
          <p:cNvSpPr/>
          <p:nvPr userDrawn="1">
            <p:custDataLst>
              <p:tags r:id="rId1"/>
            </p:custDataLst>
          </p:nvPr>
        </p:nvSpPr>
        <p:spPr>
          <a:xfrm>
            <a:off x="540000" y="0"/>
            <a:ext cx="11652000" cy="6858000"/>
          </a:xfrm>
          <a:custGeom>
            <a:avLst/>
            <a:gdLst>
              <a:gd name="connsiteX0" fmla="*/ 9278249 w 11652000"/>
              <a:gd name="connsiteY0" fmla="*/ 1869454 h 6858000"/>
              <a:gd name="connsiteX1" fmla="*/ 8252249 w 11652000"/>
              <a:gd name="connsiteY1" fmla="*/ 2895454 h 6858000"/>
              <a:gd name="connsiteX2" fmla="*/ 9278249 w 11652000"/>
              <a:gd name="connsiteY2" fmla="*/ 3921454 h 6858000"/>
              <a:gd name="connsiteX3" fmla="*/ 10304249 w 11652000"/>
              <a:gd name="connsiteY3" fmla="*/ 2895454 h 6858000"/>
              <a:gd name="connsiteX4" fmla="*/ 9278249 w 11652000"/>
              <a:gd name="connsiteY4" fmla="*/ 1869454 h 6858000"/>
              <a:gd name="connsiteX5" fmla="*/ 5556000 w 11652000"/>
              <a:gd name="connsiteY5" fmla="*/ 1869454 h 6858000"/>
              <a:gd name="connsiteX6" fmla="*/ 4530000 w 11652000"/>
              <a:gd name="connsiteY6" fmla="*/ 2895454 h 6858000"/>
              <a:gd name="connsiteX7" fmla="*/ 5556000 w 11652000"/>
              <a:gd name="connsiteY7" fmla="*/ 3921454 h 6858000"/>
              <a:gd name="connsiteX8" fmla="*/ 6582000 w 11652000"/>
              <a:gd name="connsiteY8" fmla="*/ 2895454 h 6858000"/>
              <a:gd name="connsiteX9" fmla="*/ 5556000 w 11652000"/>
              <a:gd name="connsiteY9" fmla="*/ 1869454 h 6858000"/>
              <a:gd name="connsiteX10" fmla="*/ 1833750 w 11652000"/>
              <a:gd name="connsiteY10" fmla="*/ 1869454 h 6858000"/>
              <a:gd name="connsiteX11" fmla="*/ 807750 w 11652000"/>
              <a:gd name="connsiteY11" fmla="*/ 2895454 h 6858000"/>
              <a:gd name="connsiteX12" fmla="*/ 1833750 w 11652000"/>
              <a:gd name="connsiteY12" fmla="*/ 3921454 h 6858000"/>
              <a:gd name="connsiteX13" fmla="*/ 2859750 w 11652000"/>
              <a:gd name="connsiteY13" fmla="*/ 2895454 h 6858000"/>
              <a:gd name="connsiteX14" fmla="*/ 1833750 w 11652000"/>
              <a:gd name="connsiteY14" fmla="*/ 1869454 h 6858000"/>
              <a:gd name="connsiteX15" fmla="*/ 0 w 11652000"/>
              <a:gd name="connsiteY15" fmla="*/ 0 h 6858000"/>
              <a:gd name="connsiteX16" fmla="*/ 11652000 w 11652000"/>
              <a:gd name="connsiteY16" fmla="*/ 0 h 6858000"/>
              <a:gd name="connsiteX17" fmla="*/ 11652000 w 11652000"/>
              <a:gd name="connsiteY17" fmla="*/ 6858000 h 6858000"/>
              <a:gd name="connsiteX18" fmla="*/ 0 w 11652000"/>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52000" h="6858000">
                <a:moveTo>
                  <a:pt x="9278249" y="1869454"/>
                </a:moveTo>
                <a:cubicBezTo>
                  <a:pt x="8711605" y="1869454"/>
                  <a:pt x="8252249" y="2328810"/>
                  <a:pt x="8252249" y="2895454"/>
                </a:cubicBezTo>
                <a:cubicBezTo>
                  <a:pt x="8252249" y="3462098"/>
                  <a:pt x="8711605" y="3921454"/>
                  <a:pt x="9278249" y="3921454"/>
                </a:cubicBezTo>
                <a:cubicBezTo>
                  <a:pt x="9844893" y="3921454"/>
                  <a:pt x="10304249" y="3462098"/>
                  <a:pt x="10304249" y="2895454"/>
                </a:cubicBezTo>
                <a:cubicBezTo>
                  <a:pt x="10304249" y="2328810"/>
                  <a:pt x="9844893" y="1869454"/>
                  <a:pt x="9278249" y="1869454"/>
                </a:cubicBezTo>
                <a:close/>
                <a:moveTo>
                  <a:pt x="5556000" y="1869454"/>
                </a:moveTo>
                <a:cubicBezTo>
                  <a:pt x="4989356" y="1869454"/>
                  <a:pt x="4530000" y="2328810"/>
                  <a:pt x="4530000" y="2895454"/>
                </a:cubicBezTo>
                <a:cubicBezTo>
                  <a:pt x="4530000" y="3462098"/>
                  <a:pt x="4989356" y="3921454"/>
                  <a:pt x="5556000" y="3921454"/>
                </a:cubicBezTo>
                <a:cubicBezTo>
                  <a:pt x="6122644" y="3921454"/>
                  <a:pt x="6582000" y="3462098"/>
                  <a:pt x="6582000" y="2895454"/>
                </a:cubicBezTo>
                <a:cubicBezTo>
                  <a:pt x="6582000" y="2328810"/>
                  <a:pt x="6122644" y="1869454"/>
                  <a:pt x="5556000" y="1869454"/>
                </a:cubicBezTo>
                <a:close/>
                <a:moveTo>
                  <a:pt x="1833750" y="1869454"/>
                </a:moveTo>
                <a:cubicBezTo>
                  <a:pt x="1267106" y="1869454"/>
                  <a:pt x="807750" y="2328810"/>
                  <a:pt x="807750" y="2895454"/>
                </a:cubicBezTo>
                <a:cubicBezTo>
                  <a:pt x="807750" y="3462098"/>
                  <a:pt x="1267106" y="3921454"/>
                  <a:pt x="1833750" y="3921454"/>
                </a:cubicBezTo>
                <a:cubicBezTo>
                  <a:pt x="2400394" y="3921454"/>
                  <a:pt x="2859750" y="3462098"/>
                  <a:pt x="2859750" y="2895454"/>
                </a:cubicBezTo>
                <a:cubicBezTo>
                  <a:pt x="2859750" y="2328810"/>
                  <a:pt x="2400394" y="1869454"/>
                  <a:pt x="1833750" y="1869454"/>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13950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6D0C79AE-2065-693C-F8F2-82AFFF5E82C3}"/>
              </a:ext>
            </a:extLst>
          </p:cNvPr>
          <p:cNvSpPr>
            <a:spLocks noGrp="1"/>
          </p:cNvSpPr>
          <p:nvPr>
            <p:ph type="pic" sz="quarter" idx="18" hasCustomPrompt="1"/>
            <p:custDataLst>
              <p:tags r:id="rId4"/>
            </p:custDataLst>
          </p:nvPr>
        </p:nvSpPr>
        <p:spPr>
          <a:xfrm>
            <a:off x="5117335"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5FC05490-F038-1AA8-A3A1-FC73430773EC}"/>
              </a:ext>
            </a:extLst>
          </p:cNvPr>
          <p:cNvSpPr>
            <a:spLocks noGrp="1"/>
          </p:cNvSpPr>
          <p:nvPr>
            <p:ph type="pic" sz="quarter" idx="20" hasCustomPrompt="1"/>
            <p:custDataLst>
              <p:tags r:id="rId5"/>
            </p:custDataLst>
          </p:nvPr>
        </p:nvSpPr>
        <p:spPr>
          <a:xfrm>
            <a:off x="88395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6"/>
            </p:custDataLst>
          </p:nvPr>
        </p:nvSpPr>
        <p:spPr>
          <a:xfrm>
            <a:off x="898524" y="223535"/>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8" name="Datumsplatzhalter 7">
            <a:extLst>
              <a:ext uri="{FF2B5EF4-FFF2-40B4-BE49-F238E27FC236}">
                <a16:creationId xmlns:a16="http://schemas.microsoft.com/office/drawing/2014/main" id="{8B95CA18-62C5-8982-696F-7E2E7517CF02}"/>
              </a:ext>
            </a:extLst>
          </p:cNvPr>
          <p:cNvSpPr>
            <a:spLocks noGrp="1"/>
          </p:cNvSpPr>
          <p:nvPr>
            <p:ph type="dt" sz="half" idx="27"/>
            <p:custDataLst>
              <p:tags r:id="rId7"/>
            </p:custDataLst>
          </p:nvPr>
        </p:nvSpPr>
        <p:spPr/>
        <p:txBody>
          <a:bodyPr/>
          <a:lstStyle/>
          <a:p>
            <a:r>
              <a:rPr lang="pl-PL"/>
              <a:t>06.11.2024</a:t>
            </a:r>
            <a:endParaRPr lang="pl-PL" dirty="0"/>
          </a:p>
        </p:txBody>
      </p:sp>
      <p:sp>
        <p:nvSpPr>
          <p:cNvPr id="9" name="Fußzeilenplatzhalter 8">
            <a:extLst>
              <a:ext uri="{FF2B5EF4-FFF2-40B4-BE49-F238E27FC236}">
                <a16:creationId xmlns:a16="http://schemas.microsoft.com/office/drawing/2014/main" id="{04B42B20-741E-8CF4-5931-65F2AE6EAA63}"/>
              </a:ext>
            </a:extLst>
          </p:cNvPr>
          <p:cNvSpPr>
            <a:spLocks noGrp="1"/>
          </p:cNvSpPr>
          <p:nvPr>
            <p:ph type="ftr" sz="quarter" idx="28"/>
            <p:custDataLst>
              <p:tags r:id="rId8"/>
            </p:custDataLst>
          </p:nvPr>
        </p:nvSpPr>
        <p:spPr/>
        <p:txBody>
          <a:bodyPr/>
          <a:lstStyle/>
          <a:p>
            <a:r>
              <a:rPr lang="pl-PL"/>
              <a:t>Najważniejsze informacje o dawstwie szpiku | C1- Public | #KOMÓRKOMANIA</a:t>
            </a:r>
            <a:endParaRPr lang="pl-PL" dirty="0"/>
          </a:p>
        </p:txBody>
      </p:sp>
      <p:sp>
        <p:nvSpPr>
          <p:cNvPr id="11" name="Foliennummernplatzhalter 10">
            <a:extLst>
              <a:ext uri="{FF2B5EF4-FFF2-40B4-BE49-F238E27FC236}">
                <a16:creationId xmlns:a16="http://schemas.microsoft.com/office/drawing/2014/main" id="{1231504B-41E7-4E61-3CF2-E201124E12C4}"/>
              </a:ext>
            </a:extLst>
          </p:cNvPr>
          <p:cNvSpPr>
            <a:spLocks noGrp="1"/>
          </p:cNvSpPr>
          <p:nvPr>
            <p:ph type="sldNum" sz="quarter" idx="29"/>
            <p:custDataLst>
              <p:tags r:id="rId9"/>
            </p:custDataLst>
          </p:nvPr>
        </p:nvSpPr>
        <p:spPr/>
        <p:txBody>
          <a:bodyPr/>
          <a:lstStyle/>
          <a:p>
            <a:fld id="{92DB0D90-6264-4E90-9724-ABC670DBF4FB}" type="slidenum">
              <a:rPr lang="pl-PL" smtClean="0"/>
              <a:pPr/>
              <a:t>‹#›</a:t>
            </a:fld>
            <a:endParaRPr lang="pl-PL" dirty="0"/>
          </a:p>
        </p:txBody>
      </p:sp>
      <p:sp>
        <p:nvSpPr>
          <p:cNvPr id="15" name="Textplatzhalter 14">
            <a:extLst>
              <a:ext uri="{FF2B5EF4-FFF2-40B4-BE49-F238E27FC236}">
                <a16:creationId xmlns:a16="http://schemas.microsoft.com/office/drawing/2014/main" id="{D9223D02-3B2C-76FD-56DF-017F6EE2645F}"/>
              </a:ext>
            </a:extLst>
          </p:cNvPr>
          <p:cNvSpPr>
            <a:spLocks noGrp="1"/>
          </p:cNvSpPr>
          <p:nvPr>
            <p:ph type="body" sz="quarter" idx="30" hasCustomPrompt="1"/>
            <p:custDataLst>
              <p:tags r:id="rId10"/>
            </p:custDataLst>
          </p:nvPr>
        </p:nvSpPr>
        <p:spPr>
          <a:xfrm>
            <a:off x="915751"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6" name="Textplatzhalter 14">
            <a:extLst>
              <a:ext uri="{FF2B5EF4-FFF2-40B4-BE49-F238E27FC236}">
                <a16:creationId xmlns:a16="http://schemas.microsoft.com/office/drawing/2014/main" id="{79A2D2B6-31A0-0407-73D0-27672F5A6B88}"/>
              </a:ext>
            </a:extLst>
          </p:cNvPr>
          <p:cNvSpPr>
            <a:spLocks noGrp="1"/>
          </p:cNvSpPr>
          <p:nvPr>
            <p:ph type="body" sz="quarter" idx="31" hasCustomPrompt="1"/>
            <p:custDataLst>
              <p:tags r:id="rId11"/>
            </p:custDataLst>
          </p:nvPr>
        </p:nvSpPr>
        <p:spPr>
          <a:xfrm>
            <a:off x="4638000"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20" name="Textplatzhalter 14">
            <a:extLst>
              <a:ext uri="{FF2B5EF4-FFF2-40B4-BE49-F238E27FC236}">
                <a16:creationId xmlns:a16="http://schemas.microsoft.com/office/drawing/2014/main" id="{2EAC6821-7F26-E354-E40C-323D2FFFE1F1}"/>
              </a:ext>
            </a:extLst>
          </p:cNvPr>
          <p:cNvSpPr>
            <a:spLocks noGrp="1"/>
          </p:cNvSpPr>
          <p:nvPr>
            <p:ph type="body" sz="quarter" idx="32" hasCustomPrompt="1"/>
            <p:custDataLst>
              <p:tags r:id="rId12"/>
            </p:custDataLst>
          </p:nvPr>
        </p:nvSpPr>
        <p:spPr>
          <a:xfrm>
            <a:off x="8360249"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3" name="Rechteck 12">
            <a:extLst>
              <a:ext uri="{FF2B5EF4-FFF2-40B4-BE49-F238E27FC236}">
                <a16:creationId xmlns:a16="http://schemas.microsoft.com/office/drawing/2014/main" id="{7E8355A7-B4EA-D9F4-555F-B8026DB03CD2}"/>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7" name="Rechteck 16">
            <a:extLst>
              <a:ext uri="{FF2B5EF4-FFF2-40B4-BE49-F238E27FC236}">
                <a16:creationId xmlns:a16="http://schemas.microsoft.com/office/drawing/2014/main" id="{DCE41DE3-49E6-7AA2-D041-FBB4D2592E1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3401621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Agenda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18505481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am member (4)">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C132B7BC-6428-ED10-3897-C5DBE026EE78}"/>
              </a:ext>
            </a:extLst>
          </p:cNvPr>
          <p:cNvSpPr/>
          <p:nvPr userDrawn="1">
            <p:custDataLst>
              <p:tags r:id="rId1"/>
            </p:custDataLst>
          </p:nvPr>
        </p:nvSpPr>
        <p:spPr>
          <a:xfrm>
            <a:off x="540002" y="0"/>
            <a:ext cx="11651999" cy="6858000"/>
          </a:xfrm>
          <a:custGeom>
            <a:avLst/>
            <a:gdLst>
              <a:gd name="connsiteX0" fmla="*/ 9560561 w 11651999"/>
              <a:gd name="connsiteY0" fmla="*/ 1666006 h 6858000"/>
              <a:gd name="connsiteX1" fmla="*/ 8804478 w 11651999"/>
              <a:gd name="connsiteY1" fmla="*/ 2422006 h 6858000"/>
              <a:gd name="connsiteX2" fmla="*/ 9560561 w 11651999"/>
              <a:gd name="connsiteY2" fmla="*/ 3178005 h 6858000"/>
              <a:gd name="connsiteX3" fmla="*/ 10316644 w 11651999"/>
              <a:gd name="connsiteY3" fmla="*/ 2422006 h 6858000"/>
              <a:gd name="connsiteX4" fmla="*/ 9560561 w 11651999"/>
              <a:gd name="connsiteY4" fmla="*/ 1666006 h 6858000"/>
              <a:gd name="connsiteX5" fmla="*/ 3919599 w 11651999"/>
              <a:gd name="connsiteY5" fmla="*/ 1666005 h 6858000"/>
              <a:gd name="connsiteX6" fmla="*/ 3163517 w 11651999"/>
              <a:gd name="connsiteY6" fmla="*/ 2422005 h 6858000"/>
              <a:gd name="connsiteX7" fmla="*/ 3919599 w 11651999"/>
              <a:gd name="connsiteY7" fmla="*/ 3178005 h 6858000"/>
              <a:gd name="connsiteX8" fmla="*/ 4675682 w 11651999"/>
              <a:gd name="connsiteY8" fmla="*/ 2422005 h 6858000"/>
              <a:gd name="connsiteX9" fmla="*/ 3919599 w 11651999"/>
              <a:gd name="connsiteY9" fmla="*/ 1666005 h 6858000"/>
              <a:gd name="connsiteX10" fmla="*/ 6740080 w 11651999"/>
              <a:gd name="connsiteY10" fmla="*/ 1666004 h 6858000"/>
              <a:gd name="connsiteX11" fmla="*/ 5983997 w 11651999"/>
              <a:gd name="connsiteY11" fmla="*/ 2422004 h 6858000"/>
              <a:gd name="connsiteX12" fmla="*/ 6740080 w 11651999"/>
              <a:gd name="connsiteY12" fmla="*/ 3178004 h 6858000"/>
              <a:gd name="connsiteX13" fmla="*/ 7496163 w 11651999"/>
              <a:gd name="connsiteY13" fmla="*/ 2422004 h 6858000"/>
              <a:gd name="connsiteX14" fmla="*/ 6740080 w 11651999"/>
              <a:gd name="connsiteY14" fmla="*/ 1666004 h 6858000"/>
              <a:gd name="connsiteX15" fmla="*/ 1099119 w 11651999"/>
              <a:gd name="connsiteY15" fmla="*/ 1666004 h 6858000"/>
              <a:gd name="connsiteX16" fmla="*/ 343036 w 11651999"/>
              <a:gd name="connsiteY16" fmla="*/ 2422004 h 6858000"/>
              <a:gd name="connsiteX17" fmla="*/ 1099119 w 11651999"/>
              <a:gd name="connsiteY17" fmla="*/ 3178004 h 6858000"/>
              <a:gd name="connsiteX18" fmla="*/ 1855202 w 11651999"/>
              <a:gd name="connsiteY18" fmla="*/ 2422004 h 6858000"/>
              <a:gd name="connsiteX19" fmla="*/ 1099119 w 11651999"/>
              <a:gd name="connsiteY19" fmla="*/ 1666004 h 6858000"/>
              <a:gd name="connsiteX20" fmla="*/ 0 w 11651999"/>
              <a:gd name="connsiteY20" fmla="*/ 0 h 6858000"/>
              <a:gd name="connsiteX21" fmla="*/ 11651999 w 11651999"/>
              <a:gd name="connsiteY21" fmla="*/ 0 h 6858000"/>
              <a:gd name="connsiteX22" fmla="*/ 11651999 w 11651999"/>
              <a:gd name="connsiteY22" fmla="*/ 6858000 h 6858000"/>
              <a:gd name="connsiteX23" fmla="*/ 0 w 11651999"/>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651999" h="6858000">
                <a:moveTo>
                  <a:pt x="9560561" y="1666006"/>
                </a:moveTo>
                <a:cubicBezTo>
                  <a:pt x="9142988" y="1666006"/>
                  <a:pt x="8804478" y="2004479"/>
                  <a:pt x="8804478" y="2422006"/>
                </a:cubicBezTo>
                <a:cubicBezTo>
                  <a:pt x="8804478" y="2839532"/>
                  <a:pt x="9142988" y="3178005"/>
                  <a:pt x="9560561" y="3178005"/>
                </a:cubicBezTo>
                <a:cubicBezTo>
                  <a:pt x="9978134" y="3178005"/>
                  <a:pt x="10316644" y="2839532"/>
                  <a:pt x="10316644" y="2422006"/>
                </a:cubicBezTo>
                <a:cubicBezTo>
                  <a:pt x="10316644" y="2004479"/>
                  <a:pt x="9978134" y="1666006"/>
                  <a:pt x="9560561" y="1666006"/>
                </a:cubicBezTo>
                <a:close/>
                <a:moveTo>
                  <a:pt x="3919599" y="1666005"/>
                </a:moveTo>
                <a:cubicBezTo>
                  <a:pt x="3502026" y="1666005"/>
                  <a:pt x="3163517" y="2004478"/>
                  <a:pt x="3163517" y="2422005"/>
                </a:cubicBezTo>
                <a:cubicBezTo>
                  <a:pt x="3163517" y="2839532"/>
                  <a:pt x="3502026" y="3178005"/>
                  <a:pt x="3919599" y="3178005"/>
                </a:cubicBezTo>
                <a:cubicBezTo>
                  <a:pt x="4337173" y="3178005"/>
                  <a:pt x="4675682" y="2839532"/>
                  <a:pt x="4675682" y="2422005"/>
                </a:cubicBezTo>
                <a:cubicBezTo>
                  <a:pt x="4675682" y="2004478"/>
                  <a:pt x="4337173" y="1666005"/>
                  <a:pt x="3919599" y="1666005"/>
                </a:cubicBezTo>
                <a:close/>
                <a:moveTo>
                  <a:pt x="6740080" y="1666004"/>
                </a:moveTo>
                <a:cubicBezTo>
                  <a:pt x="6322507" y="1666004"/>
                  <a:pt x="5983997" y="2004477"/>
                  <a:pt x="5983997" y="2422004"/>
                </a:cubicBezTo>
                <a:cubicBezTo>
                  <a:pt x="5983997" y="2839532"/>
                  <a:pt x="6322507" y="3178004"/>
                  <a:pt x="6740080" y="3178004"/>
                </a:cubicBezTo>
                <a:cubicBezTo>
                  <a:pt x="7157653" y="3178004"/>
                  <a:pt x="7496163" y="2839532"/>
                  <a:pt x="7496163" y="2422004"/>
                </a:cubicBezTo>
                <a:cubicBezTo>
                  <a:pt x="7496163" y="2004477"/>
                  <a:pt x="7157653" y="1666004"/>
                  <a:pt x="6740080" y="1666004"/>
                </a:cubicBezTo>
                <a:close/>
                <a:moveTo>
                  <a:pt x="1099119" y="1666004"/>
                </a:moveTo>
                <a:cubicBezTo>
                  <a:pt x="681546" y="1666004"/>
                  <a:pt x="343036" y="2004477"/>
                  <a:pt x="343036" y="2422004"/>
                </a:cubicBezTo>
                <a:cubicBezTo>
                  <a:pt x="343036" y="2839531"/>
                  <a:pt x="681546" y="3178004"/>
                  <a:pt x="1099119" y="3178004"/>
                </a:cubicBezTo>
                <a:cubicBezTo>
                  <a:pt x="1516692" y="3178004"/>
                  <a:pt x="1855202" y="2839531"/>
                  <a:pt x="1855202" y="2422004"/>
                </a:cubicBezTo>
                <a:cubicBezTo>
                  <a:pt x="1855202" y="2004477"/>
                  <a:pt x="1516692" y="1666004"/>
                  <a:pt x="1099119" y="1666004"/>
                </a:cubicBezTo>
                <a:close/>
                <a:moveTo>
                  <a:pt x="0" y="0"/>
                </a:moveTo>
                <a:lnTo>
                  <a:pt x="11651999" y="0"/>
                </a:lnTo>
                <a:lnTo>
                  <a:pt x="1165199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3"/>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4"/>
            </p:custDataLst>
          </p:nvPr>
        </p:nvSpPr>
        <p:spPr>
          <a:xfrm>
            <a:off x="934480" y="1717366"/>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0" name="Bildplatzhalter 6">
            <a:extLst>
              <a:ext uri="{FF2B5EF4-FFF2-40B4-BE49-F238E27FC236}">
                <a16:creationId xmlns:a16="http://schemas.microsoft.com/office/drawing/2014/main" id="{3068B7DF-D1E1-4E1F-4044-3FC6A26B79EB}"/>
              </a:ext>
            </a:extLst>
          </p:cNvPr>
          <p:cNvSpPr>
            <a:spLocks noGrp="1"/>
          </p:cNvSpPr>
          <p:nvPr>
            <p:ph type="pic" sz="quarter" idx="25" hasCustomPrompt="1"/>
            <p:custDataLst>
              <p:tags r:id="rId5"/>
            </p:custDataLst>
          </p:nvPr>
        </p:nvSpPr>
        <p:spPr>
          <a:xfrm>
            <a:off x="3754960"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Textplatzhalter 8">
            <a:extLst>
              <a:ext uri="{FF2B5EF4-FFF2-40B4-BE49-F238E27FC236}">
                <a16:creationId xmlns:a16="http://schemas.microsoft.com/office/drawing/2014/main" id="{A5ECCE35-16F4-36DD-DB66-6DED467DC826}"/>
              </a:ext>
            </a:extLst>
          </p:cNvPr>
          <p:cNvSpPr>
            <a:spLocks noGrp="1"/>
          </p:cNvSpPr>
          <p:nvPr>
            <p:ph type="body" sz="quarter" idx="30" hasCustomPrompt="1"/>
            <p:custDataLst>
              <p:tags r:id="rId6"/>
            </p:custDataLst>
          </p:nvPr>
        </p:nvSpPr>
        <p:spPr>
          <a:xfrm>
            <a:off x="1307438"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18" name="Textplatzhalter 8">
            <a:extLst>
              <a:ext uri="{FF2B5EF4-FFF2-40B4-BE49-F238E27FC236}">
                <a16:creationId xmlns:a16="http://schemas.microsoft.com/office/drawing/2014/main" id="{1EAC27A7-7691-4350-43C5-6B6CB5F92B2C}"/>
              </a:ext>
            </a:extLst>
          </p:cNvPr>
          <p:cNvSpPr>
            <a:spLocks noGrp="1"/>
          </p:cNvSpPr>
          <p:nvPr>
            <p:ph type="body" sz="quarter" idx="31" hasCustomPrompt="1"/>
            <p:custDataLst>
              <p:tags r:id="rId7"/>
            </p:custDataLst>
          </p:nvPr>
        </p:nvSpPr>
        <p:spPr>
          <a:xfrm>
            <a:off x="4127919"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0" name="Textplatzhalter 8">
            <a:extLst>
              <a:ext uri="{FF2B5EF4-FFF2-40B4-BE49-F238E27FC236}">
                <a16:creationId xmlns:a16="http://schemas.microsoft.com/office/drawing/2014/main" id="{77D24433-C7A0-DCCF-802A-407C4B93BDCD}"/>
              </a:ext>
            </a:extLst>
          </p:cNvPr>
          <p:cNvSpPr>
            <a:spLocks noGrp="1"/>
          </p:cNvSpPr>
          <p:nvPr>
            <p:ph type="body" sz="quarter" idx="32" hasCustomPrompt="1"/>
            <p:custDataLst>
              <p:tags r:id="rId8"/>
            </p:custDataLst>
          </p:nvPr>
        </p:nvSpPr>
        <p:spPr>
          <a:xfrm>
            <a:off x="6948401"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1" name="Textplatzhalter 8">
            <a:extLst>
              <a:ext uri="{FF2B5EF4-FFF2-40B4-BE49-F238E27FC236}">
                <a16:creationId xmlns:a16="http://schemas.microsoft.com/office/drawing/2014/main" id="{A021F369-23AA-50F4-5510-BF8495646D67}"/>
              </a:ext>
            </a:extLst>
          </p:cNvPr>
          <p:cNvSpPr>
            <a:spLocks noGrp="1"/>
          </p:cNvSpPr>
          <p:nvPr>
            <p:ph type="body" sz="quarter" idx="33" hasCustomPrompt="1"/>
            <p:custDataLst>
              <p:tags r:id="rId9"/>
            </p:custDataLst>
          </p:nvPr>
        </p:nvSpPr>
        <p:spPr>
          <a:xfrm>
            <a:off x="9768882"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5" name="Datumsplatzhalter 4">
            <a:extLst>
              <a:ext uri="{FF2B5EF4-FFF2-40B4-BE49-F238E27FC236}">
                <a16:creationId xmlns:a16="http://schemas.microsoft.com/office/drawing/2014/main" id="{7C7D7102-6AF4-7B88-FF02-01A0673EAB56}"/>
              </a:ext>
            </a:extLst>
          </p:cNvPr>
          <p:cNvSpPr>
            <a:spLocks noGrp="1"/>
          </p:cNvSpPr>
          <p:nvPr>
            <p:ph type="dt" sz="half" idx="34"/>
            <p:custDataLst>
              <p:tags r:id="rId10"/>
            </p:custDataLst>
          </p:nvPr>
        </p:nvSpPr>
        <p:spPr/>
        <p:txBody>
          <a:bodyPr/>
          <a:lstStyle/>
          <a:p>
            <a:r>
              <a:rPr lang="pl-PL"/>
              <a:t>06.11.2024</a:t>
            </a:r>
            <a:endParaRPr lang="pl-PL" dirty="0"/>
          </a:p>
        </p:txBody>
      </p:sp>
      <p:sp>
        <p:nvSpPr>
          <p:cNvPr id="6" name="Fußzeilenplatzhalter 5">
            <a:extLst>
              <a:ext uri="{FF2B5EF4-FFF2-40B4-BE49-F238E27FC236}">
                <a16:creationId xmlns:a16="http://schemas.microsoft.com/office/drawing/2014/main" id="{6C2CF1F2-0B93-10C3-414C-AD26EAE73531}"/>
              </a:ext>
            </a:extLst>
          </p:cNvPr>
          <p:cNvSpPr>
            <a:spLocks noGrp="1"/>
          </p:cNvSpPr>
          <p:nvPr>
            <p:ph type="ftr" sz="quarter" idx="35"/>
            <p:custDataLst>
              <p:tags r:id="rId11"/>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1B438321-B4A3-3AD4-6952-C27449CD5739}"/>
              </a:ext>
            </a:extLst>
          </p:cNvPr>
          <p:cNvSpPr>
            <a:spLocks noGrp="1"/>
          </p:cNvSpPr>
          <p:nvPr>
            <p:ph type="sldNum" sz="quarter" idx="36"/>
            <p:custDataLst>
              <p:tags r:id="rId12"/>
            </p:custDataLst>
          </p:nvPr>
        </p:nvSpPr>
        <p:spPr/>
        <p:txBody>
          <a:bodyPr/>
          <a:lstStyle/>
          <a:p>
            <a:fld id="{92DB0D90-6264-4E90-9724-ABC670DBF4FB}" type="slidenum">
              <a:rPr lang="pl-PL" smtClean="0"/>
              <a:pPr/>
              <a:t>‹#›</a:t>
            </a:fld>
            <a:endParaRPr lang="pl-PL" dirty="0"/>
          </a:p>
        </p:txBody>
      </p:sp>
      <p:sp>
        <p:nvSpPr>
          <p:cNvPr id="13" name="Rechteck 12">
            <a:extLst>
              <a:ext uri="{FF2B5EF4-FFF2-40B4-BE49-F238E27FC236}">
                <a16:creationId xmlns:a16="http://schemas.microsoft.com/office/drawing/2014/main" id="{82BA7842-4012-E451-0CFA-98EEA7749C94}"/>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5" name="Rechteck 14">
            <a:extLst>
              <a:ext uri="{FF2B5EF4-FFF2-40B4-BE49-F238E27FC236}">
                <a16:creationId xmlns:a16="http://schemas.microsoft.com/office/drawing/2014/main" id="{EBD56F67-F300-40CF-9D4C-A4AF682BD7A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9" name="Bildplatzhalter 6">
            <a:extLst>
              <a:ext uri="{FF2B5EF4-FFF2-40B4-BE49-F238E27FC236}">
                <a16:creationId xmlns:a16="http://schemas.microsoft.com/office/drawing/2014/main" id="{B5801B77-1BF5-4284-B177-F42C3470E181}"/>
              </a:ext>
            </a:extLst>
          </p:cNvPr>
          <p:cNvSpPr>
            <a:spLocks noGrp="1"/>
          </p:cNvSpPr>
          <p:nvPr>
            <p:ph type="pic" sz="quarter" idx="29" hasCustomPrompt="1"/>
            <p:custDataLst>
              <p:tags r:id="rId15"/>
            </p:custDataLst>
          </p:nvPr>
        </p:nvSpPr>
        <p:spPr>
          <a:xfrm>
            <a:off x="9395923"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FDD64EA0-00F4-23AA-A634-959066C43B47}"/>
              </a:ext>
            </a:extLst>
          </p:cNvPr>
          <p:cNvSpPr>
            <a:spLocks noGrp="1"/>
          </p:cNvSpPr>
          <p:nvPr>
            <p:ph type="pic" sz="quarter" idx="27" hasCustomPrompt="1"/>
            <p:custDataLst>
              <p:tags r:id="rId16"/>
            </p:custDataLst>
          </p:nvPr>
        </p:nvSpPr>
        <p:spPr>
          <a:xfrm>
            <a:off x="6575442" y="1717368"/>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1910545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pecial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Special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33036174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WOT flexible">
    <p:bg>
      <p:bgPr>
        <a:solidFill>
          <a:schemeClr val="tx2"/>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578EAAC7-BB1D-1C15-879F-7B80603F002B}"/>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Overline">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extplatzhalter 1">
            <a:extLst>
              <a:ext uri="{FF2B5EF4-FFF2-40B4-BE49-F238E27FC236}">
                <a16:creationId xmlns:a16="http://schemas.microsoft.com/office/drawing/2014/main" id="{A89BE514-BE1F-65B7-93D0-919BE0DDAA43}"/>
              </a:ext>
            </a:extLst>
          </p:cNvPr>
          <p:cNvSpPr>
            <a:spLocks noGrp="1"/>
          </p:cNvSpPr>
          <p:nvPr>
            <p:ph type="body" sz="quarter" idx="45" hasCustomPrompt="1"/>
            <p:custDataLst>
              <p:tags r:id="rId3"/>
            </p:custDataLst>
          </p:nvPr>
        </p:nvSpPr>
        <p:spPr>
          <a:xfrm>
            <a:off x="898524" y="1773236"/>
            <a:ext cx="3784312" cy="2087564"/>
          </a:xfrm>
        </p:spPr>
        <p:txBody>
          <a:bodyPr anchor="b"/>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9" name="Textplatzhalter 2">
            <a:extLst>
              <a:ext uri="{FF2B5EF4-FFF2-40B4-BE49-F238E27FC236}">
                <a16:creationId xmlns:a16="http://schemas.microsoft.com/office/drawing/2014/main" id="{98C197C5-32D6-B47D-6E89-F9BFA57D124F}"/>
              </a:ext>
            </a:extLst>
          </p:cNvPr>
          <p:cNvSpPr>
            <a:spLocks noGrp="1"/>
          </p:cNvSpPr>
          <p:nvPr>
            <p:ph type="body" sz="quarter" idx="49" hasCustomPrompt="1"/>
            <p:custDataLst>
              <p:tags r:id="rId4"/>
            </p:custDataLst>
          </p:nvPr>
        </p:nvSpPr>
        <p:spPr>
          <a:xfrm>
            <a:off x="8047327" y="1809962"/>
            <a:ext cx="3784312" cy="2050838"/>
          </a:xfrm>
        </p:spPr>
        <p:txBody>
          <a:bodyPr anchor="b"/>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2" name="Textplatzhalter 3">
            <a:extLst>
              <a:ext uri="{FF2B5EF4-FFF2-40B4-BE49-F238E27FC236}">
                <a16:creationId xmlns:a16="http://schemas.microsoft.com/office/drawing/2014/main" id="{92BADE8F-FC12-8C2F-6BF3-283A6CEC50EF}"/>
              </a:ext>
            </a:extLst>
          </p:cNvPr>
          <p:cNvSpPr>
            <a:spLocks noGrp="1"/>
          </p:cNvSpPr>
          <p:nvPr>
            <p:ph type="body" sz="quarter" idx="51" hasCustomPrompt="1"/>
            <p:custDataLst>
              <p:tags r:id="rId5"/>
            </p:custDataLst>
          </p:nvPr>
        </p:nvSpPr>
        <p:spPr>
          <a:xfrm>
            <a:off x="898524" y="4086436"/>
            <a:ext cx="3784312" cy="2050838"/>
          </a:xfrm>
        </p:spPr>
        <p:txBody>
          <a:bodyPr anchor="t"/>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0" name="Textplatzhalter 4">
            <a:extLst>
              <a:ext uri="{FF2B5EF4-FFF2-40B4-BE49-F238E27FC236}">
                <a16:creationId xmlns:a16="http://schemas.microsoft.com/office/drawing/2014/main" id="{7D466678-9C6C-889D-BBDB-F2D94BD21774}"/>
              </a:ext>
            </a:extLst>
          </p:cNvPr>
          <p:cNvSpPr>
            <a:spLocks noGrp="1"/>
          </p:cNvSpPr>
          <p:nvPr>
            <p:ph type="body" sz="quarter" idx="50" hasCustomPrompt="1"/>
            <p:custDataLst>
              <p:tags r:id="rId6"/>
            </p:custDataLst>
          </p:nvPr>
        </p:nvSpPr>
        <p:spPr>
          <a:xfrm>
            <a:off x="8047327" y="4086436"/>
            <a:ext cx="3784312" cy="2050838"/>
          </a:xfrm>
        </p:spPr>
        <p:txBody>
          <a:bodyPr anchor="t"/>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7" name="S">
            <a:extLst>
              <a:ext uri="{FF2B5EF4-FFF2-40B4-BE49-F238E27FC236}">
                <a16:creationId xmlns:a16="http://schemas.microsoft.com/office/drawing/2014/main" id="{3173A70D-89E8-CBF8-0663-16F0778CE87A}"/>
              </a:ext>
            </a:extLst>
          </p:cNvPr>
          <p:cNvSpPr>
            <a:spLocks noGrp="1"/>
          </p:cNvSpPr>
          <p:nvPr>
            <p:ph type="body" sz="quarter" idx="23" hasCustomPrompt="1"/>
            <p:custDataLst>
              <p:tags r:id="rId7"/>
            </p:custDataLst>
          </p:nvPr>
        </p:nvSpPr>
        <p:spPr>
          <a:xfrm>
            <a:off x="5156399" y="2745657"/>
            <a:ext cx="1209600" cy="1209600"/>
          </a:xfrm>
          <a:solidFill>
            <a:schemeClr val="accent2"/>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S</a:t>
            </a:r>
            <a:endParaRPr lang="pl-PL" dirty="0"/>
          </a:p>
        </p:txBody>
      </p:sp>
      <p:sp>
        <p:nvSpPr>
          <p:cNvPr id="4" name="W">
            <a:extLst>
              <a:ext uri="{FF2B5EF4-FFF2-40B4-BE49-F238E27FC236}">
                <a16:creationId xmlns:a16="http://schemas.microsoft.com/office/drawing/2014/main" id="{EE61E0CB-35B0-C558-A845-1BD1F1087955}"/>
              </a:ext>
            </a:extLst>
          </p:cNvPr>
          <p:cNvSpPr>
            <a:spLocks noGrp="1"/>
          </p:cNvSpPr>
          <p:nvPr>
            <p:ph type="body" sz="quarter" idx="28" hasCustomPrompt="1"/>
            <p:custDataLst>
              <p:tags r:id="rId8"/>
            </p:custDataLst>
          </p:nvPr>
        </p:nvSpPr>
        <p:spPr>
          <a:xfrm>
            <a:off x="6365999" y="2745657"/>
            <a:ext cx="1209600" cy="1209600"/>
          </a:xfrm>
          <a:solidFill>
            <a:schemeClr val="accent5"/>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W</a:t>
            </a:r>
            <a:endParaRPr lang="pl-PL" dirty="0"/>
          </a:p>
        </p:txBody>
      </p:sp>
      <p:sp>
        <p:nvSpPr>
          <p:cNvPr id="5" name="O">
            <a:extLst>
              <a:ext uri="{FF2B5EF4-FFF2-40B4-BE49-F238E27FC236}">
                <a16:creationId xmlns:a16="http://schemas.microsoft.com/office/drawing/2014/main" id="{A649B666-8BCB-0332-4F85-76ABF148B0AB}"/>
              </a:ext>
            </a:extLst>
          </p:cNvPr>
          <p:cNvSpPr>
            <a:spLocks noGrp="1"/>
          </p:cNvSpPr>
          <p:nvPr>
            <p:ph type="body" sz="quarter" idx="29" hasCustomPrompt="1"/>
            <p:custDataLst>
              <p:tags r:id="rId9"/>
            </p:custDataLst>
          </p:nvPr>
        </p:nvSpPr>
        <p:spPr>
          <a:xfrm>
            <a:off x="5156399" y="3955257"/>
            <a:ext cx="1209600" cy="1209600"/>
          </a:xfrm>
          <a:solidFill>
            <a:schemeClr val="accent3"/>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o</a:t>
            </a:r>
            <a:endParaRPr lang="pl-PL" dirty="0"/>
          </a:p>
        </p:txBody>
      </p:sp>
      <p:sp>
        <p:nvSpPr>
          <p:cNvPr id="8" name="T">
            <a:extLst>
              <a:ext uri="{FF2B5EF4-FFF2-40B4-BE49-F238E27FC236}">
                <a16:creationId xmlns:a16="http://schemas.microsoft.com/office/drawing/2014/main" id="{1B2986EB-C06E-6F40-34EA-01770762131B}"/>
              </a:ext>
            </a:extLst>
          </p:cNvPr>
          <p:cNvSpPr>
            <a:spLocks noGrp="1"/>
          </p:cNvSpPr>
          <p:nvPr>
            <p:ph type="body" sz="quarter" idx="30" hasCustomPrompt="1"/>
            <p:custDataLst>
              <p:tags r:id="rId10"/>
            </p:custDataLst>
          </p:nvPr>
        </p:nvSpPr>
        <p:spPr>
          <a:xfrm>
            <a:off x="6365999" y="3955257"/>
            <a:ext cx="1209600" cy="1209600"/>
          </a:xfrm>
          <a:solidFill>
            <a:srgbClr val="EE6676"/>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T</a:t>
            </a:r>
            <a:endParaRPr lang="pl-PL" dirty="0"/>
          </a:p>
        </p:txBody>
      </p:sp>
      <p:sp>
        <p:nvSpPr>
          <p:cNvPr id="17" name="Datumsplatzhalter 16">
            <a:extLst>
              <a:ext uri="{FF2B5EF4-FFF2-40B4-BE49-F238E27FC236}">
                <a16:creationId xmlns:a16="http://schemas.microsoft.com/office/drawing/2014/main" id="{1D5D9FF5-C75B-8EB6-385C-96DA50D9DFA9}"/>
              </a:ext>
            </a:extLst>
          </p:cNvPr>
          <p:cNvSpPr>
            <a:spLocks noGrp="1"/>
          </p:cNvSpPr>
          <p:nvPr>
            <p:ph type="dt" sz="half" idx="31"/>
            <p:custDataLst>
              <p:tags r:id="rId11"/>
            </p:custDataLst>
          </p:nvPr>
        </p:nvSpPr>
        <p:spPr/>
        <p:txBody>
          <a:bodyPr/>
          <a:lstStyle/>
          <a:p>
            <a:r>
              <a:rPr lang="pl-PL"/>
              <a:t>06.11.2024</a:t>
            </a:r>
            <a:endParaRPr lang="pl-PL" dirty="0"/>
          </a:p>
        </p:txBody>
      </p:sp>
      <p:sp>
        <p:nvSpPr>
          <p:cNvPr id="18" name="Fußzeilenplatzhalter 17">
            <a:extLst>
              <a:ext uri="{FF2B5EF4-FFF2-40B4-BE49-F238E27FC236}">
                <a16:creationId xmlns:a16="http://schemas.microsoft.com/office/drawing/2014/main" id="{143BF3AD-90A8-6394-07BF-4C8DBEE70A6A}"/>
              </a:ext>
            </a:extLst>
          </p:cNvPr>
          <p:cNvSpPr>
            <a:spLocks noGrp="1"/>
          </p:cNvSpPr>
          <p:nvPr>
            <p:ph type="ftr" sz="quarter" idx="32"/>
            <p:custDataLst>
              <p:tags r:id="rId12"/>
            </p:custDataLst>
          </p:nvPr>
        </p:nvSpPr>
        <p:spPr/>
        <p:txBody>
          <a:bodyPr/>
          <a:lstStyle/>
          <a:p>
            <a:r>
              <a:rPr lang="pl-PL"/>
              <a:t>Najważniejsze informacje o dawstwie szpiku | C1- Public | #KOMÓRKOMANIA</a:t>
            </a:r>
            <a:endParaRPr lang="pl-PL" dirty="0"/>
          </a:p>
        </p:txBody>
      </p:sp>
      <p:sp>
        <p:nvSpPr>
          <p:cNvPr id="19" name="Foliennummernplatzhalter 18">
            <a:extLst>
              <a:ext uri="{FF2B5EF4-FFF2-40B4-BE49-F238E27FC236}">
                <a16:creationId xmlns:a16="http://schemas.microsoft.com/office/drawing/2014/main" id="{0EB6C869-F8F4-EDAD-26A8-3CEFDCC5D078}"/>
              </a:ext>
            </a:extLst>
          </p:cNvPr>
          <p:cNvSpPr>
            <a:spLocks noGrp="1"/>
          </p:cNvSpPr>
          <p:nvPr>
            <p:ph type="sldNum" sz="quarter" idx="33"/>
            <p:custDataLst>
              <p:tags r:id="rId13"/>
            </p:custDataLst>
          </p:nvPr>
        </p:nvSpPr>
        <p:spPr/>
        <p:txBody>
          <a:bodyPr/>
          <a:lstStyle/>
          <a:p>
            <a:fld id="{92DB0D90-6264-4E90-9724-ABC670DBF4FB}" type="slidenum">
              <a:rPr lang="pl-PL" smtClean="0"/>
              <a:pPr/>
              <a:t>‹#›</a:t>
            </a:fld>
            <a:endParaRPr lang="pl-PL" dirty="0"/>
          </a:p>
        </p:txBody>
      </p:sp>
      <p:sp>
        <p:nvSpPr>
          <p:cNvPr id="26" name="Freihandform: Form 25">
            <a:extLst>
              <a:ext uri="{FF2B5EF4-FFF2-40B4-BE49-F238E27FC236}">
                <a16:creationId xmlns:a16="http://schemas.microsoft.com/office/drawing/2014/main" id="{BDADE2DB-F26A-14C7-2D00-757A79D00523}"/>
              </a:ext>
            </a:extLst>
          </p:cNvPr>
          <p:cNvSpPr>
            <a:spLocks/>
          </p:cNvSpPr>
          <p:nvPr userDrawn="1">
            <p:custDataLst>
              <p:tags r:id="rId14"/>
            </p:custDataLst>
          </p:nvPr>
        </p:nvSpPr>
        <p:spPr>
          <a:xfrm>
            <a:off x="4975715" y="2564973"/>
            <a:ext cx="2780568" cy="2780568"/>
          </a:xfrm>
          <a:custGeom>
            <a:avLst/>
            <a:gdLst>
              <a:gd name="connsiteX0" fmla="*/ 0 w 2780568"/>
              <a:gd name="connsiteY0" fmla="*/ 0 h 2780568"/>
              <a:gd name="connsiteX1" fmla="*/ 2780568 w 2780568"/>
              <a:gd name="connsiteY1" fmla="*/ 0 h 2780568"/>
              <a:gd name="connsiteX2" fmla="*/ 2780568 w 2780568"/>
              <a:gd name="connsiteY2" fmla="*/ 2780568 h 2780568"/>
              <a:gd name="connsiteX3" fmla="*/ 0 w 2780568"/>
              <a:gd name="connsiteY3" fmla="*/ 2780568 h 2780568"/>
              <a:gd name="connsiteX4" fmla="*/ 0 w 2780568"/>
              <a:gd name="connsiteY4" fmla="*/ 1995084 h 2780568"/>
              <a:gd name="connsiteX5" fmla="*/ 113521 w 2780568"/>
              <a:gd name="connsiteY5" fmla="*/ 1995084 h 2780568"/>
              <a:gd name="connsiteX6" fmla="*/ 113521 w 2780568"/>
              <a:gd name="connsiteY6" fmla="*/ 2219463 h 2780568"/>
              <a:gd name="connsiteX7" fmla="*/ 1191606 w 2780568"/>
              <a:gd name="connsiteY7" fmla="*/ 2219463 h 2780568"/>
              <a:gd name="connsiteX8" fmla="*/ 1191606 w 2780568"/>
              <a:gd name="connsiteY8" fmla="*/ 501500 h 2780568"/>
              <a:gd name="connsiteX9" fmla="*/ 113521 w 2780568"/>
              <a:gd name="connsiteY9" fmla="*/ 501500 h 2780568"/>
              <a:gd name="connsiteX10" fmla="*/ 113521 w 2780568"/>
              <a:gd name="connsiteY10" fmla="*/ 785484 h 2780568"/>
              <a:gd name="connsiteX11" fmla="*/ 0 w 2780568"/>
              <a:gd name="connsiteY11" fmla="*/ 785484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12" fmla="*/ 1283046 w 2780568"/>
              <a:gd name="connsiteY12" fmla="*/ 592940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10" fmla="*/ 1191606 w 2780568"/>
              <a:gd name="connsiteY10"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0" fmla="*/ 113521 w 2780568"/>
              <a:gd name="connsiteY0" fmla="*/ 785484 h 2780568"/>
              <a:gd name="connsiteX1" fmla="*/ 0 w 2780568"/>
              <a:gd name="connsiteY1" fmla="*/ 785484 h 2780568"/>
              <a:gd name="connsiteX2" fmla="*/ 0 w 2780568"/>
              <a:gd name="connsiteY2" fmla="*/ 0 h 2780568"/>
              <a:gd name="connsiteX3" fmla="*/ 2780568 w 2780568"/>
              <a:gd name="connsiteY3" fmla="*/ 0 h 2780568"/>
              <a:gd name="connsiteX4" fmla="*/ 2780568 w 2780568"/>
              <a:gd name="connsiteY4" fmla="*/ 2780568 h 2780568"/>
              <a:gd name="connsiteX5" fmla="*/ 0 w 2780568"/>
              <a:gd name="connsiteY5" fmla="*/ 2780568 h 2780568"/>
              <a:gd name="connsiteX6" fmla="*/ 0 w 2780568"/>
              <a:gd name="connsiteY6" fmla="*/ 1995084 h 2780568"/>
              <a:gd name="connsiteX7" fmla="*/ 113521 w 2780568"/>
              <a:gd name="connsiteY7" fmla="*/ 1995084 h 278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0568" h="2780568">
                <a:moveTo>
                  <a:pt x="113521" y="785484"/>
                </a:moveTo>
                <a:lnTo>
                  <a:pt x="0" y="785484"/>
                </a:lnTo>
                <a:lnTo>
                  <a:pt x="0" y="0"/>
                </a:lnTo>
                <a:lnTo>
                  <a:pt x="2780568" y="0"/>
                </a:lnTo>
                <a:lnTo>
                  <a:pt x="2780568" y="2780568"/>
                </a:lnTo>
                <a:lnTo>
                  <a:pt x="0" y="2780568"/>
                </a:lnTo>
                <a:lnTo>
                  <a:pt x="0" y="1995084"/>
                </a:lnTo>
                <a:lnTo>
                  <a:pt x="113521" y="1995084"/>
                </a:lnTo>
              </a:path>
            </a:pathLst>
          </a:custGeom>
          <a:noFill/>
          <a:ln w="9525">
            <a:solidFill>
              <a:schemeClr val="tx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6012" tIns="48006" rIns="96012" bIns="48006" rtlCol="0" anchor="ctr">
            <a:noAutofit/>
          </a:bodyPr>
          <a:lstStyle/>
          <a:p>
            <a:pPr algn="ctr"/>
            <a:endParaRPr lang="pl-PL" dirty="0"/>
          </a:p>
        </p:txBody>
      </p:sp>
    </p:spTree>
    <p:extLst>
      <p:ext uri="{BB962C8B-B14F-4D97-AF65-F5344CB8AC3E}">
        <p14:creationId xmlns:p14="http://schemas.microsoft.com/office/powerpoint/2010/main" val="16082277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Quote</a:t>
            </a:r>
            <a:endParaRPr lang="pl-PL" sz="12000" dirty="0">
              <a:solidFill>
                <a:schemeClr val="bg1"/>
              </a:solidFill>
            </a:endParaRPr>
          </a:p>
        </p:txBody>
      </p:sp>
    </p:spTree>
    <p:extLst>
      <p:ext uri="{BB962C8B-B14F-4D97-AF65-F5344CB8AC3E}">
        <p14:creationId xmlns:p14="http://schemas.microsoft.com/office/powerpoint/2010/main" val="13659235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Textplatzhalter 5">
            <a:extLst>
              <a:ext uri="{FF2B5EF4-FFF2-40B4-BE49-F238E27FC236}">
                <a16:creationId xmlns:a16="http://schemas.microsoft.com/office/drawing/2014/main" id="{2EEA5206-A69A-5F0D-E0AA-06479AE9D50F}"/>
              </a:ext>
            </a:extLst>
          </p:cNvPr>
          <p:cNvSpPr>
            <a:spLocks noGrp="1"/>
          </p:cNvSpPr>
          <p:nvPr>
            <p:ph type="body" sz="quarter" idx="13" hasCustomPrompt="1"/>
            <p:custDataLst>
              <p:tags r:id="rId2"/>
            </p:custDataLst>
          </p:nvPr>
        </p:nvSpPr>
        <p:spPr>
          <a:xfrm>
            <a:off x="2304000" y="1086263"/>
            <a:ext cx="81153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
        <p:nvSpPr>
          <p:cNvPr id="11" name="Datumsplatzhalter 10">
            <a:extLst>
              <a:ext uri="{FF2B5EF4-FFF2-40B4-BE49-F238E27FC236}">
                <a16:creationId xmlns:a16="http://schemas.microsoft.com/office/drawing/2014/main" id="{8EA5207E-B3B0-7E1D-BFD4-1642C7531B77}"/>
              </a:ext>
            </a:extLst>
          </p:cNvPr>
          <p:cNvSpPr>
            <a:spLocks noGrp="1"/>
          </p:cNvSpPr>
          <p:nvPr>
            <p:ph type="dt" sz="half" idx="10"/>
            <p:custDataLst>
              <p:tags r:id="rId3"/>
            </p:custDataLst>
          </p:nvPr>
        </p:nvSpPr>
        <p:spPr/>
        <p:txBody>
          <a:bodyPr/>
          <a:lstStyle/>
          <a:p>
            <a:r>
              <a:rPr lang="pl-PL"/>
              <a:t>06.11.2024</a:t>
            </a:r>
            <a:endParaRPr lang="pl-PL" dirty="0"/>
          </a:p>
        </p:txBody>
      </p:sp>
      <p:sp>
        <p:nvSpPr>
          <p:cNvPr id="13" name="Foliennummernplatzhalter 12">
            <a:extLst>
              <a:ext uri="{FF2B5EF4-FFF2-40B4-BE49-F238E27FC236}">
                <a16:creationId xmlns:a16="http://schemas.microsoft.com/office/drawing/2014/main" id="{1B3D9205-258A-F2CB-6F68-CFCDDB08812F}"/>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
        <p:nvSpPr>
          <p:cNvPr id="15" name="Rechteck 14">
            <a:extLst>
              <a:ext uri="{FF2B5EF4-FFF2-40B4-BE49-F238E27FC236}">
                <a16:creationId xmlns:a16="http://schemas.microsoft.com/office/drawing/2014/main" id="{C8DD7778-4024-771F-26B0-2C793A8BD789}"/>
              </a:ext>
            </a:extLst>
          </p:cNvPr>
          <p:cNvSpPr>
            <a:spLocks/>
          </p:cNvSpPr>
          <p:nvPr userDrawn="1">
            <p:custDataLst>
              <p:tags r:id="rId5"/>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 name="Fußzeilenplatzhalter 27">
            <a:extLst>
              <a:ext uri="{FF2B5EF4-FFF2-40B4-BE49-F238E27FC236}">
                <a16:creationId xmlns:a16="http://schemas.microsoft.com/office/drawing/2014/main" id="{F81C24CD-9B46-D3E6-EB2A-203250E74C47}"/>
              </a:ext>
            </a:extLst>
          </p:cNvPr>
          <p:cNvSpPr>
            <a:spLocks noGrp="1"/>
          </p:cNvSpPr>
          <p:nvPr>
            <p:ph type="ftr" sz="quarter" idx="14"/>
            <p:custDataLst>
              <p:tags r:id="rId6"/>
            </p:custDataLst>
          </p:nvPr>
        </p:nvSpPr>
        <p:spPr>
          <a:xfrm>
            <a:off x="1498061" y="6470705"/>
            <a:ext cx="9253577" cy="281691"/>
          </a:xfrm>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7367661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 imag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7962899"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Rechteck 2">
            <a:extLst>
              <a:ext uri="{FF2B5EF4-FFF2-40B4-BE49-F238E27FC236}">
                <a16:creationId xmlns:a16="http://schemas.microsoft.com/office/drawing/2014/main" id="{BD3FAF95-1C4A-BB78-593F-B2D718E67428}"/>
              </a:ext>
            </a:extLst>
          </p:cNvPr>
          <p:cNvSpPr>
            <a:spLocks/>
          </p:cNvSpPr>
          <p:nvPr userDrawn="1">
            <p:custDataLst>
              <p:tags r:id="rId3"/>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5" name="Textplatzhalter 5">
            <a:extLst>
              <a:ext uri="{FF2B5EF4-FFF2-40B4-BE49-F238E27FC236}">
                <a16:creationId xmlns:a16="http://schemas.microsoft.com/office/drawing/2014/main" id="{8F0E0997-2A34-B280-87BF-F98E06DCFC76}"/>
              </a:ext>
            </a:extLst>
          </p:cNvPr>
          <p:cNvSpPr>
            <a:spLocks noGrp="1"/>
          </p:cNvSpPr>
          <p:nvPr>
            <p:ph type="body" sz="quarter" idx="13" hasCustomPrompt="1"/>
            <p:custDataLst>
              <p:tags r:id="rId4"/>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9060499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540000"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Datumsplatzhalter 12">
            <a:extLst>
              <a:ext uri="{FF2B5EF4-FFF2-40B4-BE49-F238E27FC236}">
                <a16:creationId xmlns:a16="http://schemas.microsoft.com/office/drawing/2014/main" id="{413EC0D9-C10C-0E35-66CE-CBFF996189DA}"/>
              </a:ext>
            </a:extLst>
          </p:cNvPr>
          <p:cNvSpPr>
            <a:spLocks noGrp="1"/>
          </p:cNvSpPr>
          <p:nvPr>
            <p:ph type="dt" sz="half" idx="20"/>
            <p:custDataLst>
              <p:tags r:id="rId3"/>
            </p:custDataLst>
          </p:nvPr>
        </p:nvSpPr>
        <p:spPr/>
        <p:txBody>
          <a:bodyPr/>
          <a:lstStyle/>
          <a:p>
            <a:r>
              <a:rPr lang="pl-PL"/>
              <a:t>06.11.2024</a:t>
            </a:r>
            <a:endParaRPr lang="pl-PL" dirty="0"/>
          </a:p>
        </p:txBody>
      </p:sp>
      <p:sp>
        <p:nvSpPr>
          <p:cNvPr id="15" name="Foliennummernplatzhalter 14">
            <a:extLst>
              <a:ext uri="{FF2B5EF4-FFF2-40B4-BE49-F238E27FC236}">
                <a16:creationId xmlns:a16="http://schemas.microsoft.com/office/drawing/2014/main" id="{CEB54746-541F-BA5A-9731-E1F4E686E548}"/>
              </a:ext>
            </a:extLst>
          </p:cNvPr>
          <p:cNvSpPr>
            <a:spLocks noGrp="1"/>
          </p:cNvSpPr>
          <p:nvPr>
            <p:ph type="sldNum" sz="quarter" idx="22"/>
            <p:custDataLst>
              <p:tags r:id="rId4"/>
            </p:custDataLst>
          </p:nvPr>
        </p:nvSpPr>
        <p:spPr/>
        <p:txBody>
          <a:bodyPr/>
          <a:lstStyle/>
          <a:p>
            <a:fld id="{92DB0D90-6264-4E90-9724-ABC670DBF4FB}" type="slidenum">
              <a:rPr lang="pl-PL" smtClean="0"/>
              <a:pPr/>
              <a:t>‹#›</a:t>
            </a:fld>
            <a:endParaRPr lang="pl-PL" dirty="0"/>
          </a:p>
        </p:txBody>
      </p:sp>
      <p:sp>
        <p:nvSpPr>
          <p:cNvPr id="3" name="Textplatzhalter 5">
            <a:extLst>
              <a:ext uri="{FF2B5EF4-FFF2-40B4-BE49-F238E27FC236}">
                <a16:creationId xmlns:a16="http://schemas.microsoft.com/office/drawing/2014/main" id="{AB9D0DDE-6354-B1E6-55F5-C832BD92E0C8}"/>
              </a:ext>
            </a:extLst>
          </p:cNvPr>
          <p:cNvSpPr>
            <a:spLocks noGrp="1"/>
          </p:cNvSpPr>
          <p:nvPr>
            <p:ph type="body" sz="quarter" idx="13" hasCustomPrompt="1"/>
            <p:custDataLst>
              <p:tags r:id="rId5"/>
            </p:custDataLst>
          </p:nvPr>
        </p:nvSpPr>
        <p:spPr>
          <a:xfrm>
            <a:off x="5489101" y="1086263"/>
            <a:ext cx="6334599"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26932057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 X-imag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8B588A94-756A-3088-6075-D3C321991BBE}"/>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57046E4B-4228-D690-36DF-C4B34519AE63}"/>
              </a:ext>
            </a:extLst>
          </p:cNvPr>
          <p:cNvSpPr>
            <a:spLocks noGrp="1"/>
          </p:cNvSpPr>
          <p:nvPr>
            <p:ph type="pic" sz="quarter" idx="11" hasCustomPrompt="1"/>
            <p:custDataLst>
              <p:tags r:id="rId2"/>
            </p:custDataLst>
          </p:nvPr>
        </p:nvSpPr>
        <p:spPr>
          <a:xfrm>
            <a:off x="5357336" y="0"/>
            <a:ext cx="6834663" cy="6858000"/>
          </a:xfrm>
          <a:custGeom>
            <a:avLst/>
            <a:gdLst>
              <a:gd name="connsiteX0" fmla="*/ 0 w 6834663"/>
              <a:gd name="connsiteY0" fmla="*/ 0 h 6858000"/>
              <a:gd name="connsiteX1" fmla="*/ 6231840 w 6834663"/>
              <a:gd name="connsiteY1" fmla="*/ 0 h 6858000"/>
              <a:gd name="connsiteX2" fmla="*/ 6495154 w 6834663"/>
              <a:gd name="connsiteY2" fmla="*/ 342774 h 6858000"/>
              <a:gd name="connsiteX3" fmla="*/ 6831905 w 6834663"/>
              <a:gd name="connsiteY3" fmla="*/ 781149 h 6858000"/>
              <a:gd name="connsiteX4" fmla="*/ 6834663 w 6834663"/>
              <a:gd name="connsiteY4" fmla="*/ 777561 h 6858000"/>
              <a:gd name="connsiteX5" fmla="*/ 6834663 w 6834663"/>
              <a:gd name="connsiteY5" fmla="*/ 6858000 h 6858000"/>
              <a:gd name="connsiteX6" fmla="*/ 2167761 w 6834663"/>
              <a:gd name="connsiteY6" fmla="*/ 6858000 h 6858000"/>
              <a:gd name="connsiteX7" fmla="*/ 2200974 w 6834663"/>
              <a:gd name="connsiteY7" fmla="*/ 6814710 h 6858000"/>
              <a:gd name="connsiteX8" fmla="*/ 3714693 w 6834663"/>
              <a:gd name="connsiteY8" fmla="*/ 4842285 h 6858000"/>
              <a:gd name="connsiteX9" fmla="*/ 190454 w 6834663"/>
              <a:gd name="connsiteY9" fmla="*/ 2483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34663" h="6858000">
                <a:moveTo>
                  <a:pt x="0" y="0"/>
                </a:moveTo>
                <a:lnTo>
                  <a:pt x="6231840" y="0"/>
                </a:lnTo>
                <a:lnTo>
                  <a:pt x="6495154" y="342774"/>
                </a:lnTo>
                <a:cubicBezTo>
                  <a:pt x="6605652" y="486619"/>
                  <a:pt x="6717977" y="632841"/>
                  <a:pt x="6831905" y="781149"/>
                </a:cubicBezTo>
                <a:lnTo>
                  <a:pt x="6834663" y="777561"/>
                </a:lnTo>
                <a:lnTo>
                  <a:pt x="6834663" y="6858000"/>
                </a:lnTo>
                <a:lnTo>
                  <a:pt x="2167761" y="6858000"/>
                </a:lnTo>
                <a:lnTo>
                  <a:pt x="2200974" y="6814710"/>
                </a:lnTo>
                <a:cubicBezTo>
                  <a:pt x="2690215" y="6177074"/>
                  <a:pt x="3199977" y="5512826"/>
                  <a:pt x="3714693" y="4842285"/>
                </a:cubicBezTo>
                <a:cubicBezTo>
                  <a:pt x="2427903" y="3165003"/>
                  <a:pt x="1172074" y="1528325"/>
                  <a:pt x="190454" y="248352"/>
                </a:cubicBezTo>
                <a:close/>
              </a:path>
            </a:pathLst>
          </a:custGeom>
          <a:solidFill>
            <a:schemeClr val="bg2"/>
          </a:solidFill>
        </p:spPr>
        <p:txBody>
          <a:bodyPr wrap="square" tIns="2520000">
            <a:noAutofit/>
          </a:bodyPr>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Textplatzhalter 9">
            <a:extLst>
              <a:ext uri="{FF2B5EF4-FFF2-40B4-BE49-F238E27FC236}">
                <a16:creationId xmlns:a16="http://schemas.microsoft.com/office/drawing/2014/main" id="{4ED4B32C-9E87-7E45-DF8A-2AC697DFFF97}"/>
              </a:ext>
            </a:extLst>
          </p:cNvPr>
          <p:cNvSpPr>
            <a:spLocks noGrp="1"/>
          </p:cNvSpPr>
          <p:nvPr>
            <p:ph type="body" sz="quarter" idx="15"/>
            <p:custDataLst>
              <p:tags r:id="rId3"/>
            </p:custDataLst>
          </p:nvPr>
        </p:nvSpPr>
        <p:spPr>
          <a:xfrm>
            <a:off x="7528861" y="783314"/>
            <a:ext cx="4663138" cy="6074687"/>
          </a:xfrm>
          <a:custGeom>
            <a:avLst/>
            <a:gdLst>
              <a:gd name="connsiteX0" fmla="*/ 4663138 w 4663138"/>
              <a:gd name="connsiteY0" fmla="*/ 0 h 6074687"/>
              <a:gd name="connsiteX1" fmla="*/ 4663138 w 4663138"/>
              <a:gd name="connsiteY1" fmla="*/ 6074687 h 6074687"/>
              <a:gd name="connsiteX2" fmla="*/ 0 w 4663138"/>
              <a:gd name="connsiteY2" fmla="*/ 6074687 h 6074687"/>
              <a:gd name="connsiteX3" fmla="*/ 403363 w 4663138"/>
              <a:gd name="connsiteY3" fmla="*/ 5549148 h 6074687"/>
              <a:gd name="connsiteX4" fmla="*/ 4209826 w 4663138"/>
              <a:gd name="connsiteY4" fmla="*/ 590438 h 607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3138" h="6074687">
                <a:moveTo>
                  <a:pt x="4663138" y="0"/>
                </a:moveTo>
                <a:lnTo>
                  <a:pt x="4663138" y="6074687"/>
                </a:lnTo>
                <a:lnTo>
                  <a:pt x="0" y="6074687"/>
                </a:lnTo>
                <a:lnTo>
                  <a:pt x="403363" y="5549148"/>
                </a:lnTo>
                <a:cubicBezTo>
                  <a:pt x="1649367" y="3925768"/>
                  <a:pt x="2999193" y="2167324"/>
                  <a:pt x="4209826" y="590438"/>
                </a:cubicBezTo>
                <a:close/>
              </a:path>
            </a:pathLst>
          </a:custGeom>
          <a:solidFill>
            <a:schemeClr val="tx2">
              <a:alpha val="50000"/>
            </a:schemeClr>
          </a:solidFill>
        </p:spPr>
        <p:txBody>
          <a:bodyPr vert="horz" wrap="square" lIns="0" tIns="0" rIns="0" bIns="0" rtlCol="0">
            <a:noAutofit/>
          </a:bodyPr>
          <a:lstStyle>
            <a:lvl1pPr>
              <a:defRPr lang="es-CL" dirty="0"/>
            </a:lvl1pPr>
          </a:lstStyle>
          <a:p>
            <a:pPr lvl="0"/>
            <a:r>
              <a:rPr lang="en-US"/>
              <a:t>Edit Master text styles</a:t>
            </a:r>
          </a:p>
        </p:txBody>
      </p:sp>
      <p:sp>
        <p:nvSpPr>
          <p:cNvPr id="5" name="Rechteck 4">
            <a:extLst>
              <a:ext uri="{FF2B5EF4-FFF2-40B4-BE49-F238E27FC236}">
                <a16:creationId xmlns:a16="http://schemas.microsoft.com/office/drawing/2014/main" id="{58F51B76-DBCC-B228-FB04-AB0F148BBE4D}"/>
              </a:ext>
            </a:extLst>
          </p:cNvPr>
          <p:cNvSpPr>
            <a:spLocks/>
          </p:cNvSpPr>
          <p:nvPr userDrawn="1">
            <p:custDataLst>
              <p:tags r:id="rId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8" name="Textplatzhalter 5">
            <a:extLst>
              <a:ext uri="{FF2B5EF4-FFF2-40B4-BE49-F238E27FC236}">
                <a16:creationId xmlns:a16="http://schemas.microsoft.com/office/drawing/2014/main" id="{1C56628C-AFA9-69E6-B4BE-FF4AEDAD8A8C}"/>
              </a:ext>
            </a:extLst>
          </p:cNvPr>
          <p:cNvSpPr>
            <a:spLocks noGrp="1"/>
          </p:cNvSpPr>
          <p:nvPr>
            <p:ph type="body" sz="quarter" idx="14" hasCustomPrompt="1"/>
            <p:custDataLst>
              <p:tags r:id="rId5"/>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normalizeH="0"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1381982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 Char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Thank you</a:t>
            </a:r>
          </a:p>
          <a:p>
            <a:pPr algn="ctr"/>
            <a:r>
              <a:rPr lang="pl-PL" sz="12000">
                <a:solidFill>
                  <a:schemeClr val="bg1"/>
                </a:solidFill>
              </a:rPr>
              <a:t>Welcome</a:t>
            </a:r>
            <a:endParaRPr lang="pl-PL" sz="12000" dirty="0">
              <a:solidFill>
                <a:schemeClr val="bg1"/>
              </a:solidFill>
            </a:endParaRPr>
          </a:p>
        </p:txBody>
      </p:sp>
    </p:spTree>
    <p:extLst>
      <p:ext uri="{BB962C8B-B14F-4D97-AF65-F5344CB8AC3E}">
        <p14:creationId xmlns:p14="http://schemas.microsoft.com/office/powerpoint/2010/main" val="38829632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3">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B538DFD6-CB5C-6822-2E93-F67F315A9D3D}"/>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Thank you</a:t>
            </a:r>
            <a:endParaRPr lang="pl-PL" sz="10000" dirty="0"/>
          </a:p>
        </p:txBody>
      </p:sp>
    </p:spTree>
    <p:extLst>
      <p:ext uri="{BB962C8B-B14F-4D97-AF65-F5344CB8AC3E}">
        <p14:creationId xmlns:p14="http://schemas.microsoft.com/office/powerpoint/2010/main" val="24023085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999676" y="1874099"/>
            <a:ext cx="0" cy="691694"/>
          </a:xfrm>
          <a:prstGeom prst="rect">
            <a:avLst/>
          </a:prstGeom>
          <a:ln w="12700">
            <a:solidFill>
              <a:schemeClr val="tx1"/>
            </a:solidFill>
          </a:ln>
        </p:spPr>
        <p:txBody>
          <a:bodyPr wrap="none" lIns="0" tIns="0" rIns="0" bIns="25200" anchor="ctr">
            <a:noAutofit/>
          </a:bodyPr>
          <a:lstStyle>
            <a:lvl1pPr marL="0" indent="0" algn="r">
              <a:lnSpc>
                <a:spcPct val="100000"/>
              </a:lnSpc>
              <a:spcBef>
                <a:spcPts val="0"/>
              </a:spcBef>
              <a:buFont typeface="Arial" panose="020B0604020202020204" pitchFamily="34" charset="0"/>
              <a:buNone/>
              <a:defRPr sz="75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12" name="Textplatzhalter 11">
            <a:extLst>
              <a:ext uri="{FF2B5EF4-FFF2-40B4-BE49-F238E27FC236}">
                <a16:creationId xmlns:a16="http://schemas.microsoft.com/office/drawing/2014/main" id="{8C488003-CE45-2EAA-62F7-703B990983A1}"/>
              </a:ext>
            </a:extLst>
          </p:cNvPr>
          <p:cNvSpPr>
            <a:spLocks noGrp="1"/>
          </p:cNvSpPr>
          <p:nvPr>
            <p:ph type="body" sz="quarter" idx="15" hasCustomPrompt="1"/>
            <p:custDataLst>
              <p:tags r:id="rId3"/>
            </p:custDataLst>
          </p:nvPr>
        </p:nvSpPr>
        <p:spPr>
          <a:xfrm>
            <a:off x="7640780" y="1874099"/>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6" name="Textplatzhalter 15">
            <a:extLst>
              <a:ext uri="{FF2B5EF4-FFF2-40B4-BE49-F238E27FC236}">
                <a16:creationId xmlns:a16="http://schemas.microsoft.com/office/drawing/2014/main" id="{7DC518CE-B095-B87F-549B-801A366F15AA}"/>
              </a:ext>
            </a:extLst>
          </p:cNvPr>
          <p:cNvSpPr>
            <a:spLocks noGrp="1"/>
          </p:cNvSpPr>
          <p:nvPr>
            <p:ph type="body" sz="quarter" idx="19" hasCustomPrompt="1"/>
            <p:custDataLst>
              <p:tags r:id="rId4"/>
            </p:custDataLst>
          </p:nvPr>
        </p:nvSpPr>
        <p:spPr>
          <a:xfrm>
            <a:off x="1999676"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8" name="Textplatzhalter 17">
            <a:extLst>
              <a:ext uri="{FF2B5EF4-FFF2-40B4-BE49-F238E27FC236}">
                <a16:creationId xmlns:a16="http://schemas.microsoft.com/office/drawing/2014/main" id="{D695D963-BBAB-B8F7-2748-9853FFC81699}"/>
              </a:ext>
            </a:extLst>
          </p:cNvPr>
          <p:cNvSpPr>
            <a:spLocks noGrp="1"/>
          </p:cNvSpPr>
          <p:nvPr>
            <p:ph type="body" sz="quarter" idx="21" hasCustomPrompt="1"/>
            <p:custDataLst>
              <p:tags r:id="rId5"/>
            </p:custDataLst>
          </p:nvPr>
        </p:nvSpPr>
        <p:spPr>
          <a:xfrm>
            <a:off x="7640780"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5</a:t>
            </a:r>
            <a:endParaRPr lang="pl-PL" dirty="0"/>
          </a:p>
        </p:txBody>
      </p:sp>
      <p:sp>
        <p:nvSpPr>
          <p:cNvPr id="22" name="Textplatzhalter 21">
            <a:extLst>
              <a:ext uri="{FF2B5EF4-FFF2-40B4-BE49-F238E27FC236}">
                <a16:creationId xmlns:a16="http://schemas.microsoft.com/office/drawing/2014/main" id="{DE8125E5-DF43-EDF6-850D-48A75028AD08}"/>
              </a:ext>
            </a:extLst>
          </p:cNvPr>
          <p:cNvSpPr>
            <a:spLocks noGrp="1"/>
          </p:cNvSpPr>
          <p:nvPr>
            <p:ph type="body" sz="quarter" idx="25" hasCustomPrompt="1"/>
            <p:custDataLst>
              <p:tags r:id="rId6"/>
            </p:custDataLst>
          </p:nvPr>
        </p:nvSpPr>
        <p:spPr>
          <a:xfrm>
            <a:off x="1999676" y="5115831"/>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24" name="Textplatzhalter 23">
            <a:extLst>
              <a:ext uri="{FF2B5EF4-FFF2-40B4-BE49-F238E27FC236}">
                <a16:creationId xmlns:a16="http://schemas.microsoft.com/office/drawing/2014/main" id="{F53124D2-8D37-CBBB-5F9C-6ADCD612BC02}"/>
              </a:ext>
            </a:extLst>
          </p:cNvPr>
          <p:cNvSpPr>
            <a:spLocks noGrp="1"/>
          </p:cNvSpPr>
          <p:nvPr>
            <p:ph type="body" sz="quarter" idx="27" hasCustomPrompt="1"/>
            <p:custDataLst>
              <p:tags r:id="rId7"/>
            </p:custDataLst>
          </p:nvPr>
        </p:nvSpPr>
        <p:spPr>
          <a:xfrm>
            <a:off x="7640780" y="5115830"/>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6</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8"/>
            </p:custDataLst>
          </p:nvPr>
        </p:nvSpPr>
        <p:spPr>
          <a:xfrm>
            <a:off x="1999675"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7" name="Textplatzhalter 6">
            <a:extLst>
              <a:ext uri="{FF2B5EF4-FFF2-40B4-BE49-F238E27FC236}">
                <a16:creationId xmlns:a16="http://schemas.microsoft.com/office/drawing/2014/main" id="{30357EFF-90CA-E1D7-BA33-48A9A566F2F2}"/>
              </a:ext>
            </a:extLst>
          </p:cNvPr>
          <p:cNvSpPr>
            <a:spLocks noGrp="1"/>
          </p:cNvSpPr>
          <p:nvPr>
            <p:ph type="body" sz="quarter" idx="34" hasCustomPrompt="1"/>
            <p:custDataLst>
              <p:tags r:id="rId9"/>
            </p:custDataLst>
          </p:nvPr>
        </p:nvSpPr>
        <p:spPr>
          <a:xfrm>
            <a:off x="1999676"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9" name="Textplatzhalter 6">
            <a:extLst>
              <a:ext uri="{FF2B5EF4-FFF2-40B4-BE49-F238E27FC236}">
                <a16:creationId xmlns:a16="http://schemas.microsoft.com/office/drawing/2014/main" id="{B8495873-12FA-19EE-6EF0-60CD546FEF81}"/>
              </a:ext>
            </a:extLst>
          </p:cNvPr>
          <p:cNvSpPr>
            <a:spLocks noGrp="1"/>
          </p:cNvSpPr>
          <p:nvPr>
            <p:ph type="body" sz="quarter" idx="35" hasCustomPrompt="1"/>
            <p:custDataLst>
              <p:tags r:id="rId10"/>
            </p:custDataLst>
          </p:nvPr>
        </p:nvSpPr>
        <p:spPr>
          <a:xfrm>
            <a:off x="1999676"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10" name="Textplatzhalter 6">
            <a:extLst>
              <a:ext uri="{FF2B5EF4-FFF2-40B4-BE49-F238E27FC236}">
                <a16:creationId xmlns:a16="http://schemas.microsoft.com/office/drawing/2014/main" id="{89B84C54-B00C-472C-AD94-5A5952ADC9B6}"/>
              </a:ext>
            </a:extLst>
          </p:cNvPr>
          <p:cNvSpPr>
            <a:spLocks noGrp="1"/>
          </p:cNvSpPr>
          <p:nvPr>
            <p:ph type="body" sz="quarter" idx="36" hasCustomPrompt="1"/>
            <p:custDataLst>
              <p:tags r:id="rId11"/>
            </p:custDataLst>
          </p:nvPr>
        </p:nvSpPr>
        <p:spPr>
          <a:xfrm>
            <a:off x="7640780"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28" name="Textplatzhalter 6">
            <a:extLst>
              <a:ext uri="{FF2B5EF4-FFF2-40B4-BE49-F238E27FC236}">
                <a16:creationId xmlns:a16="http://schemas.microsoft.com/office/drawing/2014/main" id="{FF47FC94-EA60-66FB-5BA2-3D2C15C95158}"/>
              </a:ext>
            </a:extLst>
          </p:cNvPr>
          <p:cNvSpPr>
            <a:spLocks noGrp="1"/>
          </p:cNvSpPr>
          <p:nvPr>
            <p:ph type="body" sz="quarter" idx="37" hasCustomPrompt="1"/>
            <p:custDataLst>
              <p:tags r:id="rId12"/>
            </p:custDataLst>
          </p:nvPr>
        </p:nvSpPr>
        <p:spPr>
          <a:xfrm>
            <a:off x="7640780"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1" name="Textplatzhalter 6">
            <a:extLst>
              <a:ext uri="{FF2B5EF4-FFF2-40B4-BE49-F238E27FC236}">
                <a16:creationId xmlns:a16="http://schemas.microsoft.com/office/drawing/2014/main" id="{BF567C26-0943-FEEA-4B91-4C8BE0C70A25}"/>
              </a:ext>
            </a:extLst>
          </p:cNvPr>
          <p:cNvSpPr>
            <a:spLocks noGrp="1"/>
          </p:cNvSpPr>
          <p:nvPr>
            <p:ph type="body" sz="quarter" idx="38" hasCustomPrompt="1"/>
            <p:custDataLst>
              <p:tags r:id="rId13"/>
            </p:custDataLst>
          </p:nvPr>
        </p:nvSpPr>
        <p:spPr>
          <a:xfrm>
            <a:off x="7640780"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14"/>
            </p:custDataLst>
          </p:nvPr>
        </p:nvSpPr>
        <p:spPr/>
        <p:txBody>
          <a:bodyPr/>
          <a:lstStyle/>
          <a:p>
            <a:r>
              <a:rPr lang="pl-PL"/>
              <a:t>06.11.2024</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15"/>
            </p:custDataLst>
          </p:nvPr>
        </p:nvSpPr>
        <p:spPr/>
        <p:txBody>
          <a:bodyPr/>
          <a:lstStyle/>
          <a:p>
            <a:r>
              <a:rPr lang="pl-PL"/>
              <a:t>Najważniejsze informacje o dawstwie szpiku | C1- Public | #KOMÓRKOMANI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1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696178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Wellcom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CE3285B1-E7E6-3C0A-E13F-B5565B2F1E84}"/>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Welcome</a:t>
            </a:r>
            <a:endParaRPr lang="pl-PL" sz="10000" dirty="0"/>
          </a:p>
        </p:txBody>
      </p:sp>
    </p:spTree>
    <p:extLst>
      <p:ext uri="{BB962C8B-B14F-4D97-AF65-F5344CB8AC3E}">
        <p14:creationId xmlns:p14="http://schemas.microsoft.com/office/powerpoint/2010/main" val="1179962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of Slide master">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End of Slide master</a:t>
            </a:r>
            <a:endParaRPr lang="pl-PL" sz="12000" dirty="0">
              <a:solidFill>
                <a:schemeClr val="bg1"/>
              </a:solidFill>
            </a:endParaRPr>
          </a:p>
        </p:txBody>
      </p:sp>
    </p:spTree>
    <p:extLst>
      <p:ext uri="{BB962C8B-B14F-4D97-AF65-F5344CB8AC3E}">
        <p14:creationId xmlns:p14="http://schemas.microsoft.com/office/powerpoint/2010/main" val="21274891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87FD18D-8996-69AD-CF39-1C7BB1707FE1}"/>
              </a:ext>
            </a:extLst>
          </p:cNvPr>
          <p:cNvSpPr/>
          <p:nvPr userDrawn="1">
            <p:custDataLst>
              <p:tags r:id="rId1"/>
            </p:custDataLst>
          </p:nvPr>
        </p:nvSpPr>
        <p:spPr>
          <a:xfrm>
            <a:off x="529262"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pic>
        <p:nvPicPr>
          <p:cNvPr id="13" name="Grafik 12">
            <a:extLst>
              <a:ext uri="{FF2B5EF4-FFF2-40B4-BE49-F238E27FC236}">
                <a16:creationId xmlns:a16="http://schemas.microsoft.com/office/drawing/2014/main" id="{D52FA78E-E528-4CE1-A9D1-29B68C4123A7}"/>
              </a:ext>
            </a:extLst>
          </p:cNvPr>
          <p:cNvPicPr>
            <a:picLocks noChangeAspect="1"/>
          </p:cNvPicPr>
          <p:nvPr userDrawn="1"/>
        </p:nvPicPr>
        <p:blipFill>
          <a:blip r:embed="rId5"/>
          <a:stretch>
            <a:fillRect/>
          </a:stretch>
        </p:blipFill>
        <p:spPr>
          <a:xfrm>
            <a:off x="896340" y="448674"/>
            <a:ext cx="2460376" cy="727764"/>
          </a:xfrm>
          <a:prstGeom prst="rect">
            <a:avLst/>
          </a:prstGeom>
        </p:spPr>
      </p:pic>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Text Placeholder 12">
            <a:extLst>
              <a:ext uri="{FF2B5EF4-FFF2-40B4-BE49-F238E27FC236}">
                <a16:creationId xmlns:a16="http://schemas.microsoft.com/office/drawing/2014/main" id="{388FDC1D-98C3-A793-A32D-1FBEBA6D4069}"/>
              </a:ext>
            </a:extLst>
          </p:cNvPr>
          <p:cNvSpPr>
            <a:spLocks noGrp="1"/>
          </p:cNvSpPr>
          <p:nvPr>
            <p:ph type="body" sz="quarter" idx="10" hasCustomPrompt="1"/>
            <p:custDataLst>
              <p:tags r:id="rId3"/>
            </p:custDataLst>
          </p:nvPr>
        </p:nvSpPr>
        <p:spPr>
          <a:xfrm>
            <a:off x="900000" y="3599246"/>
            <a:ext cx="3798107" cy="2534854"/>
          </a:xfrm>
        </p:spPr>
        <p:txBody>
          <a:bodyPr anchor="t">
            <a:noAutofit/>
          </a:bodyPr>
          <a:lstStyle>
            <a:lvl1pPr algn="l">
              <a:lnSpc>
                <a:spcPct val="100000"/>
              </a:lnSpc>
              <a:spcAft>
                <a:spcPts val="300"/>
              </a:spcAft>
              <a:defRPr sz="1200" b="0">
                <a:solidFill>
                  <a:schemeClr val="tx1"/>
                </a:solidFill>
              </a:defRPr>
            </a:lvl1pPr>
            <a:lvl2pPr marL="0" indent="0">
              <a:lnSpc>
                <a:spcPct val="100000"/>
              </a:lnSpc>
              <a:spcAft>
                <a:spcPts val="300"/>
              </a:spcAft>
              <a:buFont typeface="Arial" panose="020B0604020202020204" pitchFamily="34" charset="0"/>
              <a:buNone/>
              <a:defRPr sz="1200" b="0">
                <a:solidFill>
                  <a:schemeClr val="tx1"/>
                </a:solidFill>
              </a:defRPr>
            </a:lvl2pPr>
            <a:lvl3pPr marL="0" indent="0">
              <a:lnSpc>
                <a:spcPct val="100000"/>
              </a:lnSpc>
              <a:buNone/>
              <a:defRPr sz="1200" b="0">
                <a:solidFill>
                  <a:schemeClr val="tx1"/>
                </a:solidFill>
              </a:defRPr>
            </a:lvl3pPr>
            <a:lvl4pPr marL="0" indent="0">
              <a:lnSpc>
                <a:spcPct val="100000"/>
              </a:lnSpc>
              <a:buNone/>
              <a:defRPr sz="1200" b="0">
                <a:solidFill>
                  <a:schemeClr val="tx1"/>
                </a:solidFill>
              </a:defRPr>
            </a:lvl4pPr>
            <a:lvl5pPr>
              <a:lnSpc>
                <a:spcPct val="100000"/>
              </a:lnSpc>
              <a:defRPr sz="1200" b="0">
                <a:solidFill>
                  <a:schemeClr val="tx1"/>
                </a:solidFill>
              </a:defRPr>
            </a:lvl5pPr>
            <a:lvl6pPr>
              <a:lnSpc>
                <a:spcPct val="100000"/>
              </a:lnSpc>
              <a:defRPr sz="1200" b="0">
                <a:solidFill>
                  <a:schemeClr val="tx1"/>
                </a:solidFill>
              </a:defRPr>
            </a:lvl6pPr>
            <a:lvl7pPr marL="0" indent="0">
              <a:lnSpc>
                <a:spcPct val="100000"/>
              </a:lnSpc>
              <a:buNone/>
              <a:defRPr sz="1200" b="0">
                <a:solidFill>
                  <a:schemeClr val="tx1"/>
                </a:solidFill>
              </a:defRPr>
            </a:lvl7pPr>
            <a:lvl8pPr marL="0" indent="0">
              <a:lnSpc>
                <a:spcPct val="100000"/>
              </a:lnSpc>
              <a:buNone/>
              <a:defRPr sz="1200" b="0">
                <a:solidFill>
                  <a:schemeClr val="tx1"/>
                </a:solidFill>
              </a:defRPr>
            </a:lvl8pPr>
            <a:lvl9pPr>
              <a:lnSpc>
                <a:spcPct val="100000"/>
              </a:lnSpc>
              <a:defRPr sz="1200" b="0">
                <a:solidFill>
                  <a:schemeClr val="tx1"/>
                </a:solidFill>
              </a:defRPr>
            </a:lvl9pPr>
          </a:lstStyle>
          <a:p>
            <a:r>
              <a:rPr lang="pl-PL" dirty="0"/>
              <a:t>Funda</a:t>
            </a:r>
            <a:r>
              <a:rPr lang="de-DE" dirty="0" err="1"/>
              <a:t>cja</a:t>
            </a:r>
            <a:r>
              <a:rPr lang="pl-PL" dirty="0"/>
              <a:t> </a:t>
            </a:r>
            <a:r>
              <a:rPr lang="pl-PL" b="1" dirty="0">
                <a:solidFill>
                  <a:schemeClr val="accent1"/>
                </a:solidFill>
              </a:rPr>
              <a:t>DKMS</a:t>
            </a:r>
            <a:endParaRPr lang="pl-PL" dirty="0"/>
          </a:p>
          <a:p>
            <a:r>
              <a:rPr lang="pl-PL" dirty="0"/>
              <a:t>ul. Altowa 6/9</a:t>
            </a:r>
          </a:p>
          <a:p>
            <a:r>
              <a:rPr lang="pl-PL" dirty="0"/>
              <a:t>02-386 Warszawa</a:t>
            </a:r>
          </a:p>
          <a:p>
            <a:r>
              <a:rPr lang="pl-PL" dirty="0"/>
              <a:t>Polska</a:t>
            </a:r>
          </a:p>
          <a:p>
            <a:r>
              <a:rPr lang="pl-PL" dirty="0"/>
              <a:t>T +48 22 882 94 00 </a:t>
            </a:r>
            <a:br>
              <a:rPr lang="pl-PL" dirty="0"/>
            </a:br>
            <a:r>
              <a:rPr lang="pl-PL" dirty="0"/>
              <a:t>F +48 22 882 94 02 </a:t>
            </a:r>
          </a:p>
          <a:p>
            <a:r>
              <a:rPr lang="de-DE" dirty="0"/>
              <a:t>kontakt</a:t>
            </a:r>
            <a:r>
              <a:rPr lang="pl-PL" dirty="0"/>
              <a:t>@dkms.pl</a:t>
            </a:r>
            <a:endParaRPr lang="de-DE" dirty="0"/>
          </a:p>
          <a:p>
            <a:pPr lvl="1"/>
            <a:endParaRPr lang="pl-PL" dirty="0"/>
          </a:p>
          <a:p>
            <a:pPr lvl="1"/>
            <a:r>
              <a:rPr lang="pl-PL" dirty="0" err="1"/>
              <a:t>dkms</a:t>
            </a:r>
            <a:r>
              <a:rPr lang="pl-PL" dirty="0"/>
              <a:t>.</a:t>
            </a:r>
            <a:r>
              <a:rPr lang="de-DE" dirty="0"/>
              <a:t>p</a:t>
            </a:r>
            <a:r>
              <a:rPr lang="pl-PL" dirty="0"/>
              <a:t>l</a:t>
            </a:r>
          </a:p>
          <a:p>
            <a:pPr lvl="1"/>
            <a:br>
              <a:rPr lang="pl-PL" dirty="0"/>
            </a:br>
            <a:r>
              <a:rPr lang="pl-PL" dirty="0"/>
              <a:t>© DKMS 2023</a:t>
            </a:r>
          </a:p>
        </p:txBody>
      </p:sp>
    </p:spTree>
    <p:extLst>
      <p:ext uri="{BB962C8B-B14F-4D97-AF65-F5344CB8AC3E}">
        <p14:creationId xmlns:p14="http://schemas.microsoft.com/office/powerpoint/2010/main" val="3658428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a:xfrm>
            <a:off x="962024" y="684000"/>
            <a:ext cx="9820275" cy="758396"/>
          </a:xfrm>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651441" y="1830699"/>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3"/>
            </p:custDataLst>
          </p:nvPr>
        </p:nvSpPr>
        <p:spPr>
          <a:xfrm>
            <a:off x="1651441" y="1704699"/>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4"/>
            </p:custDataLst>
          </p:nvPr>
        </p:nvSpPr>
        <p:spPr/>
        <p:txBody>
          <a:bodyPr/>
          <a:lstStyle/>
          <a:p>
            <a:r>
              <a:rPr lang="pl-PL"/>
              <a:t>06.11.2024</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5"/>
            </p:custDataLst>
          </p:nvPr>
        </p:nvSpPr>
        <p:spPr/>
        <p:txBody>
          <a:bodyPr/>
          <a:lstStyle/>
          <a:p>
            <a:r>
              <a:rPr lang="pl-PL"/>
              <a:t>Najważniejsze informacje o dawstwie szpiku | C1- Public | #KOMÓRKOMANI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6"/>
            </p:custDataLst>
          </p:nvPr>
        </p:nvSpPr>
        <p:spPr/>
        <p:txBody>
          <a:bodyPr/>
          <a:lstStyle/>
          <a:p>
            <a:fld id="{92DB0D90-6264-4E90-9724-ABC670DBF4FB}" type="slidenum">
              <a:rPr lang="pl-PL" smtClean="0"/>
              <a:pPr/>
              <a:t>‹#›</a:t>
            </a:fld>
            <a:endParaRPr lang="pl-PL" dirty="0"/>
          </a:p>
        </p:txBody>
      </p:sp>
      <p:sp>
        <p:nvSpPr>
          <p:cNvPr id="6" name="Textplatzhalter 10">
            <a:extLst>
              <a:ext uri="{FF2B5EF4-FFF2-40B4-BE49-F238E27FC236}">
                <a16:creationId xmlns:a16="http://schemas.microsoft.com/office/drawing/2014/main" id="{5397AEE5-D688-CFFA-C9CA-65B42041E5F3}"/>
              </a:ext>
            </a:extLst>
          </p:cNvPr>
          <p:cNvSpPr>
            <a:spLocks noGrp="1"/>
          </p:cNvSpPr>
          <p:nvPr>
            <p:ph type="body" sz="quarter" idx="45" hasCustomPrompt="1"/>
            <p:custDataLst>
              <p:tags r:id="rId7"/>
            </p:custDataLst>
          </p:nvPr>
        </p:nvSpPr>
        <p:spPr>
          <a:xfrm>
            <a:off x="1651441" y="2816968"/>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0" name="Textplatzhalter 6">
            <a:extLst>
              <a:ext uri="{FF2B5EF4-FFF2-40B4-BE49-F238E27FC236}">
                <a16:creationId xmlns:a16="http://schemas.microsoft.com/office/drawing/2014/main" id="{014F6DB2-08EC-1B27-A868-912C245B3D57}"/>
              </a:ext>
            </a:extLst>
          </p:cNvPr>
          <p:cNvSpPr>
            <a:spLocks noGrp="1"/>
          </p:cNvSpPr>
          <p:nvPr>
            <p:ph type="body" sz="quarter" idx="46" hasCustomPrompt="1"/>
            <p:custDataLst>
              <p:tags r:id="rId8"/>
            </p:custDataLst>
          </p:nvPr>
        </p:nvSpPr>
        <p:spPr>
          <a:xfrm>
            <a:off x="1651441" y="2690968"/>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2" name="Textplatzhalter 10">
            <a:extLst>
              <a:ext uri="{FF2B5EF4-FFF2-40B4-BE49-F238E27FC236}">
                <a16:creationId xmlns:a16="http://schemas.microsoft.com/office/drawing/2014/main" id="{F0FFE843-D148-A681-8D9E-305FF941EABD}"/>
              </a:ext>
            </a:extLst>
          </p:cNvPr>
          <p:cNvSpPr>
            <a:spLocks noGrp="1"/>
          </p:cNvSpPr>
          <p:nvPr>
            <p:ph type="body" sz="quarter" idx="47" hasCustomPrompt="1"/>
            <p:custDataLst>
              <p:tags r:id="rId9"/>
            </p:custDataLst>
          </p:nvPr>
        </p:nvSpPr>
        <p:spPr>
          <a:xfrm>
            <a:off x="1651441" y="3803237"/>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14" name="Textplatzhalter 6">
            <a:extLst>
              <a:ext uri="{FF2B5EF4-FFF2-40B4-BE49-F238E27FC236}">
                <a16:creationId xmlns:a16="http://schemas.microsoft.com/office/drawing/2014/main" id="{87B7FB0D-FB7B-D8AB-37D2-9DB3DDA35730}"/>
              </a:ext>
            </a:extLst>
          </p:cNvPr>
          <p:cNvSpPr>
            <a:spLocks noGrp="1"/>
          </p:cNvSpPr>
          <p:nvPr>
            <p:ph type="body" sz="quarter" idx="48" hasCustomPrompt="1"/>
            <p:custDataLst>
              <p:tags r:id="rId10"/>
            </p:custDataLst>
          </p:nvPr>
        </p:nvSpPr>
        <p:spPr>
          <a:xfrm>
            <a:off x="1651441" y="3677237"/>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7" name="Textplatzhalter 10">
            <a:extLst>
              <a:ext uri="{FF2B5EF4-FFF2-40B4-BE49-F238E27FC236}">
                <a16:creationId xmlns:a16="http://schemas.microsoft.com/office/drawing/2014/main" id="{046B28AD-163E-857C-078E-9F84F7AD769D}"/>
              </a:ext>
            </a:extLst>
          </p:cNvPr>
          <p:cNvSpPr>
            <a:spLocks noGrp="1"/>
          </p:cNvSpPr>
          <p:nvPr>
            <p:ph type="body" sz="quarter" idx="49" hasCustomPrompt="1"/>
            <p:custDataLst>
              <p:tags r:id="rId11"/>
            </p:custDataLst>
          </p:nvPr>
        </p:nvSpPr>
        <p:spPr>
          <a:xfrm>
            <a:off x="1651441" y="4789506"/>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8" name="Textplatzhalter 6">
            <a:extLst>
              <a:ext uri="{FF2B5EF4-FFF2-40B4-BE49-F238E27FC236}">
                <a16:creationId xmlns:a16="http://schemas.microsoft.com/office/drawing/2014/main" id="{53C2CCEB-07CD-5601-7A79-C4CE830CA7D9}"/>
              </a:ext>
            </a:extLst>
          </p:cNvPr>
          <p:cNvSpPr>
            <a:spLocks noGrp="1"/>
          </p:cNvSpPr>
          <p:nvPr>
            <p:ph type="body" sz="quarter" idx="50" hasCustomPrompt="1"/>
            <p:custDataLst>
              <p:tags r:id="rId12"/>
            </p:custDataLst>
          </p:nvPr>
        </p:nvSpPr>
        <p:spPr>
          <a:xfrm>
            <a:off x="1651441" y="4663506"/>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Tree>
    <p:extLst>
      <p:ext uri="{BB962C8B-B14F-4D97-AF65-F5344CB8AC3E}">
        <p14:creationId xmlns:p14="http://schemas.microsoft.com/office/powerpoint/2010/main" val="19256696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Chapter layouts</a:t>
            </a:r>
            <a:endParaRPr lang="pl-PL" sz="12000" dirty="0">
              <a:solidFill>
                <a:schemeClr val="bg1"/>
              </a:solidFill>
            </a:endParaRPr>
          </a:p>
        </p:txBody>
      </p:sp>
    </p:spTree>
    <p:extLst>
      <p:ext uri="{BB962C8B-B14F-4D97-AF65-F5344CB8AC3E}">
        <p14:creationId xmlns:p14="http://schemas.microsoft.com/office/powerpoint/2010/main" val="1181353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1">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CB2EFA5-64D8-8F50-F9DD-2145A084BA6D}"/>
              </a:ext>
            </a:extLst>
          </p:cNvPr>
          <p:cNvSpPr/>
          <p:nvPr userDrawn="1">
            <p:custDataLst>
              <p:tags r:id="rId1"/>
            </p:custDataLst>
          </p:nvPr>
        </p:nvSpPr>
        <p:spPr>
          <a:xfrm>
            <a:off x="4828031" y="0"/>
            <a:ext cx="7363969" cy="6858000"/>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8" name="Freihandform: Form 17">
            <a:extLst>
              <a:ext uri="{FF2B5EF4-FFF2-40B4-BE49-F238E27FC236}">
                <a16:creationId xmlns:a16="http://schemas.microsoft.com/office/drawing/2014/main" id="{5152A634-EA19-A234-C16C-B0D8C7EEBD0E}"/>
              </a:ext>
            </a:extLst>
          </p:cNvPr>
          <p:cNvSpPr/>
          <p:nvPr userDrawn="1">
            <p:custDataLst>
              <p:tags r:id="rId2"/>
            </p:custDataLst>
          </p:nvPr>
        </p:nvSpPr>
        <p:spPr>
          <a:xfrm>
            <a:off x="540000" y="0"/>
            <a:ext cx="11652000" cy="6858000"/>
          </a:xfrm>
          <a:custGeom>
            <a:avLst/>
            <a:gdLst>
              <a:gd name="connsiteX0" fmla="*/ 9177445 w 11652000"/>
              <a:gd name="connsiteY0" fmla="*/ 6273532 h 6858000"/>
              <a:gd name="connsiteX1" fmla="*/ 9413637 w 11652000"/>
              <a:gd name="connsiteY1" fmla="*/ 6581099 h 6858000"/>
              <a:gd name="connsiteX2" fmla="*/ 9626307 w 11652000"/>
              <a:gd name="connsiteY2" fmla="*/ 6858000 h 6858000"/>
              <a:gd name="connsiteX3" fmla="*/ 8728767 w 11652000"/>
              <a:gd name="connsiteY3" fmla="*/ 6858000 h 6858000"/>
              <a:gd name="connsiteX4" fmla="*/ 8941354 w 11652000"/>
              <a:gd name="connsiteY4" fmla="*/ 6581099 h 6858000"/>
              <a:gd name="connsiteX5" fmla="*/ 9177445 w 11652000"/>
              <a:gd name="connsiteY5" fmla="*/ 6273532 h 6858000"/>
              <a:gd name="connsiteX6" fmla="*/ 11652000 w 11652000"/>
              <a:gd name="connsiteY6" fmla="*/ 3050339 h 6858000"/>
              <a:gd name="connsiteX7" fmla="*/ 11652000 w 11652000"/>
              <a:gd name="connsiteY7" fmla="*/ 3802395 h 6858000"/>
              <a:gd name="connsiteX8" fmla="*/ 11363446 w 11652000"/>
              <a:gd name="connsiteY8" fmla="*/ 3426453 h 6858000"/>
              <a:gd name="connsiteX9" fmla="*/ 8732469 w 11652000"/>
              <a:gd name="connsiteY9" fmla="*/ 0 h 6858000"/>
              <a:gd name="connsiteX10" fmla="*/ 9622603 w 11652000"/>
              <a:gd name="connsiteY10" fmla="*/ 0 h 6858000"/>
              <a:gd name="connsiteX11" fmla="*/ 9413637 w 11652000"/>
              <a:gd name="connsiteY11" fmla="*/ 271921 h 6858000"/>
              <a:gd name="connsiteX12" fmla="*/ 9177445 w 11652000"/>
              <a:gd name="connsiteY12" fmla="*/ 579259 h 6858000"/>
              <a:gd name="connsiteX13" fmla="*/ 8941354 w 11652000"/>
              <a:gd name="connsiteY13" fmla="*/ 271921 h 6858000"/>
              <a:gd name="connsiteX14" fmla="*/ 0 w 11652000"/>
              <a:gd name="connsiteY14" fmla="*/ 0 h 6858000"/>
              <a:gd name="connsiteX15" fmla="*/ 4363472 w 11652000"/>
              <a:gd name="connsiteY15" fmla="*/ 0 h 6858000"/>
              <a:gd name="connsiteX16" fmla="*/ 4386207 w 11652000"/>
              <a:gd name="connsiteY16" fmla="*/ 29649 h 6858000"/>
              <a:gd name="connsiteX17" fmla="*/ 6992019 w 11652000"/>
              <a:gd name="connsiteY17" fmla="*/ 3426453 h 6858000"/>
              <a:gd name="connsiteX18" fmla="*/ 4386207 w 11652000"/>
              <a:gd name="connsiteY18" fmla="*/ 6823041 h 6858000"/>
              <a:gd name="connsiteX19" fmla="*/ 4359404 w 11652000"/>
              <a:gd name="connsiteY19" fmla="*/ 6858000 h 6858000"/>
              <a:gd name="connsiteX20" fmla="*/ 0 w 11652000"/>
              <a:gd name="connsiteY2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652000" h="6858000">
                <a:moveTo>
                  <a:pt x="9177445" y="6273532"/>
                </a:moveTo>
                <a:cubicBezTo>
                  <a:pt x="9257354" y="6377595"/>
                  <a:pt x="9336136" y="6480185"/>
                  <a:pt x="9413637" y="6581099"/>
                </a:cubicBezTo>
                <a:lnTo>
                  <a:pt x="9626307" y="6858000"/>
                </a:lnTo>
                <a:lnTo>
                  <a:pt x="8728767" y="6858000"/>
                </a:lnTo>
                <a:lnTo>
                  <a:pt x="8941354" y="6581099"/>
                </a:lnTo>
                <a:cubicBezTo>
                  <a:pt x="9018823" y="6480185"/>
                  <a:pt x="9097572" y="6377595"/>
                  <a:pt x="9177445" y="6273532"/>
                </a:cubicBezTo>
                <a:close/>
                <a:moveTo>
                  <a:pt x="11652000" y="3050339"/>
                </a:moveTo>
                <a:lnTo>
                  <a:pt x="11652000" y="3802395"/>
                </a:lnTo>
                <a:lnTo>
                  <a:pt x="11363446" y="3426453"/>
                </a:lnTo>
                <a:close/>
                <a:moveTo>
                  <a:pt x="8732469" y="0"/>
                </a:moveTo>
                <a:lnTo>
                  <a:pt x="9622603" y="0"/>
                </a:lnTo>
                <a:lnTo>
                  <a:pt x="9413637" y="271921"/>
                </a:lnTo>
                <a:cubicBezTo>
                  <a:pt x="9336136" y="372769"/>
                  <a:pt x="9257354" y="475283"/>
                  <a:pt x="9177445" y="579259"/>
                </a:cubicBezTo>
                <a:cubicBezTo>
                  <a:pt x="9097572" y="475283"/>
                  <a:pt x="9018823" y="372769"/>
                  <a:pt x="8941354" y="271921"/>
                </a:cubicBezTo>
                <a:close/>
                <a:moveTo>
                  <a:pt x="0" y="0"/>
                </a:moveTo>
                <a:lnTo>
                  <a:pt x="4363472" y="0"/>
                </a:lnTo>
                <a:lnTo>
                  <a:pt x="4386207" y="29649"/>
                </a:lnTo>
                <a:cubicBezTo>
                  <a:pt x="5092136" y="950225"/>
                  <a:pt x="6029729" y="2172145"/>
                  <a:pt x="6992019" y="3426453"/>
                </a:cubicBezTo>
                <a:cubicBezTo>
                  <a:pt x="6029729" y="4680068"/>
                  <a:pt x="5092136" y="5902306"/>
                  <a:pt x="4386207" y="6823041"/>
                </a:cubicBezTo>
                <a:lnTo>
                  <a:pt x="435940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3"/>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Untertitel 2">
            <a:extLst>
              <a:ext uri="{FF2B5EF4-FFF2-40B4-BE49-F238E27FC236}">
                <a16:creationId xmlns:a16="http://schemas.microsoft.com/office/drawing/2014/main" id="{75D84EF0-58B0-018F-3EF2-D06675807FEF}"/>
              </a:ext>
            </a:extLst>
          </p:cNvPr>
          <p:cNvSpPr>
            <a:spLocks noGrp="1"/>
          </p:cNvSpPr>
          <p:nvPr>
            <p:ph type="subTitle" idx="1" hasCustomPrompt="1"/>
            <p:custDataLst>
              <p:tags r:id="rId4"/>
            </p:custDataLst>
          </p:nvPr>
        </p:nvSpPr>
        <p:spPr>
          <a:xfrm>
            <a:off x="899999" y="4572000"/>
            <a:ext cx="7269639"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Additional information</a:t>
            </a:r>
          </a:p>
          <a:p>
            <a:endParaRPr lang="pl-PL" dirty="0"/>
          </a:p>
        </p:txBody>
      </p:sp>
      <p:sp>
        <p:nvSpPr>
          <p:cNvPr id="9" name="Titel 1">
            <a:extLst>
              <a:ext uri="{FF2B5EF4-FFF2-40B4-BE49-F238E27FC236}">
                <a16:creationId xmlns:a16="http://schemas.microsoft.com/office/drawing/2014/main" id="{6A1F042E-A599-AD8C-2274-BA125A4C63AF}"/>
              </a:ext>
            </a:extLst>
          </p:cNvPr>
          <p:cNvSpPr>
            <a:spLocks noGrp="1"/>
          </p:cNvSpPr>
          <p:nvPr>
            <p:ph type="ctrTitle" hasCustomPrompt="1"/>
            <p:custDataLst>
              <p:tags r:id="rId5"/>
            </p:custDataLst>
          </p:nvPr>
        </p:nvSpPr>
        <p:spPr>
          <a:xfrm>
            <a:off x="899999" y="1925926"/>
            <a:ext cx="7269639" cy="2474623"/>
          </a:xfrm>
        </p:spPr>
        <p:txBody>
          <a:bodyPr anchor="b"/>
          <a:lstStyle>
            <a:lvl1pPr algn="l">
              <a:lnSpc>
                <a:spcPct val="90000"/>
              </a:lnSpc>
              <a:defRPr sz="4000"/>
            </a:lvl1pPr>
          </a:lstStyle>
          <a:p>
            <a:r>
              <a:rPr lang="pl-PL"/>
              <a:t>Chapter</a:t>
            </a:r>
            <a:endParaRPr lang="pl-PL" dirty="0"/>
          </a:p>
        </p:txBody>
      </p:sp>
    </p:spTree>
    <p:extLst>
      <p:ext uri="{BB962C8B-B14F-4D97-AF65-F5344CB8AC3E}">
        <p14:creationId xmlns:p14="http://schemas.microsoft.com/office/powerpoint/2010/main" val="2677171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asic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Basic layouts</a:t>
            </a:r>
            <a:endParaRPr lang="pl-PL" sz="12000" dirty="0">
              <a:solidFill>
                <a:schemeClr val="bg1"/>
              </a:solidFill>
            </a:endParaRPr>
          </a:p>
        </p:txBody>
      </p:sp>
    </p:spTree>
    <p:extLst>
      <p:ext uri="{BB962C8B-B14F-4D97-AF65-F5344CB8AC3E}">
        <p14:creationId xmlns:p14="http://schemas.microsoft.com/office/powerpoint/2010/main" val="36849871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8" Type="http://schemas.openxmlformats.org/officeDocument/2006/relationships/tags" Target="../tags/tag6.xml"/><Relationship Id="rId5" Type="http://schemas.openxmlformats.org/officeDocument/2006/relationships/slideLayout" Target="../slideLayouts/slideLayout5.xml"/><Relationship Id="rId61" Type="http://schemas.openxmlformats.org/officeDocument/2006/relationships/tags" Target="../tags/tag9.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5.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6" name="Maske">
            <a:extLst>
              <a:ext uri="{FF2B5EF4-FFF2-40B4-BE49-F238E27FC236}">
                <a16:creationId xmlns:a16="http://schemas.microsoft.com/office/drawing/2014/main" id="{AB513FDC-D4D0-D159-2337-8C1F523D9F8B}"/>
              </a:ext>
            </a:extLst>
          </p:cNvPr>
          <p:cNvSpPr>
            <a:spLocks noGrp="1" noRot="1" noMove="1" noResize="1" noEditPoints="1" noAdjustHandles="1" noChangeArrowheads="1" noChangeShapeType="1"/>
          </p:cNvSpPr>
          <p:nvPr userDrawn="1">
            <p:custDataLst>
              <p:tags r:id="rId54"/>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 name="Titelplatzhalter 1">
            <a:extLst>
              <a:ext uri="{FF2B5EF4-FFF2-40B4-BE49-F238E27FC236}">
                <a16:creationId xmlns:a16="http://schemas.microsoft.com/office/drawing/2014/main" id="{8AF40300-215D-052F-D1EC-6CF5D84DE51F}"/>
              </a:ext>
            </a:extLst>
          </p:cNvPr>
          <p:cNvSpPr>
            <a:spLocks noGrp="1"/>
          </p:cNvSpPr>
          <p:nvPr>
            <p:ph type="title"/>
            <p:custDataLst>
              <p:tags r:id="rId55"/>
            </p:custDataLst>
          </p:nvPr>
        </p:nvSpPr>
        <p:spPr>
          <a:xfrm>
            <a:off x="898524" y="684000"/>
            <a:ext cx="9521825" cy="758396"/>
          </a:xfrm>
          <a:prstGeom prst="rect">
            <a:avLst/>
          </a:prstGeom>
        </p:spPr>
        <p:txBody>
          <a:bodyPr vert="horz" lIns="0" tIns="0" rIns="0" bIns="0" rtlCol="0" anchor="t">
            <a:noAutofit/>
          </a:bodyPr>
          <a:lstStyle/>
          <a:p>
            <a:r>
              <a:rPr lang="pl-PL" noProof="0"/>
              <a:t>Headline</a:t>
            </a:r>
            <a:endParaRPr lang="pl-PL" noProof="0" dirty="0"/>
          </a:p>
        </p:txBody>
      </p:sp>
      <p:sp>
        <p:nvSpPr>
          <p:cNvPr id="3" name="Textplatzhalter 2">
            <a:extLst>
              <a:ext uri="{FF2B5EF4-FFF2-40B4-BE49-F238E27FC236}">
                <a16:creationId xmlns:a16="http://schemas.microsoft.com/office/drawing/2014/main" id="{87917898-E3DE-23FB-39FF-77378FA7B8BD}"/>
              </a:ext>
            </a:extLst>
          </p:cNvPr>
          <p:cNvSpPr>
            <a:spLocks noGrp="1"/>
          </p:cNvSpPr>
          <p:nvPr>
            <p:ph type="body" idx="1"/>
            <p:custDataLst>
              <p:tags r:id="rId56"/>
            </p:custDataLst>
          </p:nvPr>
        </p:nvSpPr>
        <p:spPr>
          <a:xfrm>
            <a:off x="898525" y="1548000"/>
            <a:ext cx="9521825" cy="4586100"/>
          </a:xfrm>
          <a:prstGeom prst="rect">
            <a:avLst/>
          </a:prstGeom>
        </p:spPr>
        <p:txBody>
          <a:bodyPr vert="horz" lIns="0" tIns="0" rIns="0" bIns="0" rtlCol="0">
            <a:noAutofit/>
          </a:bodyPr>
          <a:lstStyle/>
          <a:p>
            <a:pPr lvl="0"/>
            <a:r>
              <a:rPr lang="pl-PL" noProof="0"/>
              <a:t>Copy 16pt</a:t>
            </a:r>
          </a:p>
          <a:p>
            <a:pPr lvl="1"/>
            <a:r>
              <a:rPr lang="pl-PL" noProof="0"/>
              <a:t>Bullet 16pt</a:t>
            </a:r>
          </a:p>
          <a:p>
            <a:pPr lvl="2"/>
            <a:r>
              <a:rPr lang="pl-PL" noProof="0"/>
              <a:t>Bullet 2 16pt</a:t>
            </a:r>
          </a:p>
          <a:p>
            <a:pPr lvl="3"/>
            <a:r>
              <a:rPr lang="pl-PL" noProof="0"/>
              <a:t>Bullet 3 16pt</a:t>
            </a:r>
          </a:p>
          <a:p>
            <a:pPr lvl="4"/>
            <a:r>
              <a:rPr lang="pl-PL" noProof="0"/>
              <a:t>Subheading 16pt</a:t>
            </a:r>
          </a:p>
          <a:p>
            <a:pPr lvl="5"/>
            <a:r>
              <a:rPr lang="pl-PL" noProof="0"/>
              <a:t>Copy 22pt</a:t>
            </a:r>
          </a:p>
          <a:p>
            <a:pPr lvl="6"/>
            <a:r>
              <a:rPr lang="pl-PL" noProof="0"/>
              <a:t>Bullet 22pt</a:t>
            </a:r>
          </a:p>
          <a:p>
            <a:pPr lvl="7"/>
            <a:r>
              <a:rPr lang="pl-PL" noProof="0"/>
              <a:t>Bullet 2 22pt</a:t>
            </a:r>
          </a:p>
          <a:p>
            <a:pPr lvl="8"/>
            <a:r>
              <a:rPr lang="pl-PL" noProof="0"/>
              <a:t>Subheading 22pt</a:t>
            </a:r>
            <a:endParaRPr lang="pl-PL" noProof="0" dirty="0"/>
          </a:p>
        </p:txBody>
      </p:sp>
      <p:sp>
        <p:nvSpPr>
          <p:cNvPr id="10" name="Rechteck 9">
            <a:extLst>
              <a:ext uri="{FF2B5EF4-FFF2-40B4-BE49-F238E27FC236}">
                <a16:creationId xmlns:a16="http://schemas.microsoft.com/office/drawing/2014/main" id="{C1F2130D-ECEC-E495-256B-C00000B3D24E}"/>
              </a:ext>
            </a:extLst>
          </p:cNvPr>
          <p:cNvSpPr/>
          <p:nvPr userDrawn="1">
            <p:custDataLst>
              <p:tags r:id="rId57"/>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3" name="Fußzeilenplatzhalter 22">
            <a:extLst>
              <a:ext uri="{FF2B5EF4-FFF2-40B4-BE49-F238E27FC236}">
                <a16:creationId xmlns:a16="http://schemas.microsoft.com/office/drawing/2014/main" id="{6CB2D5BE-646C-708D-DDA2-016226E76F4F}"/>
              </a:ext>
            </a:extLst>
          </p:cNvPr>
          <p:cNvSpPr>
            <a:spLocks noGrp="1"/>
          </p:cNvSpPr>
          <p:nvPr>
            <p:ph type="ftr" sz="quarter" idx="3"/>
            <p:custDataLst>
              <p:tags r:id="rId58"/>
            </p:custDataLst>
          </p:nvPr>
        </p:nvSpPr>
        <p:spPr>
          <a:xfrm>
            <a:off x="1498061" y="6470705"/>
            <a:ext cx="9253577" cy="281691"/>
          </a:xfrm>
          <a:prstGeom prst="rect">
            <a:avLst/>
          </a:prstGeom>
        </p:spPr>
        <p:txBody>
          <a:bodyPr vert="horz" lIns="0" tIns="0" rIns="0" bIns="0" rtlCol="0" anchor="t"/>
          <a:lstStyle>
            <a:lvl1pPr algn="ctr">
              <a:defRPr sz="1000">
                <a:solidFill>
                  <a:srgbClr val="999999"/>
                </a:solidFill>
              </a:defRPr>
            </a:lvl1pPr>
          </a:lstStyle>
          <a:p>
            <a:r>
              <a:rPr lang="pl-PL" noProof="0"/>
              <a:t>Najważniejsze informacje o dawstwie szpiku | C1- Public | #KOMÓRKOMANIA</a:t>
            </a:r>
            <a:endParaRPr lang="pl-PL" noProof="0" dirty="0"/>
          </a:p>
        </p:txBody>
      </p:sp>
      <p:sp>
        <p:nvSpPr>
          <p:cNvPr id="24" name="Foliennummernplatzhalter 23">
            <a:extLst>
              <a:ext uri="{FF2B5EF4-FFF2-40B4-BE49-F238E27FC236}">
                <a16:creationId xmlns:a16="http://schemas.microsoft.com/office/drawing/2014/main" id="{0D2BA931-A1B8-0AAF-FFD2-CFA13168AF68}"/>
              </a:ext>
            </a:extLst>
          </p:cNvPr>
          <p:cNvSpPr>
            <a:spLocks noGrp="1"/>
          </p:cNvSpPr>
          <p:nvPr>
            <p:ph type="sldNum" sz="quarter" idx="4"/>
            <p:custDataLst>
              <p:tags r:id="rId59"/>
            </p:custDataLst>
          </p:nvPr>
        </p:nvSpPr>
        <p:spPr>
          <a:xfrm>
            <a:off x="11543495" y="171744"/>
            <a:ext cx="288143" cy="281691"/>
          </a:xfrm>
          <a:prstGeom prst="rect">
            <a:avLst/>
          </a:prstGeom>
        </p:spPr>
        <p:txBody>
          <a:bodyPr vert="horz" lIns="0" tIns="0" rIns="0" bIns="0" rtlCol="0" anchor="ctr"/>
          <a:lstStyle>
            <a:lvl1pPr algn="r">
              <a:defRPr sz="1000">
                <a:solidFill>
                  <a:srgbClr val="999999"/>
                </a:solidFill>
              </a:defRPr>
            </a:lvl1pPr>
          </a:lstStyle>
          <a:p>
            <a:fld id="{92DB0D90-6264-4E90-9724-ABC670DBF4FB}" type="slidenum">
              <a:rPr lang="pl-PL" noProof="0" smtClean="0"/>
              <a:pPr/>
              <a:t>‹#›</a:t>
            </a:fld>
            <a:endParaRPr lang="pl-PL" noProof="0" dirty="0"/>
          </a:p>
        </p:txBody>
      </p:sp>
      <p:sp>
        <p:nvSpPr>
          <p:cNvPr id="4" name="Rechteck 3">
            <a:extLst>
              <a:ext uri="{FF2B5EF4-FFF2-40B4-BE49-F238E27FC236}">
                <a16:creationId xmlns:a16="http://schemas.microsoft.com/office/drawing/2014/main" id="{B7591410-FC32-03D2-1CDE-502BC4BF4DAE}"/>
              </a:ext>
            </a:extLst>
          </p:cNvPr>
          <p:cNvSpPr>
            <a:spLocks/>
          </p:cNvSpPr>
          <p:nvPr userDrawn="1">
            <p:custDataLst>
              <p:tags r:id="rId6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7" name="Datumsplatzhalter 6">
            <a:extLst>
              <a:ext uri="{FF2B5EF4-FFF2-40B4-BE49-F238E27FC236}">
                <a16:creationId xmlns:a16="http://schemas.microsoft.com/office/drawing/2014/main" id="{19A14587-8D69-6727-19C0-97F487DB5CE7}"/>
              </a:ext>
            </a:extLst>
          </p:cNvPr>
          <p:cNvSpPr>
            <a:spLocks noGrp="1"/>
          </p:cNvSpPr>
          <p:nvPr>
            <p:ph type="dt" sz="half" idx="2"/>
            <p:custDataLst>
              <p:tags r:id="rId61"/>
            </p:custDataLst>
          </p:nvPr>
        </p:nvSpPr>
        <p:spPr>
          <a:xfrm>
            <a:off x="10751638" y="6470705"/>
            <a:ext cx="1080000" cy="281691"/>
          </a:xfrm>
          <a:prstGeom prst="rect">
            <a:avLst/>
          </a:prstGeom>
        </p:spPr>
        <p:txBody>
          <a:bodyPr vert="horz" lIns="0" tIns="0" rIns="0" bIns="0" rtlCol="0" anchor="t"/>
          <a:lstStyle>
            <a:lvl1pPr algn="r">
              <a:defRPr sz="1000">
                <a:solidFill>
                  <a:srgbClr val="999999"/>
                </a:solidFill>
              </a:defRPr>
            </a:lvl1pPr>
          </a:lstStyle>
          <a:p>
            <a:r>
              <a:rPr lang="pl-PL" noProof="0"/>
              <a:t>06.11.2024</a:t>
            </a:r>
            <a:endParaRPr lang="pl-PL" noProof="0" dirty="0"/>
          </a:p>
        </p:txBody>
      </p:sp>
    </p:spTree>
    <p:extLst>
      <p:ext uri="{BB962C8B-B14F-4D97-AF65-F5344CB8AC3E}">
        <p14:creationId xmlns:p14="http://schemas.microsoft.com/office/powerpoint/2010/main" val="1944181577"/>
      </p:ext>
    </p:extLst>
  </p:cSld>
  <p:clrMap bg1="lt1" tx1="dk1" bg2="lt2" tx2="dk2" accent1="accent1" accent2="accent2" accent3="accent3" accent4="accent4" accent5="accent5" accent6="accent6" hlink="hlink" folHlink="folHlink"/>
  <p:sldLayoutIdLst>
    <p:sldLayoutId id="2147483754" r:id="rId1"/>
    <p:sldLayoutId id="2147483663" r:id="rId2"/>
    <p:sldLayoutId id="2147483742" r:id="rId3"/>
    <p:sldLayoutId id="2147483747" r:id="rId4"/>
    <p:sldLayoutId id="2147483669" r:id="rId5"/>
    <p:sldLayoutId id="2147483774" r:id="rId6"/>
    <p:sldLayoutId id="2147483755" r:id="rId7"/>
    <p:sldLayoutId id="2147483744" r:id="rId8"/>
    <p:sldLayoutId id="2147483749" r:id="rId9"/>
    <p:sldLayoutId id="2147483679" r:id="rId10"/>
    <p:sldLayoutId id="2147483771" r:id="rId11"/>
    <p:sldLayoutId id="2147483664" r:id="rId12"/>
    <p:sldLayoutId id="2147483714" r:id="rId13"/>
    <p:sldLayoutId id="2147483776" r:id="rId14"/>
    <p:sldLayoutId id="2147483770" r:id="rId15"/>
    <p:sldLayoutId id="2147483701" r:id="rId16"/>
    <p:sldLayoutId id="2147483702" r:id="rId17"/>
    <p:sldLayoutId id="2147483746" r:id="rId18"/>
    <p:sldLayoutId id="2147483683" r:id="rId19"/>
    <p:sldLayoutId id="2147483681" r:id="rId20"/>
    <p:sldLayoutId id="2147483712" r:id="rId21"/>
    <p:sldLayoutId id="2147483720" r:id="rId22"/>
    <p:sldLayoutId id="2147483731" r:id="rId23"/>
    <p:sldLayoutId id="2147483750" r:id="rId24"/>
    <p:sldLayoutId id="2147483727" r:id="rId25"/>
    <p:sldLayoutId id="2147483728" r:id="rId26"/>
    <p:sldLayoutId id="2147483753" r:id="rId27"/>
    <p:sldLayoutId id="2147483684" r:id="rId28"/>
    <p:sldLayoutId id="2147483715" r:id="rId29"/>
    <p:sldLayoutId id="2147483718" r:id="rId30"/>
    <p:sldLayoutId id="2147483752" r:id="rId31"/>
    <p:sldLayoutId id="2147483713" r:id="rId32"/>
    <p:sldLayoutId id="2147483779" r:id="rId33"/>
    <p:sldLayoutId id="2147483708" r:id="rId34"/>
    <p:sldLayoutId id="2147483685" r:id="rId35"/>
    <p:sldLayoutId id="2147483778" r:id="rId36"/>
    <p:sldLayoutId id="2147483748" r:id="rId37"/>
    <p:sldLayoutId id="2147483692" r:id="rId38"/>
    <p:sldLayoutId id="2147483676" r:id="rId39"/>
    <p:sldLayoutId id="2147483691" r:id="rId40"/>
    <p:sldLayoutId id="2147483767" r:id="rId41"/>
    <p:sldLayoutId id="2147483717" r:id="rId42"/>
    <p:sldLayoutId id="2147483745" r:id="rId43"/>
    <p:sldLayoutId id="2147483765" r:id="rId44"/>
    <p:sldLayoutId id="2147483697" r:id="rId45"/>
    <p:sldLayoutId id="2147483737" r:id="rId46"/>
    <p:sldLayoutId id="2147483696" r:id="rId47"/>
    <p:sldLayoutId id="2147483781" r:id="rId48"/>
    <p:sldLayoutId id="2147483785" r:id="rId49"/>
    <p:sldLayoutId id="2147483786" r:id="rId50"/>
    <p:sldLayoutId id="2147483773" r:id="rId51"/>
    <p:sldLayoutId id="2147483784" r:id="rId52"/>
  </p:sldLayoutIdLst>
  <p:hf sldNum="0" hdr="0"/>
  <p:txStyles>
    <p:titleStyle>
      <a:lvl1pPr algn="l" defTabSz="914400" rtl="0" eaLnBrk="1" latinLnBrk="0" hangingPunct="1">
        <a:lnSpc>
          <a:spcPct val="83000"/>
        </a:lnSpc>
        <a:spcBef>
          <a:spcPct val="0"/>
        </a:spcBef>
        <a:buNone/>
        <a:defRPr sz="2800" b="1" kern="1200" spc="30" baseline="0">
          <a:solidFill>
            <a:schemeClr val="tx2"/>
          </a:solidFill>
          <a:latin typeface="+mj-lt"/>
          <a:ea typeface="+mj-ea"/>
          <a:cs typeface="+mj-cs"/>
        </a:defRPr>
      </a:lvl1pPr>
    </p:titleStyle>
    <p:body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568" userDrawn="1">
          <p15:clr>
            <a:srgbClr val="F26B43"/>
          </p15:clr>
        </p15:guide>
        <p15:guide id="10" pos="3896" userDrawn="1">
          <p15:clr>
            <a:srgbClr val="F26B43"/>
          </p15:clr>
        </p15:guide>
        <p15:guide id="11" pos="4120" userDrawn="1">
          <p15:clr>
            <a:srgbClr val="F26B43"/>
          </p15:clr>
        </p15:guide>
        <p15:guide id="18" pos="7456" userDrawn="1">
          <p15:clr>
            <a:srgbClr val="F26B43"/>
          </p15:clr>
        </p15:guide>
        <p15:guide id="19" orient="horz" userDrawn="1">
          <p15:clr>
            <a:srgbClr val="F26B43"/>
          </p15:clr>
        </p15:guide>
        <p15:guide id="20" orient="horz" pos="4320" userDrawn="1">
          <p15:clr>
            <a:srgbClr val="F26B43"/>
          </p15:clr>
        </p15:guide>
        <p15:guide id="21" orient="horz" pos="224" userDrawn="1">
          <p15:clr>
            <a:srgbClr val="F26B43"/>
          </p15:clr>
        </p15:guide>
        <p15:guide id="22" orient="horz" pos="3864" userDrawn="1">
          <p15:clr>
            <a:srgbClr val="F26B43"/>
          </p15:clr>
        </p15:guide>
        <p15:guide id="23" orient="horz" pos="97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365.xml"/><Relationship Id="rId7" Type="http://schemas.openxmlformats.org/officeDocument/2006/relationships/notesSlide" Target="../notesSlides/notesSlide1.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slideLayout" Target="../slideLayouts/slideLayout2.xml"/><Relationship Id="rId5" Type="http://schemas.openxmlformats.org/officeDocument/2006/relationships/tags" Target="../tags/tag367.xml"/><Relationship Id="rId4" Type="http://schemas.openxmlformats.org/officeDocument/2006/relationships/tags" Target="../tags/tag366.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66.xml"/><Relationship Id="rId7" Type="http://schemas.openxmlformats.org/officeDocument/2006/relationships/image" Target="../media/image13.png"/><Relationship Id="rId2" Type="http://schemas.openxmlformats.org/officeDocument/2006/relationships/tags" Target="../tags/tag665.xml"/><Relationship Id="rId1" Type="http://schemas.openxmlformats.org/officeDocument/2006/relationships/tags" Target="../tags/tag664.xml"/><Relationship Id="rId6" Type="http://schemas.openxmlformats.org/officeDocument/2006/relationships/notesSlide" Target="../notesSlides/notesSlide10.xml"/><Relationship Id="rId5" Type="http://schemas.openxmlformats.org/officeDocument/2006/relationships/slideLayout" Target="../slideLayouts/slideLayout20.xml"/><Relationship Id="rId4" Type="http://schemas.openxmlformats.org/officeDocument/2006/relationships/tags" Target="../tags/tag667.xml"/><Relationship Id="rId9" Type="http://schemas.openxmlformats.org/officeDocument/2006/relationships/image" Target="../media/image6.svg"/></Relationships>
</file>

<file path=ppt/slides/_rels/slide11.xml.rels><?xml version="1.0" encoding="UTF-8" standalone="yes"?>
<Relationships xmlns="http://schemas.openxmlformats.org/package/2006/relationships"><Relationship Id="rId8" Type="http://schemas.openxmlformats.org/officeDocument/2006/relationships/tags" Target="../tags/tag678.xml"/><Relationship Id="rId3" Type="http://schemas.openxmlformats.org/officeDocument/2006/relationships/tags" Target="../tags/tag673.xml"/><Relationship Id="rId7" Type="http://schemas.openxmlformats.org/officeDocument/2006/relationships/tags" Target="../tags/tag677.xml"/><Relationship Id="rId12" Type="http://schemas.openxmlformats.org/officeDocument/2006/relationships/image" Target="../media/image14.png"/><Relationship Id="rId2" Type="http://schemas.openxmlformats.org/officeDocument/2006/relationships/tags" Target="../tags/tag672.xml"/><Relationship Id="rId1" Type="http://schemas.openxmlformats.org/officeDocument/2006/relationships/tags" Target="../tags/tag671.xml"/><Relationship Id="rId6" Type="http://schemas.openxmlformats.org/officeDocument/2006/relationships/tags" Target="../tags/tag676.xml"/><Relationship Id="rId11" Type="http://schemas.openxmlformats.org/officeDocument/2006/relationships/notesSlide" Target="../notesSlides/notesSlide11.xml"/><Relationship Id="rId5" Type="http://schemas.openxmlformats.org/officeDocument/2006/relationships/tags" Target="../tags/tag675.xml"/><Relationship Id="rId10" Type="http://schemas.openxmlformats.org/officeDocument/2006/relationships/slideLayout" Target="../slideLayouts/slideLayout15.xml"/><Relationship Id="rId4" Type="http://schemas.openxmlformats.org/officeDocument/2006/relationships/tags" Target="../tags/tag674.xml"/><Relationship Id="rId9" Type="http://schemas.openxmlformats.org/officeDocument/2006/relationships/tags" Target="../tags/tag679.xml"/></Relationships>
</file>

<file path=ppt/slides/_rels/slide12.xml.rels><?xml version="1.0" encoding="UTF-8" standalone="yes"?>
<Relationships xmlns="http://schemas.openxmlformats.org/package/2006/relationships"><Relationship Id="rId8" Type="http://schemas.openxmlformats.org/officeDocument/2006/relationships/tags" Target="../tags/tag690.xml"/><Relationship Id="rId13" Type="http://schemas.openxmlformats.org/officeDocument/2006/relationships/tags" Target="../tags/tag695.xml"/><Relationship Id="rId18" Type="http://schemas.openxmlformats.org/officeDocument/2006/relationships/tags" Target="../tags/tag700.xml"/><Relationship Id="rId3" Type="http://schemas.openxmlformats.org/officeDocument/2006/relationships/tags" Target="../tags/tag685.xml"/><Relationship Id="rId7" Type="http://schemas.openxmlformats.org/officeDocument/2006/relationships/tags" Target="../tags/tag689.xml"/><Relationship Id="rId12" Type="http://schemas.openxmlformats.org/officeDocument/2006/relationships/tags" Target="../tags/tag694.xml"/><Relationship Id="rId17" Type="http://schemas.openxmlformats.org/officeDocument/2006/relationships/tags" Target="../tags/tag699.xml"/><Relationship Id="rId2" Type="http://schemas.openxmlformats.org/officeDocument/2006/relationships/tags" Target="../tags/tag684.xml"/><Relationship Id="rId16" Type="http://schemas.openxmlformats.org/officeDocument/2006/relationships/tags" Target="../tags/tag698.xml"/><Relationship Id="rId20" Type="http://schemas.openxmlformats.org/officeDocument/2006/relationships/notesSlide" Target="../notesSlides/notesSlide12.xml"/><Relationship Id="rId1" Type="http://schemas.openxmlformats.org/officeDocument/2006/relationships/tags" Target="../tags/tag683.xml"/><Relationship Id="rId6" Type="http://schemas.openxmlformats.org/officeDocument/2006/relationships/tags" Target="../tags/tag688.xml"/><Relationship Id="rId11" Type="http://schemas.openxmlformats.org/officeDocument/2006/relationships/tags" Target="../tags/tag693.xml"/><Relationship Id="rId5" Type="http://schemas.openxmlformats.org/officeDocument/2006/relationships/tags" Target="../tags/tag687.xml"/><Relationship Id="rId15" Type="http://schemas.openxmlformats.org/officeDocument/2006/relationships/tags" Target="../tags/tag697.xml"/><Relationship Id="rId10" Type="http://schemas.openxmlformats.org/officeDocument/2006/relationships/tags" Target="../tags/tag692.xml"/><Relationship Id="rId19" Type="http://schemas.openxmlformats.org/officeDocument/2006/relationships/slideLayout" Target="../slideLayouts/slideLayout16.xml"/><Relationship Id="rId4" Type="http://schemas.openxmlformats.org/officeDocument/2006/relationships/tags" Target="../tags/tag686.xml"/><Relationship Id="rId9" Type="http://schemas.openxmlformats.org/officeDocument/2006/relationships/tags" Target="../tags/tag691.xml"/><Relationship Id="rId14" Type="http://schemas.openxmlformats.org/officeDocument/2006/relationships/tags" Target="../tags/tag69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05.xml"/><Relationship Id="rId1" Type="http://schemas.openxmlformats.org/officeDocument/2006/relationships/tags" Target="../tags/tag704.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tags" Target="../tags/tag716.xml"/><Relationship Id="rId13" Type="http://schemas.openxmlformats.org/officeDocument/2006/relationships/notesSlide" Target="../notesSlides/notesSlide14.xml"/><Relationship Id="rId3" Type="http://schemas.openxmlformats.org/officeDocument/2006/relationships/tags" Target="../tags/tag711.xml"/><Relationship Id="rId7" Type="http://schemas.openxmlformats.org/officeDocument/2006/relationships/tags" Target="../tags/tag715.xml"/><Relationship Id="rId12" Type="http://schemas.openxmlformats.org/officeDocument/2006/relationships/slideLayout" Target="../slideLayouts/slideLayout32.xml"/><Relationship Id="rId2" Type="http://schemas.openxmlformats.org/officeDocument/2006/relationships/tags" Target="../tags/tag710.xml"/><Relationship Id="rId1" Type="http://schemas.openxmlformats.org/officeDocument/2006/relationships/tags" Target="../tags/tag709.xml"/><Relationship Id="rId6" Type="http://schemas.openxmlformats.org/officeDocument/2006/relationships/tags" Target="../tags/tag714.xml"/><Relationship Id="rId11" Type="http://schemas.openxmlformats.org/officeDocument/2006/relationships/tags" Target="../tags/tag719.xml"/><Relationship Id="rId5" Type="http://schemas.openxmlformats.org/officeDocument/2006/relationships/tags" Target="../tags/tag713.xml"/><Relationship Id="rId10" Type="http://schemas.openxmlformats.org/officeDocument/2006/relationships/tags" Target="../tags/tag718.xml"/><Relationship Id="rId4" Type="http://schemas.openxmlformats.org/officeDocument/2006/relationships/tags" Target="../tags/tag712.xml"/><Relationship Id="rId9" Type="http://schemas.openxmlformats.org/officeDocument/2006/relationships/tags" Target="../tags/tag717.xml"/><Relationship Id="rId14" Type="http://schemas.openxmlformats.org/officeDocument/2006/relationships/image" Target="../media/image15.jpg"/></Relationships>
</file>

<file path=ppt/slides/_rels/slide15.xml.rels><?xml version="1.0" encoding="UTF-8" standalone="yes"?>
<Relationships xmlns="http://schemas.openxmlformats.org/package/2006/relationships"><Relationship Id="rId8" Type="http://schemas.openxmlformats.org/officeDocument/2006/relationships/tags" Target="../tags/tag730.xml"/><Relationship Id="rId13" Type="http://schemas.openxmlformats.org/officeDocument/2006/relationships/notesSlide" Target="../notesSlides/notesSlide15.xml"/><Relationship Id="rId3" Type="http://schemas.openxmlformats.org/officeDocument/2006/relationships/tags" Target="../tags/tag725.xml"/><Relationship Id="rId7" Type="http://schemas.openxmlformats.org/officeDocument/2006/relationships/tags" Target="../tags/tag729.xml"/><Relationship Id="rId12" Type="http://schemas.openxmlformats.org/officeDocument/2006/relationships/slideLayout" Target="../slideLayouts/slideLayout32.xml"/><Relationship Id="rId2" Type="http://schemas.openxmlformats.org/officeDocument/2006/relationships/tags" Target="../tags/tag724.xml"/><Relationship Id="rId1" Type="http://schemas.openxmlformats.org/officeDocument/2006/relationships/tags" Target="../tags/tag723.xml"/><Relationship Id="rId6" Type="http://schemas.openxmlformats.org/officeDocument/2006/relationships/tags" Target="../tags/tag728.xml"/><Relationship Id="rId11" Type="http://schemas.openxmlformats.org/officeDocument/2006/relationships/tags" Target="../tags/tag733.xml"/><Relationship Id="rId5" Type="http://schemas.openxmlformats.org/officeDocument/2006/relationships/tags" Target="../tags/tag727.xml"/><Relationship Id="rId10" Type="http://schemas.openxmlformats.org/officeDocument/2006/relationships/tags" Target="../tags/tag732.xml"/><Relationship Id="rId4" Type="http://schemas.openxmlformats.org/officeDocument/2006/relationships/tags" Target="../tags/tag726.xml"/><Relationship Id="rId9" Type="http://schemas.openxmlformats.org/officeDocument/2006/relationships/tags" Target="../tags/tag731.xml"/><Relationship Id="rId14" Type="http://schemas.openxmlformats.org/officeDocument/2006/relationships/image" Target="../media/image16.jp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38.xml"/><Relationship Id="rId1" Type="http://schemas.openxmlformats.org/officeDocument/2006/relationships/tags" Target="../tags/tag737.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tags" Target="../tags/tag744.xml"/><Relationship Id="rId7" Type="http://schemas.openxmlformats.org/officeDocument/2006/relationships/image" Target="../media/image17.jpg"/><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notesSlide" Target="../notesSlides/notesSlide17.xml"/><Relationship Id="rId5" Type="http://schemas.openxmlformats.org/officeDocument/2006/relationships/slideLayout" Target="../slideLayouts/slideLayout21.xml"/><Relationship Id="rId4" Type="http://schemas.openxmlformats.org/officeDocument/2006/relationships/tags" Target="../tags/tag745.xml"/></Relationships>
</file>

<file path=ppt/slides/_rels/slide18.xml.rels><?xml version="1.0" encoding="UTF-8" standalone="yes"?>
<Relationships xmlns="http://schemas.openxmlformats.org/package/2006/relationships"><Relationship Id="rId8" Type="http://schemas.openxmlformats.org/officeDocument/2006/relationships/tags" Target="../tags/tag756.xml"/><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tags" Target="../tags/tag751.xml"/><Relationship Id="rId21" Type="http://schemas.openxmlformats.org/officeDocument/2006/relationships/image" Target="../media/image26.png"/><Relationship Id="rId7" Type="http://schemas.openxmlformats.org/officeDocument/2006/relationships/tags" Target="../tags/tag755.xml"/><Relationship Id="rId12" Type="http://schemas.openxmlformats.org/officeDocument/2006/relationships/notesSlide" Target="../notesSlides/notesSlide18.xml"/><Relationship Id="rId17" Type="http://schemas.openxmlformats.org/officeDocument/2006/relationships/image" Target="../media/image22.png"/><Relationship Id="rId2" Type="http://schemas.openxmlformats.org/officeDocument/2006/relationships/tags" Target="../tags/tag750.xml"/><Relationship Id="rId16" Type="http://schemas.openxmlformats.org/officeDocument/2006/relationships/image" Target="../media/image21.svg"/><Relationship Id="rId20" Type="http://schemas.openxmlformats.org/officeDocument/2006/relationships/image" Target="../media/image25.svg"/><Relationship Id="rId1" Type="http://schemas.openxmlformats.org/officeDocument/2006/relationships/tags" Target="../tags/tag749.xml"/><Relationship Id="rId6" Type="http://schemas.openxmlformats.org/officeDocument/2006/relationships/tags" Target="../tags/tag754.xml"/><Relationship Id="rId11" Type="http://schemas.openxmlformats.org/officeDocument/2006/relationships/slideLayout" Target="../slideLayouts/slideLayout11.xml"/><Relationship Id="rId5" Type="http://schemas.openxmlformats.org/officeDocument/2006/relationships/tags" Target="../tags/tag753.xml"/><Relationship Id="rId15" Type="http://schemas.openxmlformats.org/officeDocument/2006/relationships/image" Target="../media/image20.png"/><Relationship Id="rId10" Type="http://schemas.openxmlformats.org/officeDocument/2006/relationships/tags" Target="../tags/tag758.xml"/><Relationship Id="rId19" Type="http://schemas.openxmlformats.org/officeDocument/2006/relationships/image" Target="../media/image24.png"/><Relationship Id="rId4" Type="http://schemas.openxmlformats.org/officeDocument/2006/relationships/tags" Target="../tags/tag752.xml"/><Relationship Id="rId9" Type="http://schemas.openxmlformats.org/officeDocument/2006/relationships/tags" Target="../tags/tag757.xml"/><Relationship Id="rId14" Type="http://schemas.openxmlformats.org/officeDocument/2006/relationships/image" Target="../media/image19.svg"/><Relationship Id="rId22" Type="http://schemas.openxmlformats.org/officeDocument/2006/relationships/image" Target="../media/image27.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762.xml"/><Relationship Id="rId4" Type="http://schemas.openxmlformats.org/officeDocument/2006/relationships/hyperlink" Target="mailto:kontakt@dkms.pl"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slideLayout" Target="../slideLayouts/slideLayout5.xml"/><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tags" Target="../tags/tag382.xml"/><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tags" Target="../tags/tag381.xml"/><Relationship Id="rId5" Type="http://schemas.openxmlformats.org/officeDocument/2006/relationships/tags" Target="../tags/tag375.xml"/><Relationship Id="rId10" Type="http://schemas.openxmlformats.org/officeDocument/2006/relationships/tags" Target="../tags/tag380.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87.xml"/><Relationship Id="rId1" Type="http://schemas.openxmlformats.org/officeDocument/2006/relationships/tags" Target="../tags/tag386.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93.xml"/><Relationship Id="rId7" Type="http://schemas.openxmlformats.org/officeDocument/2006/relationships/notesSlide" Target="../notesSlides/notesSlide4.xml"/><Relationship Id="rId2" Type="http://schemas.openxmlformats.org/officeDocument/2006/relationships/tags" Target="../tags/tag392.xml"/><Relationship Id="rId1" Type="http://schemas.openxmlformats.org/officeDocument/2006/relationships/tags" Target="../tags/tag391.xml"/><Relationship Id="rId6" Type="http://schemas.openxmlformats.org/officeDocument/2006/relationships/slideLayout" Target="../slideLayouts/slideLayout10.xml"/><Relationship Id="rId5" Type="http://schemas.openxmlformats.org/officeDocument/2006/relationships/tags" Target="../tags/tag395.xml"/><Relationship Id="rId4" Type="http://schemas.openxmlformats.org/officeDocument/2006/relationships/tags" Target="../tags/tag394.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401.xml"/><Relationship Id="rId7" Type="http://schemas.openxmlformats.org/officeDocument/2006/relationships/slideLayout" Target="../slideLayouts/slideLayout11.xml"/><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tags" Target="../tags/tag404.xml"/><Relationship Id="rId5" Type="http://schemas.openxmlformats.org/officeDocument/2006/relationships/tags" Target="../tags/tag403.xml"/><Relationship Id="rId10" Type="http://schemas.openxmlformats.org/officeDocument/2006/relationships/image" Target="../media/image6.svg"/><Relationship Id="rId4" Type="http://schemas.openxmlformats.org/officeDocument/2006/relationships/tags" Target="../tags/tag402.xml"/><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09.xml"/><Relationship Id="rId1" Type="http://schemas.openxmlformats.org/officeDocument/2006/relationships/tags" Target="../tags/tag408.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17" Type="http://schemas.openxmlformats.org/officeDocument/2006/relationships/tags" Target="../tags/tag529.xml"/><Relationship Id="rId21" Type="http://schemas.openxmlformats.org/officeDocument/2006/relationships/tags" Target="../tags/tag433.xml"/><Relationship Id="rId42" Type="http://schemas.openxmlformats.org/officeDocument/2006/relationships/tags" Target="../tags/tag454.xml"/><Relationship Id="rId63" Type="http://schemas.openxmlformats.org/officeDocument/2006/relationships/tags" Target="../tags/tag475.xml"/><Relationship Id="rId84" Type="http://schemas.openxmlformats.org/officeDocument/2006/relationships/tags" Target="../tags/tag496.xml"/><Relationship Id="rId138" Type="http://schemas.openxmlformats.org/officeDocument/2006/relationships/tags" Target="../tags/tag550.xml"/><Relationship Id="rId159" Type="http://schemas.openxmlformats.org/officeDocument/2006/relationships/tags" Target="../tags/tag571.xml"/><Relationship Id="rId170" Type="http://schemas.openxmlformats.org/officeDocument/2006/relationships/tags" Target="../tags/tag582.xml"/><Relationship Id="rId107" Type="http://schemas.openxmlformats.org/officeDocument/2006/relationships/tags" Target="../tags/tag519.xml"/><Relationship Id="rId11" Type="http://schemas.openxmlformats.org/officeDocument/2006/relationships/tags" Target="../tags/tag423.xml"/><Relationship Id="rId32" Type="http://schemas.openxmlformats.org/officeDocument/2006/relationships/tags" Target="../tags/tag444.xml"/><Relationship Id="rId53" Type="http://schemas.openxmlformats.org/officeDocument/2006/relationships/tags" Target="../tags/tag465.xml"/><Relationship Id="rId74" Type="http://schemas.openxmlformats.org/officeDocument/2006/relationships/tags" Target="../tags/tag486.xml"/><Relationship Id="rId128" Type="http://schemas.openxmlformats.org/officeDocument/2006/relationships/tags" Target="../tags/tag540.xml"/><Relationship Id="rId149" Type="http://schemas.openxmlformats.org/officeDocument/2006/relationships/tags" Target="../tags/tag561.xml"/><Relationship Id="rId5" Type="http://schemas.openxmlformats.org/officeDocument/2006/relationships/tags" Target="../tags/tag417.xml"/><Relationship Id="rId95" Type="http://schemas.openxmlformats.org/officeDocument/2006/relationships/tags" Target="../tags/tag507.xml"/><Relationship Id="rId160" Type="http://schemas.openxmlformats.org/officeDocument/2006/relationships/tags" Target="../tags/tag572.xml"/><Relationship Id="rId181" Type="http://schemas.openxmlformats.org/officeDocument/2006/relationships/tags" Target="../tags/tag593.xml"/><Relationship Id="rId22" Type="http://schemas.openxmlformats.org/officeDocument/2006/relationships/tags" Target="../tags/tag434.xml"/><Relationship Id="rId43" Type="http://schemas.openxmlformats.org/officeDocument/2006/relationships/tags" Target="../tags/tag455.xml"/><Relationship Id="rId64" Type="http://schemas.openxmlformats.org/officeDocument/2006/relationships/tags" Target="../tags/tag476.xml"/><Relationship Id="rId118" Type="http://schemas.openxmlformats.org/officeDocument/2006/relationships/tags" Target="../tags/tag530.xml"/><Relationship Id="rId139" Type="http://schemas.openxmlformats.org/officeDocument/2006/relationships/tags" Target="../tags/tag551.xml"/><Relationship Id="rId85" Type="http://schemas.openxmlformats.org/officeDocument/2006/relationships/tags" Target="../tags/tag497.xml"/><Relationship Id="rId150" Type="http://schemas.openxmlformats.org/officeDocument/2006/relationships/tags" Target="../tags/tag562.xml"/><Relationship Id="rId171" Type="http://schemas.openxmlformats.org/officeDocument/2006/relationships/tags" Target="../tags/tag583.xml"/><Relationship Id="rId12" Type="http://schemas.openxmlformats.org/officeDocument/2006/relationships/tags" Target="../tags/tag424.xml"/><Relationship Id="rId33" Type="http://schemas.openxmlformats.org/officeDocument/2006/relationships/tags" Target="../tags/tag445.xml"/><Relationship Id="rId108" Type="http://schemas.openxmlformats.org/officeDocument/2006/relationships/tags" Target="../tags/tag520.xml"/><Relationship Id="rId129" Type="http://schemas.openxmlformats.org/officeDocument/2006/relationships/tags" Target="../tags/tag541.xml"/><Relationship Id="rId54" Type="http://schemas.openxmlformats.org/officeDocument/2006/relationships/tags" Target="../tags/tag466.xml"/><Relationship Id="rId75" Type="http://schemas.openxmlformats.org/officeDocument/2006/relationships/tags" Target="../tags/tag487.xml"/><Relationship Id="rId96" Type="http://schemas.openxmlformats.org/officeDocument/2006/relationships/tags" Target="../tags/tag508.xml"/><Relationship Id="rId140" Type="http://schemas.openxmlformats.org/officeDocument/2006/relationships/tags" Target="../tags/tag552.xml"/><Relationship Id="rId161" Type="http://schemas.openxmlformats.org/officeDocument/2006/relationships/tags" Target="../tags/tag573.xml"/><Relationship Id="rId182" Type="http://schemas.openxmlformats.org/officeDocument/2006/relationships/slideLayout" Target="../slideLayouts/slideLayout13.xml"/><Relationship Id="rId6" Type="http://schemas.openxmlformats.org/officeDocument/2006/relationships/tags" Target="../tags/tag418.xml"/><Relationship Id="rId23" Type="http://schemas.openxmlformats.org/officeDocument/2006/relationships/tags" Target="../tags/tag435.xml"/><Relationship Id="rId119" Type="http://schemas.openxmlformats.org/officeDocument/2006/relationships/tags" Target="../tags/tag531.xml"/><Relationship Id="rId44" Type="http://schemas.openxmlformats.org/officeDocument/2006/relationships/tags" Target="../tags/tag456.xml"/><Relationship Id="rId65" Type="http://schemas.openxmlformats.org/officeDocument/2006/relationships/tags" Target="../tags/tag477.xml"/><Relationship Id="rId86" Type="http://schemas.openxmlformats.org/officeDocument/2006/relationships/tags" Target="../tags/tag498.xml"/><Relationship Id="rId130" Type="http://schemas.openxmlformats.org/officeDocument/2006/relationships/tags" Target="../tags/tag542.xml"/><Relationship Id="rId151" Type="http://schemas.openxmlformats.org/officeDocument/2006/relationships/tags" Target="../tags/tag563.xml"/><Relationship Id="rId172" Type="http://schemas.openxmlformats.org/officeDocument/2006/relationships/tags" Target="../tags/tag584.xml"/><Relationship Id="rId13" Type="http://schemas.openxmlformats.org/officeDocument/2006/relationships/tags" Target="../tags/tag425.xml"/><Relationship Id="rId18" Type="http://schemas.openxmlformats.org/officeDocument/2006/relationships/tags" Target="../tags/tag430.xml"/><Relationship Id="rId39" Type="http://schemas.openxmlformats.org/officeDocument/2006/relationships/tags" Target="../tags/tag451.xml"/><Relationship Id="rId109" Type="http://schemas.openxmlformats.org/officeDocument/2006/relationships/tags" Target="../tags/tag521.xml"/><Relationship Id="rId34" Type="http://schemas.openxmlformats.org/officeDocument/2006/relationships/tags" Target="../tags/tag446.xml"/><Relationship Id="rId50" Type="http://schemas.openxmlformats.org/officeDocument/2006/relationships/tags" Target="../tags/tag462.xml"/><Relationship Id="rId55" Type="http://schemas.openxmlformats.org/officeDocument/2006/relationships/tags" Target="../tags/tag467.xml"/><Relationship Id="rId76" Type="http://schemas.openxmlformats.org/officeDocument/2006/relationships/tags" Target="../tags/tag488.xml"/><Relationship Id="rId97" Type="http://schemas.openxmlformats.org/officeDocument/2006/relationships/tags" Target="../tags/tag509.xml"/><Relationship Id="rId104" Type="http://schemas.openxmlformats.org/officeDocument/2006/relationships/tags" Target="../tags/tag516.xml"/><Relationship Id="rId120" Type="http://schemas.openxmlformats.org/officeDocument/2006/relationships/tags" Target="../tags/tag532.xml"/><Relationship Id="rId125" Type="http://schemas.openxmlformats.org/officeDocument/2006/relationships/tags" Target="../tags/tag537.xml"/><Relationship Id="rId141" Type="http://schemas.openxmlformats.org/officeDocument/2006/relationships/tags" Target="../tags/tag553.xml"/><Relationship Id="rId146" Type="http://schemas.openxmlformats.org/officeDocument/2006/relationships/tags" Target="../tags/tag558.xml"/><Relationship Id="rId167" Type="http://schemas.openxmlformats.org/officeDocument/2006/relationships/tags" Target="../tags/tag579.xml"/><Relationship Id="rId188" Type="http://schemas.openxmlformats.org/officeDocument/2006/relationships/image" Target="../media/image11.png"/><Relationship Id="rId7" Type="http://schemas.openxmlformats.org/officeDocument/2006/relationships/tags" Target="../tags/tag419.xml"/><Relationship Id="rId71" Type="http://schemas.openxmlformats.org/officeDocument/2006/relationships/tags" Target="../tags/tag483.xml"/><Relationship Id="rId92" Type="http://schemas.openxmlformats.org/officeDocument/2006/relationships/tags" Target="../tags/tag504.xml"/><Relationship Id="rId162" Type="http://schemas.openxmlformats.org/officeDocument/2006/relationships/tags" Target="../tags/tag574.xml"/><Relationship Id="rId183" Type="http://schemas.openxmlformats.org/officeDocument/2006/relationships/notesSlide" Target="../notesSlides/notesSlide7.xml"/><Relationship Id="rId2" Type="http://schemas.openxmlformats.org/officeDocument/2006/relationships/tags" Target="../tags/tag414.xml"/><Relationship Id="rId29" Type="http://schemas.openxmlformats.org/officeDocument/2006/relationships/tags" Target="../tags/tag441.xml"/><Relationship Id="rId24" Type="http://schemas.openxmlformats.org/officeDocument/2006/relationships/tags" Target="../tags/tag436.xml"/><Relationship Id="rId40" Type="http://schemas.openxmlformats.org/officeDocument/2006/relationships/tags" Target="../tags/tag452.xml"/><Relationship Id="rId45" Type="http://schemas.openxmlformats.org/officeDocument/2006/relationships/tags" Target="../tags/tag457.xml"/><Relationship Id="rId66" Type="http://schemas.openxmlformats.org/officeDocument/2006/relationships/tags" Target="../tags/tag478.xml"/><Relationship Id="rId87" Type="http://schemas.openxmlformats.org/officeDocument/2006/relationships/tags" Target="../tags/tag499.xml"/><Relationship Id="rId110" Type="http://schemas.openxmlformats.org/officeDocument/2006/relationships/tags" Target="../tags/tag522.xml"/><Relationship Id="rId115" Type="http://schemas.openxmlformats.org/officeDocument/2006/relationships/tags" Target="../tags/tag527.xml"/><Relationship Id="rId131" Type="http://schemas.openxmlformats.org/officeDocument/2006/relationships/tags" Target="../tags/tag543.xml"/><Relationship Id="rId136" Type="http://schemas.openxmlformats.org/officeDocument/2006/relationships/tags" Target="../tags/tag548.xml"/><Relationship Id="rId157" Type="http://schemas.openxmlformats.org/officeDocument/2006/relationships/tags" Target="../tags/tag569.xml"/><Relationship Id="rId178" Type="http://schemas.openxmlformats.org/officeDocument/2006/relationships/tags" Target="../tags/tag590.xml"/><Relationship Id="rId61" Type="http://schemas.openxmlformats.org/officeDocument/2006/relationships/tags" Target="../tags/tag473.xml"/><Relationship Id="rId82" Type="http://schemas.openxmlformats.org/officeDocument/2006/relationships/tags" Target="../tags/tag494.xml"/><Relationship Id="rId152" Type="http://schemas.openxmlformats.org/officeDocument/2006/relationships/tags" Target="../tags/tag564.xml"/><Relationship Id="rId173" Type="http://schemas.openxmlformats.org/officeDocument/2006/relationships/tags" Target="../tags/tag585.xml"/><Relationship Id="rId19" Type="http://schemas.openxmlformats.org/officeDocument/2006/relationships/tags" Target="../tags/tag431.xml"/><Relationship Id="rId14" Type="http://schemas.openxmlformats.org/officeDocument/2006/relationships/tags" Target="../tags/tag426.xml"/><Relationship Id="rId30" Type="http://schemas.openxmlformats.org/officeDocument/2006/relationships/tags" Target="../tags/tag442.xml"/><Relationship Id="rId35" Type="http://schemas.openxmlformats.org/officeDocument/2006/relationships/tags" Target="../tags/tag447.xml"/><Relationship Id="rId56" Type="http://schemas.openxmlformats.org/officeDocument/2006/relationships/tags" Target="../tags/tag468.xml"/><Relationship Id="rId77" Type="http://schemas.openxmlformats.org/officeDocument/2006/relationships/tags" Target="../tags/tag489.xml"/><Relationship Id="rId100" Type="http://schemas.openxmlformats.org/officeDocument/2006/relationships/tags" Target="../tags/tag512.xml"/><Relationship Id="rId105" Type="http://schemas.openxmlformats.org/officeDocument/2006/relationships/tags" Target="../tags/tag517.xml"/><Relationship Id="rId126" Type="http://schemas.openxmlformats.org/officeDocument/2006/relationships/tags" Target="../tags/tag538.xml"/><Relationship Id="rId147" Type="http://schemas.openxmlformats.org/officeDocument/2006/relationships/tags" Target="../tags/tag559.xml"/><Relationship Id="rId168" Type="http://schemas.openxmlformats.org/officeDocument/2006/relationships/tags" Target="../tags/tag580.xml"/><Relationship Id="rId8" Type="http://schemas.openxmlformats.org/officeDocument/2006/relationships/tags" Target="../tags/tag420.xml"/><Relationship Id="rId51" Type="http://schemas.openxmlformats.org/officeDocument/2006/relationships/tags" Target="../tags/tag463.xml"/><Relationship Id="rId72" Type="http://schemas.openxmlformats.org/officeDocument/2006/relationships/tags" Target="../tags/tag484.xml"/><Relationship Id="rId93" Type="http://schemas.openxmlformats.org/officeDocument/2006/relationships/tags" Target="../tags/tag505.xml"/><Relationship Id="rId98" Type="http://schemas.openxmlformats.org/officeDocument/2006/relationships/tags" Target="../tags/tag510.xml"/><Relationship Id="rId121" Type="http://schemas.openxmlformats.org/officeDocument/2006/relationships/tags" Target="../tags/tag533.xml"/><Relationship Id="rId142" Type="http://schemas.openxmlformats.org/officeDocument/2006/relationships/tags" Target="../tags/tag554.xml"/><Relationship Id="rId163" Type="http://schemas.openxmlformats.org/officeDocument/2006/relationships/tags" Target="../tags/tag575.xml"/><Relationship Id="rId184" Type="http://schemas.openxmlformats.org/officeDocument/2006/relationships/image" Target="../media/image7.png"/><Relationship Id="rId189" Type="http://schemas.openxmlformats.org/officeDocument/2006/relationships/image" Target="../media/image12.svg"/><Relationship Id="rId3" Type="http://schemas.openxmlformats.org/officeDocument/2006/relationships/tags" Target="../tags/tag415.xml"/><Relationship Id="rId25" Type="http://schemas.openxmlformats.org/officeDocument/2006/relationships/tags" Target="../tags/tag437.xml"/><Relationship Id="rId46" Type="http://schemas.openxmlformats.org/officeDocument/2006/relationships/tags" Target="../tags/tag458.xml"/><Relationship Id="rId67" Type="http://schemas.openxmlformats.org/officeDocument/2006/relationships/tags" Target="../tags/tag479.xml"/><Relationship Id="rId116" Type="http://schemas.openxmlformats.org/officeDocument/2006/relationships/tags" Target="../tags/tag528.xml"/><Relationship Id="rId137" Type="http://schemas.openxmlformats.org/officeDocument/2006/relationships/tags" Target="../tags/tag549.xml"/><Relationship Id="rId158" Type="http://schemas.openxmlformats.org/officeDocument/2006/relationships/tags" Target="../tags/tag570.xml"/><Relationship Id="rId20" Type="http://schemas.openxmlformats.org/officeDocument/2006/relationships/tags" Target="../tags/tag432.xml"/><Relationship Id="rId41" Type="http://schemas.openxmlformats.org/officeDocument/2006/relationships/tags" Target="../tags/tag453.xml"/><Relationship Id="rId62" Type="http://schemas.openxmlformats.org/officeDocument/2006/relationships/tags" Target="../tags/tag474.xml"/><Relationship Id="rId83" Type="http://schemas.openxmlformats.org/officeDocument/2006/relationships/tags" Target="../tags/tag495.xml"/><Relationship Id="rId88" Type="http://schemas.openxmlformats.org/officeDocument/2006/relationships/tags" Target="../tags/tag500.xml"/><Relationship Id="rId111" Type="http://schemas.openxmlformats.org/officeDocument/2006/relationships/tags" Target="../tags/tag523.xml"/><Relationship Id="rId132" Type="http://schemas.openxmlformats.org/officeDocument/2006/relationships/tags" Target="../tags/tag544.xml"/><Relationship Id="rId153" Type="http://schemas.openxmlformats.org/officeDocument/2006/relationships/tags" Target="../tags/tag565.xml"/><Relationship Id="rId174" Type="http://schemas.openxmlformats.org/officeDocument/2006/relationships/tags" Target="../tags/tag586.xml"/><Relationship Id="rId179" Type="http://schemas.openxmlformats.org/officeDocument/2006/relationships/tags" Target="../tags/tag591.xml"/><Relationship Id="rId15" Type="http://schemas.openxmlformats.org/officeDocument/2006/relationships/tags" Target="../tags/tag427.xml"/><Relationship Id="rId36" Type="http://schemas.openxmlformats.org/officeDocument/2006/relationships/tags" Target="../tags/tag448.xml"/><Relationship Id="rId57" Type="http://schemas.openxmlformats.org/officeDocument/2006/relationships/tags" Target="../tags/tag469.xml"/><Relationship Id="rId106" Type="http://schemas.openxmlformats.org/officeDocument/2006/relationships/tags" Target="../tags/tag518.xml"/><Relationship Id="rId127" Type="http://schemas.openxmlformats.org/officeDocument/2006/relationships/tags" Target="../tags/tag539.xml"/><Relationship Id="rId10" Type="http://schemas.openxmlformats.org/officeDocument/2006/relationships/tags" Target="../tags/tag422.xml"/><Relationship Id="rId31" Type="http://schemas.openxmlformats.org/officeDocument/2006/relationships/tags" Target="../tags/tag443.xml"/><Relationship Id="rId52" Type="http://schemas.openxmlformats.org/officeDocument/2006/relationships/tags" Target="../tags/tag464.xml"/><Relationship Id="rId73" Type="http://schemas.openxmlformats.org/officeDocument/2006/relationships/tags" Target="../tags/tag485.xml"/><Relationship Id="rId78" Type="http://schemas.openxmlformats.org/officeDocument/2006/relationships/tags" Target="../tags/tag490.xml"/><Relationship Id="rId94" Type="http://schemas.openxmlformats.org/officeDocument/2006/relationships/tags" Target="../tags/tag506.xml"/><Relationship Id="rId99" Type="http://schemas.openxmlformats.org/officeDocument/2006/relationships/tags" Target="../tags/tag511.xml"/><Relationship Id="rId101" Type="http://schemas.openxmlformats.org/officeDocument/2006/relationships/tags" Target="../tags/tag513.xml"/><Relationship Id="rId122" Type="http://schemas.openxmlformats.org/officeDocument/2006/relationships/tags" Target="../tags/tag534.xml"/><Relationship Id="rId143" Type="http://schemas.openxmlformats.org/officeDocument/2006/relationships/tags" Target="../tags/tag555.xml"/><Relationship Id="rId148" Type="http://schemas.openxmlformats.org/officeDocument/2006/relationships/tags" Target="../tags/tag560.xml"/><Relationship Id="rId164" Type="http://schemas.openxmlformats.org/officeDocument/2006/relationships/tags" Target="../tags/tag576.xml"/><Relationship Id="rId169" Type="http://schemas.openxmlformats.org/officeDocument/2006/relationships/tags" Target="../tags/tag581.xml"/><Relationship Id="rId185" Type="http://schemas.openxmlformats.org/officeDocument/2006/relationships/image" Target="../media/image8.svg"/><Relationship Id="rId4" Type="http://schemas.openxmlformats.org/officeDocument/2006/relationships/tags" Target="../tags/tag416.xml"/><Relationship Id="rId9" Type="http://schemas.openxmlformats.org/officeDocument/2006/relationships/tags" Target="../tags/tag421.xml"/><Relationship Id="rId180" Type="http://schemas.openxmlformats.org/officeDocument/2006/relationships/tags" Target="../tags/tag592.xml"/><Relationship Id="rId26" Type="http://schemas.openxmlformats.org/officeDocument/2006/relationships/tags" Target="../tags/tag438.xml"/><Relationship Id="rId47" Type="http://schemas.openxmlformats.org/officeDocument/2006/relationships/tags" Target="../tags/tag459.xml"/><Relationship Id="rId68" Type="http://schemas.openxmlformats.org/officeDocument/2006/relationships/tags" Target="../tags/tag480.xml"/><Relationship Id="rId89" Type="http://schemas.openxmlformats.org/officeDocument/2006/relationships/tags" Target="../tags/tag501.xml"/><Relationship Id="rId112" Type="http://schemas.openxmlformats.org/officeDocument/2006/relationships/tags" Target="../tags/tag524.xml"/><Relationship Id="rId133" Type="http://schemas.openxmlformats.org/officeDocument/2006/relationships/tags" Target="../tags/tag545.xml"/><Relationship Id="rId154" Type="http://schemas.openxmlformats.org/officeDocument/2006/relationships/tags" Target="../tags/tag566.xml"/><Relationship Id="rId175" Type="http://schemas.openxmlformats.org/officeDocument/2006/relationships/tags" Target="../tags/tag587.xml"/><Relationship Id="rId16" Type="http://schemas.openxmlformats.org/officeDocument/2006/relationships/tags" Target="../tags/tag428.xml"/><Relationship Id="rId37" Type="http://schemas.openxmlformats.org/officeDocument/2006/relationships/tags" Target="../tags/tag449.xml"/><Relationship Id="rId58" Type="http://schemas.openxmlformats.org/officeDocument/2006/relationships/tags" Target="../tags/tag470.xml"/><Relationship Id="rId79" Type="http://schemas.openxmlformats.org/officeDocument/2006/relationships/tags" Target="../tags/tag491.xml"/><Relationship Id="rId102" Type="http://schemas.openxmlformats.org/officeDocument/2006/relationships/tags" Target="../tags/tag514.xml"/><Relationship Id="rId123" Type="http://schemas.openxmlformats.org/officeDocument/2006/relationships/tags" Target="../tags/tag535.xml"/><Relationship Id="rId144" Type="http://schemas.openxmlformats.org/officeDocument/2006/relationships/tags" Target="../tags/tag556.xml"/><Relationship Id="rId90" Type="http://schemas.openxmlformats.org/officeDocument/2006/relationships/tags" Target="../tags/tag502.xml"/><Relationship Id="rId165" Type="http://schemas.openxmlformats.org/officeDocument/2006/relationships/tags" Target="../tags/tag577.xml"/><Relationship Id="rId186" Type="http://schemas.openxmlformats.org/officeDocument/2006/relationships/image" Target="../media/image9.png"/><Relationship Id="rId27" Type="http://schemas.openxmlformats.org/officeDocument/2006/relationships/tags" Target="../tags/tag439.xml"/><Relationship Id="rId48" Type="http://schemas.openxmlformats.org/officeDocument/2006/relationships/tags" Target="../tags/tag460.xml"/><Relationship Id="rId69" Type="http://schemas.openxmlformats.org/officeDocument/2006/relationships/tags" Target="../tags/tag481.xml"/><Relationship Id="rId113" Type="http://schemas.openxmlformats.org/officeDocument/2006/relationships/tags" Target="../tags/tag525.xml"/><Relationship Id="rId134" Type="http://schemas.openxmlformats.org/officeDocument/2006/relationships/tags" Target="../tags/tag546.xml"/><Relationship Id="rId80" Type="http://schemas.openxmlformats.org/officeDocument/2006/relationships/tags" Target="../tags/tag492.xml"/><Relationship Id="rId155" Type="http://schemas.openxmlformats.org/officeDocument/2006/relationships/tags" Target="../tags/tag567.xml"/><Relationship Id="rId176" Type="http://schemas.openxmlformats.org/officeDocument/2006/relationships/tags" Target="../tags/tag588.xml"/><Relationship Id="rId17" Type="http://schemas.openxmlformats.org/officeDocument/2006/relationships/tags" Target="../tags/tag429.xml"/><Relationship Id="rId38" Type="http://schemas.openxmlformats.org/officeDocument/2006/relationships/tags" Target="../tags/tag450.xml"/><Relationship Id="rId59" Type="http://schemas.openxmlformats.org/officeDocument/2006/relationships/tags" Target="../tags/tag471.xml"/><Relationship Id="rId103" Type="http://schemas.openxmlformats.org/officeDocument/2006/relationships/tags" Target="../tags/tag515.xml"/><Relationship Id="rId124" Type="http://schemas.openxmlformats.org/officeDocument/2006/relationships/tags" Target="../tags/tag536.xml"/><Relationship Id="rId70" Type="http://schemas.openxmlformats.org/officeDocument/2006/relationships/tags" Target="../tags/tag482.xml"/><Relationship Id="rId91" Type="http://schemas.openxmlformats.org/officeDocument/2006/relationships/tags" Target="../tags/tag503.xml"/><Relationship Id="rId145" Type="http://schemas.openxmlformats.org/officeDocument/2006/relationships/tags" Target="../tags/tag557.xml"/><Relationship Id="rId166" Type="http://schemas.openxmlformats.org/officeDocument/2006/relationships/tags" Target="../tags/tag578.xml"/><Relationship Id="rId187" Type="http://schemas.openxmlformats.org/officeDocument/2006/relationships/image" Target="../media/image10.svg"/><Relationship Id="rId1" Type="http://schemas.openxmlformats.org/officeDocument/2006/relationships/tags" Target="../tags/tag413.xml"/><Relationship Id="rId28" Type="http://schemas.openxmlformats.org/officeDocument/2006/relationships/tags" Target="../tags/tag440.xml"/><Relationship Id="rId49" Type="http://schemas.openxmlformats.org/officeDocument/2006/relationships/tags" Target="../tags/tag461.xml"/><Relationship Id="rId114" Type="http://schemas.openxmlformats.org/officeDocument/2006/relationships/tags" Target="../tags/tag526.xml"/><Relationship Id="rId60" Type="http://schemas.openxmlformats.org/officeDocument/2006/relationships/tags" Target="../tags/tag472.xml"/><Relationship Id="rId81" Type="http://schemas.openxmlformats.org/officeDocument/2006/relationships/tags" Target="../tags/tag493.xml"/><Relationship Id="rId135" Type="http://schemas.openxmlformats.org/officeDocument/2006/relationships/tags" Target="../tags/tag547.xml"/><Relationship Id="rId156" Type="http://schemas.openxmlformats.org/officeDocument/2006/relationships/tags" Target="../tags/tag568.xml"/><Relationship Id="rId177" Type="http://schemas.openxmlformats.org/officeDocument/2006/relationships/tags" Target="../tags/tag589.xml"/></Relationships>
</file>

<file path=ppt/slides/_rels/slide8.xml.rels><?xml version="1.0" encoding="UTF-8" standalone="yes"?>
<Relationships xmlns="http://schemas.openxmlformats.org/package/2006/relationships"><Relationship Id="rId13" Type="http://schemas.openxmlformats.org/officeDocument/2006/relationships/tags" Target="../tags/tag609.xml"/><Relationship Id="rId18" Type="http://schemas.openxmlformats.org/officeDocument/2006/relationships/tags" Target="../tags/tag614.xml"/><Relationship Id="rId26" Type="http://schemas.openxmlformats.org/officeDocument/2006/relationships/tags" Target="../tags/tag622.xml"/><Relationship Id="rId39" Type="http://schemas.openxmlformats.org/officeDocument/2006/relationships/tags" Target="../tags/tag635.xml"/><Relationship Id="rId21" Type="http://schemas.openxmlformats.org/officeDocument/2006/relationships/tags" Target="../tags/tag617.xml"/><Relationship Id="rId34" Type="http://schemas.openxmlformats.org/officeDocument/2006/relationships/tags" Target="../tags/tag630.xml"/><Relationship Id="rId42" Type="http://schemas.openxmlformats.org/officeDocument/2006/relationships/tags" Target="../tags/tag638.xml"/><Relationship Id="rId47" Type="http://schemas.openxmlformats.org/officeDocument/2006/relationships/tags" Target="../tags/tag643.xml"/><Relationship Id="rId50" Type="http://schemas.openxmlformats.org/officeDocument/2006/relationships/tags" Target="../tags/tag646.xml"/><Relationship Id="rId55" Type="http://schemas.openxmlformats.org/officeDocument/2006/relationships/tags" Target="../tags/tag651.xml"/><Relationship Id="rId7" Type="http://schemas.openxmlformats.org/officeDocument/2006/relationships/tags" Target="../tags/tag603.xml"/><Relationship Id="rId2" Type="http://schemas.openxmlformats.org/officeDocument/2006/relationships/tags" Target="../tags/tag598.xml"/><Relationship Id="rId16" Type="http://schemas.openxmlformats.org/officeDocument/2006/relationships/tags" Target="../tags/tag612.xml"/><Relationship Id="rId29" Type="http://schemas.openxmlformats.org/officeDocument/2006/relationships/tags" Target="../tags/tag625.xml"/><Relationship Id="rId11" Type="http://schemas.openxmlformats.org/officeDocument/2006/relationships/tags" Target="../tags/tag607.xml"/><Relationship Id="rId24" Type="http://schemas.openxmlformats.org/officeDocument/2006/relationships/tags" Target="../tags/tag620.xml"/><Relationship Id="rId32" Type="http://schemas.openxmlformats.org/officeDocument/2006/relationships/tags" Target="../tags/tag628.xml"/><Relationship Id="rId37" Type="http://schemas.openxmlformats.org/officeDocument/2006/relationships/tags" Target="../tags/tag633.xml"/><Relationship Id="rId40" Type="http://schemas.openxmlformats.org/officeDocument/2006/relationships/tags" Target="../tags/tag636.xml"/><Relationship Id="rId45" Type="http://schemas.openxmlformats.org/officeDocument/2006/relationships/tags" Target="../tags/tag641.xml"/><Relationship Id="rId53" Type="http://schemas.openxmlformats.org/officeDocument/2006/relationships/tags" Target="../tags/tag649.xml"/><Relationship Id="rId58" Type="http://schemas.openxmlformats.org/officeDocument/2006/relationships/tags" Target="../tags/tag654.xml"/><Relationship Id="rId5" Type="http://schemas.openxmlformats.org/officeDocument/2006/relationships/tags" Target="../tags/tag601.xml"/><Relationship Id="rId61" Type="http://schemas.openxmlformats.org/officeDocument/2006/relationships/notesSlide" Target="../notesSlides/notesSlide8.xml"/><Relationship Id="rId19" Type="http://schemas.openxmlformats.org/officeDocument/2006/relationships/tags" Target="../tags/tag615.xml"/><Relationship Id="rId14" Type="http://schemas.openxmlformats.org/officeDocument/2006/relationships/tags" Target="../tags/tag610.xml"/><Relationship Id="rId22" Type="http://schemas.openxmlformats.org/officeDocument/2006/relationships/tags" Target="../tags/tag618.xml"/><Relationship Id="rId27" Type="http://schemas.openxmlformats.org/officeDocument/2006/relationships/tags" Target="../tags/tag623.xml"/><Relationship Id="rId30" Type="http://schemas.openxmlformats.org/officeDocument/2006/relationships/tags" Target="../tags/tag626.xml"/><Relationship Id="rId35" Type="http://schemas.openxmlformats.org/officeDocument/2006/relationships/tags" Target="../tags/tag631.xml"/><Relationship Id="rId43" Type="http://schemas.openxmlformats.org/officeDocument/2006/relationships/tags" Target="../tags/tag639.xml"/><Relationship Id="rId48" Type="http://schemas.openxmlformats.org/officeDocument/2006/relationships/tags" Target="../tags/tag644.xml"/><Relationship Id="rId56" Type="http://schemas.openxmlformats.org/officeDocument/2006/relationships/tags" Target="../tags/tag652.xml"/><Relationship Id="rId8" Type="http://schemas.openxmlformats.org/officeDocument/2006/relationships/tags" Target="../tags/tag604.xml"/><Relationship Id="rId51" Type="http://schemas.openxmlformats.org/officeDocument/2006/relationships/tags" Target="../tags/tag647.xml"/><Relationship Id="rId3" Type="http://schemas.openxmlformats.org/officeDocument/2006/relationships/tags" Target="../tags/tag599.xml"/><Relationship Id="rId12" Type="http://schemas.openxmlformats.org/officeDocument/2006/relationships/tags" Target="../tags/tag608.xml"/><Relationship Id="rId17" Type="http://schemas.openxmlformats.org/officeDocument/2006/relationships/tags" Target="../tags/tag613.xml"/><Relationship Id="rId25" Type="http://schemas.openxmlformats.org/officeDocument/2006/relationships/tags" Target="../tags/tag621.xml"/><Relationship Id="rId33" Type="http://schemas.openxmlformats.org/officeDocument/2006/relationships/tags" Target="../tags/tag629.xml"/><Relationship Id="rId38" Type="http://schemas.openxmlformats.org/officeDocument/2006/relationships/tags" Target="../tags/tag634.xml"/><Relationship Id="rId46" Type="http://schemas.openxmlformats.org/officeDocument/2006/relationships/tags" Target="../tags/tag642.xml"/><Relationship Id="rId59" Type="http://schemas.openxmlformats.org/officeDocument/2006/relationships/tags" Target="../tags/tag655.xml"/><Relationship Id="rId20" Type="http://schemas.openxmlformats.org/officeDocument/2006/relationships/tags" Target="../tags/tag616.xml"/><Relationship Id="rId41" Type="http://schemas.openxmlformats.org/officeDocument/2006/relationships/tags" Target="../tags/tag637.xml"/><Relationship Id="rId54" Type="http://schemas.openxmlformats.org/officeDocument/2006/relationships/tags" Target="../tags/tag650.xml"/><Relationship Id="rId1" Type="http://schemas.openxmlformats.org/officeDocument/2006/relationships/tags" Target="../tags/tag597.xml"/><Relationship Id="rId6" Type="http://schemas.openxmlformats.org/officeDocument/2006/relationships/tags" Target="../tags/tag602.xml"/><Relationship Id="rId15" Type="http://schemas.openxmlformats.org/officeDocument/2006/relationships/tags" Target="../tags/tag611.xml"/><Relationship Id="rId23" Type="http://schemas.openxmlformats.org/officeDocument/2006/relationships/tags" Target="../tags/tag619.xml"/><Relationship Id="rId28" Type="http://schemas.openxmlformats.org/officeDocument/2006/relationships/tags" Target="../tags/tag624.xml"/><Relationship Id="rId36" Type="http://schemas.openxmlformats.org/officeDocument/2006/relationships/tags" Target="../tags/tag632.xml"/><Relationship Id="rId49" Type="http://schemas.openxmlformats.org/officeDocument/2006/relationships/tags" Target="../tags/tag645.xml"/><Relationship Id="rId57" Type="http://schemas.openxmlformats.org/officeDocument/2006/relationships/tags" Target="../tags/tag653.xml"/><Relationship Id="rId10" Type="http://schemas.openxmlformats.org/officeDocument/2006/relationships/tags" Target="../tags/tag606.xml"/><Relationship Id="rId31" Type="http://schemas.openxmlformats.org/officeDocument/2006/relationships/tags" Target="../tags/tag627.xml"/><Relationship Id="rId44" Type="http://schemas.openxmlformats.org/officeDocument/2006/relationships/tags" Target="../tags/tag640.xml"/><Relationship Id="rId52" Type="http://schemas.openxmlformats.org/officeDocument/2006/relationships/tags" Target="../tags/tag648.xml"/><Relationship Id="rId60" Type="http://schemas.openxmlformats.org/officeDocument/2006/relationships/slideLayout" Target="../slideLayouts/slideLayout15.xml"/><Relationship Id="rId4" Type="http://schemas.openxmlformats.org/officeDocument/2006/relationships/tags" Target="../tags/tag600.xml"/><Relationship Id="rId9" Type="http://schemas.openxmlformats.org/officeDocument/2006/relationships/tags" Target="../tags/tag60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60.xml"/><Relationship Id="rId1" Type="http://schemas.openxmlformats.org/officeDocument/2006/relationships/tags" Target="../tags/tag659.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2" name="Bildplatzhalter 25">
            <a:extLst>
              <a:ext uri="{FF2B5EF4-FFF2-40B4-BE49-F238E27FC236}">
                <a16:creationId xmlns:a16="http://schemas.microsoft.com/office/drawing/2014/main" id="{50CCF09C-CC01-446F-848D-205CC34CCCE5}"/>
              </a:ext>
            </a:extLst>
          </p:cNvPr>
          <p:cNvPicPr>
            <a:picLocks noChangeAspect="1"/>
          </p:cNvPicPr>
          <p:nvPr>
            <p:custDataLst>
              <p:tags r:id="rId1"/>
            </p:custDataLst>
          </p:nvPr>
        </p:nvPicPr>
        <p:blipFill>
          <a:blip r:embed="rId8"/>
          <a:stretch>
            <a:fillRect/>
          </a:stretch>
        </p:blipFill>
        <p:spPr>
          <a:xfrm>
            <a:off x="4902228" y="0"/>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pic>
      <p:sp>
        <p:nvSpPr>
          <p:cNvPr id="5" name="Titel 4">
            <a:extLst>
              <a:ext uri="{FF2B5EF4-FFF2-40B4-BE49-F238E27FC236}">
                <a16:creationId xmlns:a16="http://schemas.microsoft.com/office/drawing/2014/main" id="{554D8F85-9FE9-C779-811B-7B150FE0E885}"/>
              </a:ext>
            </a:extLst>
          </p:cNvPr>
          <p:cNvSpPr>
            <a:spLocks noGrp="1"/>
          </p:cNvSpPr>
          <p:nvPr>
            <p:ph type="ctrTitle"/>
            <p:custDataLst>
              <p:tags r:id="rId2"/>
            </p:custDataLst>
          </p:nvPr>
        </p:nvSpPr>
        <p:spPr/>
        <p:txBody>
          <a:bodyPr/>
          <a:lstStyle/>
          <a:p>
            <a:r>
              <a:rPr lang="pl-PL" dirty="0"/>
              <a:t>Najważniejsze informacje </a:t>
            </a:r>
            <a:br>
              <a:rPr lang="pl-PL" dirty="0"/>
            </a:br>
            <a:r>
              <a:rPr lang="pl-PL" dirty="0"/>
              <a:t>o dawstwie szpiku</a:t>
            </a:r>
          </a:p>
        </p:txBody>
      </p:sp>
      <p:sp>
        <p:nvSpPr>
          <p:cNvPr id="6" name="Untertitel 5">
            <a:extLst>
              <a:ext uri="{FF2B5EF4-FFF2-40B4-BE49-F238E27FC236}">
                <a16:creationId xmlns:a16="http://schemas.microsoft.com/office/drawing/2014/main" id="{4C0BFCD0-432A-A836-66F2-97657FE4AF16}"/>
              </a:ext>
            </a:extLst>
          </p:cNvPr>
          <p:cNvSpPr>
            <a:spLocks noGrp="1"/>
          </p:cNvSpPr>
          <p:nvPr>
            <p:ph type="subTitle" idx="1"/>
            <p:custDataLst>
              <p:tags r:id="rId3"/>
            </p:custDataLst>
          </p:nvPr>
        </p:nvSpPr>
        <p:spPr/>
        <p:txBody>
          <a:bodyPr/>
          <a:lstStyle/>
          <a:p>
            <a:r>
              <a:rPr lang="pl-PL" noProof="0" dirty="0"/>
              <a:t>Prezentacja w ramach projektu #KOMÓRKOMANIA 2024/2025</a:t>
            </a:r>
          </a:p>
        </p:txBody>
      </p:sp>
      <p:sp>
        <p:nvSpPr>
          <p:cNvPr id="11" name="Textplatzhalter 10">
            <a:extLst>
              <a:ext uri="{FF2B5EF4-FFF2-40B4-BE49-F238E27FC236}">
                <a16:creationId xmlns:a16="http://schemas.microsoft.com/office/drawing/2014/main" id="{9467F3AE-1675-250E-EAA1-54C34F4A830A}"/>
              </a:ext>
            </a:extLst>
          </p:cNvPr>
          <p:cNvSpPr>
            <a:spLocks noGrp="1"/>
          </p:cNvSpPr>
          <p:nvPr>
            <p:ph type="body" sz="quarter" idx="13"/>
            <p:custDataLst>
              <p:tags r:id="rId4"/>
            </p:custDataLst>
          </p:nvPr>
        </p:nvSpPr>
        <p:spPr>
          <a:xfrm>
            <a:off x="4902228" y="0"/>
            <a:ext cx="7289772" cy="6858000"/>
          </a:xfrm>
          <a:solidFill>
            <a:schemeClr val="accent1">
              <a:alpha val="30000"/>
            </a:schemeClr>
          </a:solidFill>
        </p:spPr>
        <p:txBody>
          <a:bodyPr/>
          <a:lstStyle/>
          <a:p>
            <a:endParaRPr lang="pl-PL" dirty="0"/>
          </a:p>
        </p:txBody>
      </p:sp>
      <p:sp>
        <p:nvSpPr>
          <p:cNvPr id="2" name="Datumsplatzhalter 1">
            <a:extLst>
              <a:ext uri="{FF2B5EF4-FFF2-40B4-BE49-F238E27FC236}">
                <a16:creationId xmlns:a16="http://schemas.microsoft.com/office/drawing/2014/main" id="{784BB015-A1A2-7CD3-3D58-EC9373F6704B}"/>
              </a:ext>
            </a:extLst>
          </p:cNvPr>
          <p:cNvSpPr>
            <a:spLocks noGrp="1"/>
          </p:cNvSpPr>
          <p:nvPr>
            <p:ph type="dt" sz="half" idx="14"/>
            <p:custDataLst>
              <p:tags r:id="rId5"/>
            </p:custDataLst>
          </p:nvPr>
        </p:nvSpPr>
        <p:spPr/>
        <p:txBody>
          <a:bodyPr/>
          <a:lstStyle/>
          <a:p>
            <a:r>
              <a:rPr lang="pl-PL"/>
              <a:t>06.11.2024</a:t>
            </a:r>
            <a:endParaRPr lang="pl-PL" dirty="0"/>
          </a:p>
        </p:txBody>
      </p:sp>
      <p:pic>
        <p:nvPicPr>
          <p:cNvPr id="3" name="Obraz 2">
            <a:extLst>
              <a:ext uri="{FF2B5EF4-FFF2-40B4-BE49-F238E27FC236}">
                <a16:creationId xmlns:a16="http://schemas.microsoft.com/office/drawing/2014/main" id="{4EC48C23-F690-4561-8545-5E2CB0A54BCE}"/>
              </a:ext>
            </a:extLst>
          </p:cNvPr>
          <p:cNvPicPr>
            <a:picLocks noChangeAspect="1"/>
          </p:cNvPicPr>
          <p:nvPr/>
        </p:nvPicPr>
        <p:blipFill>
          <a:blip r:embed="rId9"/>
          <a:stretch>
            <a:fillRect/>
          </a:stretch>
        </p:blipFill>
        <p:spPr>
          <a:xfrm>
            <a:off x="3274455" y="278431"/>
            <a:ext cx="1627773" cy="1036410"/>
          </a:xfrm>
          <a:prstGeom prst="rect">
            <a:avLst/>
          </a:prstGeom>
        </p:spPr>
      </p:pic>
    </p:spTree>
    <p:extLst>
      <p:ext uri="{BB962C8B-B14F-4D97-AF65-F5344CB8AC3E}">
        <p14:creationId xmlns:p14="http://schemas.microsoft.com/office/powerpoint/2010/main" val="3244665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noProof="0" dirty="0"/>
              <a:t>Co 40 minut…</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3"/>
            </p:custDataLst>
          </p:nvPr>
        </p:nvSpPr>
        <p:spPr>
          <a:xfrm>
            <a:off x="5135200" y="3089519"/>
            <a:ext cx="6696438" cy="3206778"/>
          </a:xfrm>
        </p:spPr>
        <p:txBody>
          <a:bodyPr/>
          <a:lstStyle/>
          <a:p>
            <a:pPr lvl="0"/>
            <a:endParaRPr lang="pl-PL" dirty="0"/>
          </a:p>
          <a:p>
            <a:pPr lvl="0"/>
            <a:r>
              <a:rPr lang="pl-PL" dirty="0"/>
              <a:t>Dla wielu chorych jedyną szansą na życie jest przeszczepienie komórek macierzystych z krwi lub szpiku od Dawcy niespokrewnionego.</a:t>
            </a:r>
          </a:p>
          <a:p>
            <a:pPr lvl="0"/>
            <a:endParaRPr lang="pl-PL" dirty="0"/>
          </a:p>
          <a:p>
            <a:pPr lvl="0"/>
            <a:r>
              <a:rPr lang="pl-PL" dirty="0"/>
              <a:t>Jednak aż co piąty polski Pacjent nie może znaleźć swojego Dawcy, dlatego tak ważne jest, aby do grona potencjalnych Dawców krwiotwórczych komórek macierzystych dołączały nowe osoby, gotowe </a:t>
            </a:r>
            <a:br>
              <a:rPr lang="pl-PL" dirty="0"/>
            </a:br>
            <a:r>
              <a:rPr lang="pl-PL" dirty="0"/>
              <a:t>do podzielenia się cząstką siebie.</a:t>
            </a:r>
          </a:p>
        </p:txBody>
      </p:sp>
      <p:sp>
        <p:nvSpPr>
          <p:cNvPr id="3" name="Datumsplatzhalter 2">
            <a:extLst>
              <a:ext uri="{FF2B5EF4-FFF2-40B4-BE49-F238E27FC236}">
                <a16:creationId xmlns:a16="http://schemas.microsoft.com/office/drawing/2014/main" id="{A64398D0-3A54-F411-9206-D163DD877287}"/>
              </a:ext>
            </a:extLst>
          </p:cNvPr>
          <p:cNvSpPr>
            <a:spLocks noGrp="1"/>
          </p:cNvSpPr>
          <p:nvPr>
            <p:ph type="dt" sz="half" idx="19"/>
            <p:custDataLst>
              <p:tags r:id="rId4"/>
            </p:custDataLst>
          </p:nvPr>
        </p:nvSpPr>
        <p:spPr/>
        <p:txBody>
          <a:bodyPr/>
          <a:lstStyle/>
          <a:p>
            <a:r>
              <a:rPr lang="pl-PL"/>
              <a:t>06.11.2024</a:t>
            </a:r>
            <a:endParaRPr lang="pl-PL" dirty="0"/>
          </a:p>
        </p:txBody>
      </p:sp>
      <p:pic>
        <p:nvPicPr>
          <p:cNvPr id="8" name="Picture Placeholder 7">
            <a:extLst>
              <a:ext uri="{FF2B5EF4-FFF2-40B4-BE49-F238E27FC236}">
                <a16:creationId xmlns:a16="http://schemas.microsoft.com/office/drawing/2014/main" id="{C71B9191-831F-4329-AC4E-F715A17C88EE}"/>
              </a:ext>
            </a:extLst>
          </p:cNvPr>
          <p:cNvPicPr>
            <a:picLocks noGrp="1" noChangeAspect="1"/>
          </p:cNvPicPr>
          <p:nvPr>
            <p:ph type="pic" sz="quarter" idx="18"/>
          </p:nvPr>
        </p:nvPicPr>
        <p:blipFill rotWithShape="1">
          <a:blip r:embed="rId7"/>
          <a:srcRect l="-13975" t="-55563" r="-6831" b="-55563"/>
          <a:stretch/>
        </p:blipFill>
        <p:spPr>
          <a:xfrm>
            <a:off x="540000" y="0"/>
            <a:ext cx="4235200" cy="6858000"/>
          </a:xfrm>
          <a:solidFill>
            <a:schemeClr val="bg1"/>
          </a:solidFill>
          <a:ln>
            <a:noFill/>
          </a:ln>
        </p:spPr>
      </p:pic>
      <p:pic>
        <p:nvPicPr>
          <p:cNvPr id="12" name="Grafik 20">
            <a:extLst>
              <a:ext uri="{FF2B5EF4-FFF2-40B4-BE49-F238E27FC236}">
                <a16:creationId xmlns:a16="http://schemas.microsoft.com/office/drawing/2014/main" id="{6D02CEA1-F162-4766-9BF6-0440389E43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5200" y="1852697"/>
            <a:ext cx="765788" cy="598609"/>
          </a:xfrm>
          <a:prstGeom prst="rect">
            <a:avLst/>
          </a:prstGeom>
        </p:spPr>
      </p:pic>
      <p:sp>
        <p:nvSpPr>
          <p:cNvPr id="9" name="Rectangle 8">
            <a:extLst>
              <a:ext uri="{FF2B5EF4-FFF2-40B4-BE49-F238E27FC236}">
                <a16:creationId xmlns:a16="http://schemas.microsoft.com/office/drawing/2014/main" id="{57FC3E7D-7773-4826-9A5E-1C2FAFD037EE}"/>
              </a:ext>
            </a:extLst>
          </p:cNvPr>
          <p:cNvSpPr/>
          <p:nvPr/>
        </p:nvSpPr>
        <p:spPr>
          <a:xfrm>
            <a:off x="6096000" y="1798058"/>
            <a:ext cx="6096000" cy="707886"/>
          </a:xfrm>
          <a:prstGeom prst="rect">
            <a:avLst/>
          </a:prstGeom>
        </p:spPr>
        <p:txBody>
          <a:bodyPr>
            <a:spAutoFit/>
          </a:bodyPr>
          <a:lstStyle/>
          <a:p>
            <a:r>
              <a:rPr lang="pl-PL" altLang="en-US" sz="2000" b="1" dirty="0">
                <a:solidFill>
                  <a:schemeClr val="accent1"/>
                </a:solidFill>
              </a:rPr>
              <a:t>W Polsce co 40 minut ktoś dowiaduje się, </a:t>
            </a:r>
            <a:br>
              <a:rPr lang="pl-PL" altLang="en-US" sz="2000" b="1" dirty="0">
                <a:solidFill>
                  <a:schemeClr val="accent1"/>
                </a:solidFill>
              </a:rPr>
            </a:br>
            <a:r>
              <a:rPr lang="pl-PL" altLang="en-US" sz="2000" b="1" dirty="0">
                <a:solidFill>
                  <a:schemeClr val="accent1"/>
                </a:solidFill>
              </a:rPr>
              <a:t>że ma białaczkę lub inny nowotwór krwi. </a:t>
            </a:r>
          </a:p>
        </p:txBody>
      </p:sp>
    </p:spTree>
    <p:extLst>
      <p:ext uri="{BB962C8B-B14F-4D97-AF65-F5344CB8AC3E}">
        <p14:creationId xmlns:p14="http://schemas.microsoft.com/office/powerpoint/2010/main" val="1912886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960576" y="1542582"/>
            <a:ext cx="1889984" cy="721235"/>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Osoba świadoma </a:t>
            </a:r>
          </a:p>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swojej decyzji</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Kto może zostać potencjalnym Dawcą szpiku?</a:t>
            </a:r>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pl-PL"/>
              <a:t>06.11.2024</a:t>
            </a:r>
            <a:endParaRPr lang="pl-PL" dirty="0"/>
          </a:p>
        </p:txBody>
      </p:sp>
      <p:sp>
        <p:nvSpPr>
          <p:cNvPr id="11" name="Inhaltsplatzhalter 24">
            <a:extLst>
              <a:ext uri="{FF2B5EF4-FFF2-40B4-BE49-F238E27FC236}">
                <a16:creationId xmlns:a16="http://schemas.microsoft.com/office/drawing/2014/main" id="{127545F9-9C3A-4BC5-8327-F1EE8C85364A}"/>
              </a:ext>
            </a:extLst>
          </p:cNvPr>
          <p:cNvSpPr txBox="1">
            <a:spLocks/>
          </p:cNvSpPr>
          <p:nvPr>
            <p:custDataLst>
              <p:tags r:id="rId5"/>
            </p:custDataLst>
          </p:nvPr>
        </p:nvSpPr>
        <p:spPr>
          <a:xfrm>
            <a:off x="1072827" y="3062750"/>
            <a:ext cx="2965022" cy="855261"/>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Udzielająca zgody </a:t>
            </a:r>
            <a:br>
              <a:rPr lang="pl-PL" dirty="0"/>
            </a:br>
            <a:r>
              <a:rPr lang="pl-PL" dirty="0"/>
              <a:t>na pobranie komórek macierzystych lub szpiku</a:t>
            </a:r>
          </a:p>
        </p:txBody>
      </p:sp>
      <p:sp>
        <p:nvSpPr>
          <p:cNvPr id="12" name="Inhaltsplatzhalter 24">
            <a:extLst>
              <a:ext uri="{FF2B5EF4-FFF2-40B4-BE49-F238E27FC236}">
                <a16:creationId xmlns:a16="http://schemas.microsoft.com/office/drawing/2014/main" id="{84577894-8E0F-4B16-A002-9310254E6573}"/>
              </a:ext>
            </a:extLst>
          </p:cNvPr>
          <p:cNvSpPr txBox="1">
            <a:spLocks/>
          </p:cNvSpPr>
          <p:nvPr>
            <p:custDataLst>
              <p:tags r:id="rId6"/>
            </p:custDataLst>
          </p:nvPr>
        </p:nvSpPr>
        <p:spPr>
          <a:xfrm>
            <a:off x="2018353" y="4716944"/>
            <a:ext cx="2019496" cy="876408"/>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O wskaźniku masy </a:t>
            </a:r>
            <a:br>
              <a:rPr lang="pl-PL" dirty="0"/>
            </a:br>
            <a:r>
              <a:rPr lang="pl-PL" dirty="0"/>
              <a:t>ciała nie wyższym </a:t>
            </a:r>
            <a:br>
              <a:rPr lang="pl-PL" dirty="0"/>
            </a:br>
            <a:r>
              <a:rPr lang="pl-PL" dirty="0"/>
              <a:t>niż 40 BMI</a:t>
            </a:r>
          </a:p>
        </p:txBody>
      </p:sp>
      <p:sp>
        <p:nvSpPr>
          <p:cNvPr id="13" name="Inhaltsplatzhalter 24">
            <a:extLst>
              <a:ext uri="{FF2B5EF4-FFF2-40B4-BE49-F238E27FC236}">
                <a16:creationId xmlns:a16="http://schemas.microsoft.com/office/drawing/2014/main" id="{C7F2AB83-E071-46D9-8C83-574AA9B01D33}"/>
              </a:ext>
            </a:extLst>
          </p:cNvPr>
          <p:cNvSpPr txBox="1">
            <a:spLocks/>
          </p:cNvSpPr>
          <p:nvPr>
            <p:custDataLst>
              <p:tags r:id="rId7"/>
            </p:custDataLst>
          </p:nvPr>
        </p:nvSpPr>
        <p:spPr>
          <a:xfrm>
            <a:off x="8686717" y="5103175"/>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W przedziale </a:t>
            </a:r>
            <a:br>
              <a:rPr lang="pl-PL" dirty="0"/>
            </a:br>
            <a:r>
              <a:rPr lang="pl-PL" dirty="0"/>
              <a:t>wiekowym 18-55 lat</a:t>
            </a:r>
          </a:p>
        </p:txBody>
      </p:sp>
      <p:sp>
        <p:nvSpPr>
          <p:cNvPr id="14" name="Inhaltsplatzhalter 24">
            <a:extLst>
              <a:ext uri="{FF2B5EF4-FFF2-40B4-BE49-F238E27FC236}">
                <a16:creationId xmlns:a16="http://schemas.microsoft.com/office/drawing/2014/main" id="{6BE5E971-793E-4B2C-A25A-05B41908783D}"/>
              </a:ext>
            </a:extLst>
          </p:cNvPr>
          <p:cNvSpPr txBox="1">
            <a:spLocks/>
          </p:cNvSpPr>
          <p:nvPr>
            <p:custDataLst>
              <p:tags r:id="rId8"/>
            </p:custDataLst>
          </p:nvPr>
        </p:nvSpPr>
        <p:spPr>
          <a:xfrm>
            <a:off x="8556558" y="1502708"/>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Mieszkająca na stałe </a:t>
            </a:r>
            <a:br>
              <a:rPr lang="pl-PL" dirty="0"/>
            </a:br>
            <a:r>
              <a:rPr lang="pl-PL" dirty="0"/>
              <a:t>na terenie Polski</a:t>
            </a:r>
          </a:p>
          <a:p>
            <a:pPr fontAlgn="auto">
              <a:defRPr/>
            </a:pPr>
            <a:endParaRPr lang="pl-PL" dirty="0"/>
          </a:p>
        </p:txBody>
      </p:sp>
      <p:sp>
        <p:nvSpPr>
          <p:cNvPr id="15" name="Inhaltsplatzhalter 24">
            <a:extLst>
              <a:ext uri="{FF2B5EF4-FFF2-40B4-BE49-F238E27FC236}">
                <a16:creationId xmlns:a16="http://schemas.microsoft.com/office/drawing/2014/main" id="{DBA35366-EC5B-456B-8615-A911D03AFEC5}"/>
              </a:ext>
            </a:extLst>
          </p:cNvPr>
          <p:cNvSpPr txBox="1">
            <a:spLocks/>
          </p:cNvSpPr>
          <p:nvPr>
            <p:custDataLst>
              <p:tags r:id="rId9"/>
            </p:custDataLst>
          </p:nvPr>
        </p:nvSpPr>
        <p:spPr>
          <a:xfrm>
            <a:off x="9093157" y="2483877"/>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Po raz pierwszy </a:t>
            </a:r>
            <a:br>
              <a:rPr lang="pl-PL" dirty="0"/>
            </a:br>
            <a:r>
              <a:rPr lang="pl-PL" dirty="0"/>
              <a:t>rejestrująca się jako potencjalny Dawca</a:t>
            </a:r>
          </a:p>
        </p:txBody>
      </p:sp>
      <p:sp>
        <p:nvSpPr>
          <p:cNvPr id="8" name="Rectangle 7">
            <a:extLst>
              <a:ext uri="{FF2B5EF4-FFF2-40B4-BE49-F238E27FC236}">
                <a16:creationId xmlns:a16="http://schemas.microsoft.com/office/drawing/2014/main" id="{F5F9D196-892B-43FF-8F88-8CEB0A57B44D}"/>
              </a:ext>
            </a:extLst>
          </p:cNvPr>
          <p:cNvSpPr/>
          <p:nvPr/>
        </p:nvSpPr>
        <p:spPr>
          <a:xfrm>
            <a:off x="8423657" y="3943985"/>
            <a:ext cx="2809236" cy="584775"/>
          </a:xfrm>
          <a:prstGeom prst="rect">
            <a:avLst/>
          </a:prstGeom>
        </p:spPr>
        <p:txBody>
          <a:bodyPr wrap="square">
            <a:spAutoFit/>
          </a:bodyPr>
          <a:lstStyle/>
          <a:p>
            <a:pPr fontAlgn="auto">
              <a:defRPr/>
            </a:pPr>
            <a:r>
              <a:rPr lang="pl-PL" sz="1600" dirty="0"/>
              <a:t>O dobrym ogólnym </a:t>
            </a:r>
            <a:br>
              <a:rPr lang="pl-PL" sz="1600" dirty="0"/>
            </a:br>
            <a:r>
              <a:rPr lang="pl-PL" sz="1600" dirty="0"/>
              <a:t>stanie zdrowia</a:t>
            </a:r>
          </a:p>
        </p:txBody>
      </p:sp>
      <p:sp>
        <p:nvSpPr>
          <p:cNvPr id="17" name="Rechteck 2">
            <a:extLst>
              <a:ext uri="{FF2B5EF4-FFF2-40B4-BE49-F238E27FC236}">
                <a16:creationId xmlns:a16="http://schemas.microsoft.com/office/drawing/2014/main" id="{671C4F50-F34F-45A5-A8D3-591EB32DBE44}"/>
              </a:ext>
            </a:extLst>
          </p:cNvPr>
          <p:cNvSpPr/>
          <p:nvPr/>
        </p:nvSpPr>
        <p:spPr>
          <a:xfrm rot="17330049" flipH="1">
            <a:off x="3863573" y="1791719"/>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8" name="Rechteck 2">
            <a:extLst>
              <a:ext uri="{FF2B5EF4-FFF2-40B4-BE49-F238E27FC236}">
                <a16:creationId xmlns:a16="http://schemas.microsoft.com/office/drawing/2014/main" id="{E2D3D77F-86A7-4D5B-9637-BE2622F9FD22}"/>
              </a:ext>
            </a:extLst>
          </p:cNvPr>
          <p:cNvSpPr/>
          <p:nvPr/>
        </p:nvSpPr>
        <p:spPr>
          <a:xfrm rot="15373148" flipH="1">
            <a:off x="3884301" y="3191222"/>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9" name="Rechteck 2">
            <a:extLst>
              <a:ext uri="{FF2B5EF4-FFF2-40B4-BE49-F238E27FC236}">
                <a16:creationId xmlns:a16="http://schemas.microsoft.com/office/drawing/2014/main" id="{20261066-A8ED-449D-80EB-D0133A9C9424}"/>
              </a:ext>
            </a:extLst>
          </p:cNvPr>
          <p:cNvSpPr/>
          <p:nvPr/>
        </p:nvSpPr>
        <p:spPr>
          <a:xfrm rot="14557291" flipH="1">
            <a:off x="4108638" y="4648833"/>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0" name="Rechteck 2">
            <a:extLst>
              <a:ext uri="{FF2B5EF4-FFF2-40B4-BE49-F238E27FC236}">
                <a16:creationId xmlns:a16="http://schemas.microsoft.com/office/drawing/2014/main" id="{CE699A62-CF6F-4D68-8288-AE9BA187E4BA}"/>
              </a:ext>
            </a:extLst>
          </p:cNvPr>
          <p:cNvSpPr/>
          <p:nvPr/>
        </p:nvSpPr>
        <p:spPr>
          <a:xfrm rot="3401561">
            <a:off x="7909756" y="1592558"/>
            <a:ext cx="45719" cy="780187"/>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1" name="Rechteck 2">
            <a:extLst>
              <a:ext uri="{FF2B5EF4-FFF2-40B4-BE49-F238E27FC236}">
                <a16:creationId xmlns:a16="http://schemas.microsoft.com/office/drawing/2014/main" id="{A48A2048-CE59-485B-88C0-D6045EAAAD45}"/>
              </a:ext>
            </a:extLst>
          </p:cNvPr>
          <p:cNvSpPr/>
          <p:nvPr/>
        </p:nvSpPr>
        <p:spPr>
          <a:xfrm rot="4712370">
            <a:off x="8342822" y="2673292"/>
            <a:ext cx="169981"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2" name="Rechteck 2">
            <a:extLst>
              <a:ext uri="{FF2B5EF4-FFF2-40B4-BE49-F238E27FC236}">
                <a16:creationId xmlns:a16="http://schemas.microsoft.com/office/drawing/2014/main" id="{154AEA38-EB8F-4B04-80DA-338D3B4354BF}"/>
              </a:ext>
            </a:extLst>
          </p:cNvPr>
          <p:cNvSpPr/>
          <p:nvPr/>
        </p:nvSpPr>
        <p:spPr>
          <a:xfrm rot="6705014" flipH="1">
            <a:off x="7934852" y="3648500"/>
            <a:ext cx="45719" cy="782403"/>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3" name="Rechteck 2">
            <a:extLst>
              <a:ext uri="{FF2B5EF4-FFF2-40B4-BE49-F238E27FC236}">
                <a16:creationId xmlns:a16="http://schemas.microsoft.com/office/drawing/2014/main" id="{31335713-7DE8-4E63-80AD-1375DD203069}"/>
              </a:ext>
            </a:extLst>
          </p:cNvPr>
          <p:cNvSpPr/>
          <p:nvPr/>
        </p:nvSpPr>
        <p:spPr>
          <a:xfrm rot="6303483" flipH="1">
            <a:off x="7840568" y="4784593"/>
            <a:ext cx="45719" cy="867660"/>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pic>
        <p:nvPicPr>
          <p:cNvPr id="3" name="Picture 2">
            <a:extLst>
              <a:ext uri="{FF2B5EF4-FFF2-40B4-BE49-F238E27FC236}">
                <a16:creationId xmlns:a16="http://schemas.microsoft.com/office/drawing/2014/main" id="{BEDF6066-D722-495E-B77E-1E31667C1949}"/>
              </a:ext>
            </a:extLst>
          </p:cNvPr>
          <p:cNvPicPr>
            <a:picLocks noChangeAspect="1"/>
          </p:cNvPicPr>
          <p:nvPr/>
        </p:nvPicPr>
        <p:blipFill>
          <a:blip r:embed="rId12"/>
          <a:stretch>
            <a:fillRect/>
          </a:stretch>
        </p:blipFill>
        <p:spPr>
          <a:xfrm>
            <a:off x="4037849" y="1515700"/>
            <a:ext cx="3569302" cy="3925385"/>
          </a:xfrm>
          <a:prstGeom prst="rect">
            <a:avLst/>
          </a:prstGeom>
        </p:spPr>
      </p:pic>
      <p:sp>
        <p:nvSpPr>
          <p:cNvPr id="5" name="Symbol zastępczy stopki 4">
            <a:extLst>
              <a:ext uri="{FF2B5EF4-FFF2-40B4-BE49-F238E27FC236}">
                <a16:creationId xmlns:a16="http://schemas.microsoft.com/office/drawing/2014/main" id="{42B138F2-B316-41ED-AB73-172F00F09AB3}"/>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6223614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93CDFC3-8DB3-412F-387D-B10F2FDFE245}"/>
              </a:ext>
            </a:extLst>
          </p:cNvPr>
          <p:cNvSpPr>
            <a:spLocks noGrp="1"/>
          </p:cNvSpPr>
          <p:nvPr>
            <p:ph type="body" sz="quarter" idx="14"/>
            <p:custDataLst>
              <p:tags r:id="rId1"/>
            </p:custDataLst>
          </p:nvPr>
        </p:nvSpPr>
        <p:spPr/>
        <p:txBody>
          <a:bodyPr/>
          <a:lstStyle/>
          <a:p>
            <a:r>
              <a:rPr lang="pl-PL" noProof="0" dirty="0"/>
              <a:t>#KOMÓRKOMANIA</a:t>
            </a:r>
          </a:p>
        </p:txBody>
      </p:sp>
      <p:sp>
        <p:nvSpPr>
          <p:cNvPr id="12" name="Datumsplatzhalter 11">
            <a:extLst>
              <a:ext uri="{FF2B5EF4-FFF2-40B4-BE49-F238E27FC236}">
                <a16:creationId xmlns:a16="http://schemas.microsoft.com/office/drawing/2014/main" id="{17AC0970-D6D4-A483-359F-50E274CE0058}"/>
              </a:ext>
            </a:extLst>
          </p:cNvPr>
          <p:cNvSpPr>
            <a:spLocks noGrp="1"/>
          </p:cNvSpPr>
          <p:nvPr>
            <p:ph type="dt" sz="half" idx="15"/>
            <p:custDataLst>
              <p:tags r:id="rId2"/>
            </p:custDataLst>
          </p:nvPr>
        </p:nvSpPr>
        <p:spPr/>
        <p:txBody>
          <a:bodyPr/>
          <a:lstStyle/>
          <a:p>
            <a:r>
              <a:rPr lang="pl-PL"/>
              <a:t>06.11.2024</a:t>
            </a:r>
            <a:endParaRPr lang="pl-PL" dirty="0"/>
          </a:p>
        </p:txBody>
      </p:sp>
      <p:sp>
        <p:nvSpPr>
          <p:cNvPr id="5" name="Titel 4">
            <a:extLst>
              <a:ext uri="{FF2B5EF4-FFF2-40B4-BE49-F238E27FC236}">
                <a16:creationId xmlns:a16="http://schemas.microsoft.com/office/drawing/2014/main" id="{F9DE4B06-2FC5-E09C-73CD-244BDD1810FA}"/>
              </a:ext>
            </a:extLst>
          </p:cNvPr>
          <p:cNvSpPr>
            <a:spLocks noGrp="1"/>
          </p:cNvSpPr>
          <p:nvPr>
            <p:ph type="title"/>
            <p:custDataLst>
              <p:tags r:id="rId3"/>
            </p:custDataLst>
          </p:nvPr>
        </p:nvSpPr>
        <p:spPr/>
        <p:txBody>
          <a:bodyPr/>
          <a:lstStyle/>
          <a:p>
            <a:r>
              <a:rPr lang="pl-PL" noProof="0" dirty="0"/>
              <a:t>5 kroków do zostania Dawcą szpiku</a:t>
            </a:r>
          </a:p>
        </p:txBody>
      </p:sp>
      <p:sp>
        <p:nvSpPr>
          <p:cNvPr id="6" name="Freihandform: Form 5">
            <a:extLst>
              <a:ext uri="{FF2B5EF4-FFF2-40B4-BE49-F238E27FC236}">
                <a16:creationId xmlns:a16="http://schemas.microsoft.com/office/drawing/2014/main" id="{82E3B662-3917-D1A1-4EC9-CD99F7DB01A8}"/>
              </a:ext>
            </a:extLst>
          </p:cNvPr>
          <p:cNvSpPr/>
          <p:nvPr>
            <p:custDataLst>
              <p:tags r:id="rId4"/>
            </p:custDataLst>
          </p:nvPr>
        </p:nvSpPr>
        <p:spPr>
          <a:xfrm>
            <a:off x="1079999"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1</a:t>
            </a:r>
            <a:endParaRPr lang="pl-PL" sz="5000" b="1" dirty="0">
              <a:solidFill>
                <a:schemeClr val="bg1"/>
              </a:solidFill>
            </a:endParaRPr>
          </a:p>
        </p:txBody>
      </p:sp>
      <p:sp>
        <p:nvSpPr>
          <p:cNvPr id="23" name="Freihandform: Form 22">
            <a:extLst>
              <a:ext uri="{FF2B5EF4-FFF2-40B4-BE49-F238E27FC236}">
                <a16:creationId xmlns:a16="http://schemas.microsoft.com/office/drawing/2014/main" id="{12BA576A-3E21-5D53-EED5-CA14FDF6C1DB}"/>
              </a:ext>
            </a:extLst>
          </p:cNvPr>
          <p:cNvSpPr/>
          <p:nvPr>
            <p:custDataLst>
              <p:tags r:id="rId5"/>
            </p:custDataLst>
          </p:nvPr>
        </p:nvSpPr>
        <p:spPr>
          <a:xfrm>
            <a:off x="2911413"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2</a:t>
            </a:r>
            <a:endParaRPr lang="pl-PL" sz="5000" b="1" dirty="0">
              <a:solidFill>
                <a:schemeClr val="bg1"/>
              </a:solidFill>
            </a:endParaRPr>
          </a:p>
        </p:txBody>
      </p:sp>
      <p:sp>
        <p:nvSpPr>
          <p:cNvPr id="24" name="Freihandform: Form 23">
            <a:extLst>
              <a:ext uri="{FF2B5EF4-FFF2-40B4-BE49-F238E27FC236}">
                <a16:creationId xmlns:a16="http://schemas.microsoft.com/office/drawing/2014/main" id="{485051BE-33EB-CB3E-D2D5-5927DB035AC5}"/>
              </a:ext>
            </a:extLst>
          </p:cNvPr>
          <p:cNvSpPr/>
          <p:nvPr>
            <p:custDataLst>
              <p:tags r:id="rId6"/>
            </p:custDataLst>
          </p:nvPr>
        </p:nvSpPr>
        <p:spPr>
          <a:xfrm>
            <a:off x="4742826"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3</a:t>
            </a:r>
            <a:endParaRPr lang="pl-PL" sz="5000" b="1" dirty="0">
              <a:solidFill>
                <a:schemeClr val="bg1"/>
              </a:solidFill>
            </a:endParaRPr>
          </a:p>
        </p:txBody>
      </p:sp>
      <p:sp>
        <p:nvSpPr>
          <p:cNvPr id="25" name="Freihandform: Form 24">
            <a:extLst>
              <a:ext uri="{FF2B5EF4-FFF2-40B4-BE49-F238E27FC236}">
                <a16:creationId xmlns:a16="http://schemas.microsoft.com/office/drawing/2014/main" id="{7E89A788-D8CE-D7DB-0075-51D8B35332A5}"/>
              </a:ext>
            </a:extLst>
          </p:cNvPr>
          <p:cNvSpPr/>
          <p:nvPr>
            <p:custDataLst>
              <p:tags r:id="rId7"/>
            </p:custDataLst>
          </p:nvPr>
        </p:nvSpPr>
        <p:spPr>
          <a:xfrm>
            <a:off x="6574240"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4</a:t>
            </a:r>
            <a:endParaRPr lang="pl-PL" sz="5000" b="1" dirty="0">
              <a:solidFill>
                <a:schemeClr val="bg1"/>
              </a:solidFill>
            </a:endParaRPr>
          </a:p>
        </p:txBody>
      </p:sp>
      <p:sp>
        <p:nvSpPr>
          <p:cNvPr id="26" name="Freihandform: Form 25">
            <a:extLst>
              <a:ext uri="{FF2B5EF4-FFF2-40B4-BE49-F238E27FC236}">
                <a16:creationId xmlns:a16="http://schemas.microsoft.com/office/drawing/2014/main" id="{9C4E346C-0056-0A57-8BF8-5A7B3E8E7229}"/>
              </a:ext>
            </a:extLst>
          </p:cNvPr>
          <p:cNvSpPr/>
          <p:nvPr>
            <p:custDataLst>
              <p:tags r:id="rId8"/>
            </p:custDataLst>
          </p:nvPr>
        </p:nvSpPr>
        <p:spPr>
          <a:xfrm>
            <a:off x="8405655"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tx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5</a:t>
            </a:r>
            <a:endParaRPr lang="pl-PL" sz="5000" b="1" dirty="0">
              <a:solidFill>
                <a:schemeClr val="bg1"/>
              </a:solidFill>
            </a:endParaRPr>
          </a:p>
        </p:txBody>
      </p:sp>
      <p:sp>
        <p:nvSpPr>
          <p:cNvPr id="14" name="Textplatzhalter 37">
            <a:extLst>
              <a:ext uri="{FF2B5EF4-FFF2-40B4-BE49-F238E27FC236}">
                <a16:creationId xmlns:a16="http://schemas.microsoft.com/office/drawing/2014/main" id="{92BD9724-829C-E008-F728-B6E5502A45F6}"/>
              </a:ext>
            </a:extLst>
          </p:cNvPr>
          <p:cNvSpPr txBox="1">
            <a:spLocks/>
          </p:cNvSpPr>
          <p:nvPr>
            <p:custDataLst>
              <p:tags r:id="rId9"/>
            </p:custDataLst>
          </p:nvPr>
        </p:nvSpPr>
        <p:spPr>
          <a:xfrm>
            <a:off x="6829881"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4</a:t>
            </a:r>
          </a:p>
          <a:p>
            <a:pPr lvl="1">
              <a:lnSpc>
                <a:spcPct val="120000"/>
              </a:lnSpc>
              <a:spcAft>
                <a:spcPts val="600"/>
              </a:spcAft>
            </a:pPr>
            <a:r>
              <a:rPr lang="pl-PL" dirty="0"/>
              <a:t>Zapytanie o Dawcę, gdy zostanie dopasowany do konkretnego Pacjenta (badania wstępne).</a:t>
            </a:r>
          </a:p>
        </p:txBody>
      </p:sp>
      <p:sp>
        <p:nvSpPr>
          <p:cNvPr id="11" name="Textplatzhalter 37">
            <a:extLst>
              <a:ext uri="{FF2B5EF4-FFF2-40B4-BE49-F238E27FC236}">
                <a16:creationId xmlns:a16="http://schemas.microsoft.com/office/drawing/2014/main" id="{93456EE0-928F-7B07-E236-40DAB8344EEF}"/>
              </a:ext>
            </a:extLst>
          </p:cNvPr>
          <p:cNvSpPr txBox="1">
            <a:spLocks/>
          </p:cNvSpPr>
          <p:nvPr>
            <p:custDataLst>
              <p:tags r:id="rId10"/>
            </p:custDataLst>
          </p:nvPr>
        </p:nvSpPr>
        <p:spPr>
          <a:xfrm>
            <a:off x="8702037" y="1658659"/>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5</a:t>
            </a:r>
          </a:p>
          <a:p>
            <a:pPr lvl="1">
              <a:lnSpc>
                <a:spcPct val="120000"/>
              </a:lnSpc>
              <a:spcAft>
                <a:spcPts val="600"/>
              </a:spcAft>
            </a:pPr>
            <a:r>
              <a:rPr lang="pl-PL" dirty="0"/>
              <a:t>Pobranie krwiotwórczych komórek macierzystych lub szpiku od zgodnego i zdrowego Dawcy</a:t>
            </a:r>
          </a:p>
          <a:p>
            <a:pPr lvl="1">
              <a:lnSpc>
                <a:spcPct val="120000"/>
              </a:lnSpc>
              <a:spcAft>
                <a:spcPts val="600"/>
              </a:spcAft>
            </a:pPr>
            <a:endParaRPr lang="pl-PL" dirty="0"/>
          </a:p>
        </p:txBody>
      </p:sp>
      <p:sp>
        <p:nvSpPr>
          <p:cNvPr id="10" name="Textplatzhalter 37">
            <a:extLst>
              <a:ext uri="{FF2B5EF4-FFF2-40B4-BE49-F238E27FC236}">
                <a16:creationId xmlns:a16="http://schemas.microsoft.com/office/drawing/2014/main" id="{3EC387CB-ABC2-F542-00EC-F7282237A428}"/>
              </a:ext>
            </a:extLst>
          </p:cNvPr>
          <p:cNvSpPr txBox="1">
            <a:spLocks/>
          </p:cNvSpPr>
          <p:nvPr>
            <p:custDataLst>
              <p:tags r:id="rId11"/>
            </p:custDataLst>
          </p:nvPr>
        </p:nvSpPr>
        <p:spPr>
          <a:xfrm>
            <a:off x="5031988" y="1576608"/>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3</a:t>
            </a:r>
          </a:p>
          <a:p>
            <a:pPr lvl="1">
              <a:lnSpc>
                <a:spcPct val="120000"/>
              </a:lnSpc>
              <a:spcAft>
                <a:spcPts val="600"/>
              </a:spcAft>
            </a:pPr>
            <a:r>
              <a:rPr lang="pl-PL" dirty="0"/>
              <a:t>Badanie materiału genetycznego oraz umieszczenie danych i wyników w rejestrach krajowym i międzynarodowych.</a:t>
            </a:r>
          </a:p>
        </p:txBody>
      </p:sp>
      <p:sp>
        <p:nvSpPr>
          <p:cNvPr id="8" name="Textplatzhalter 37">
            <a:extLst>
              <a:ext uri="{FF2B5EF4-FFF2-40B4-BE49-F238E27FC236}">
                <a16:creationId xmlns:a16="http://schemas.microsoft.com/office/drawing/2014/main" id="{ADB1D7C8-57B6-8767-FB58-F5680B9E182A}"/>
              </a:ext>
            </a:extLst>
          </p:cNvPr>
          <p:cNvSpPr txBox="1">
            <a:spLocks/>
          </p:cNvSpPr>
          <p:nvPr>
            <p:custDataLst>
              <p:tags r:id="rId12"/>
            </p:custDataLst>
          </p:nvPr>
        </p:nvSpPr>
        <p:spPr>
          <a:xfrm>
            <a:off x="1335638" y="1546462"/>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1</a:t>
            </a:r>
          </a:p>
          <a:p>
            <a:pPr lvl="1">
              <a:lnSpc>
                <a:spcPct val="120000"/>
              </a:lnSpc>
              <a:spcAft>
                <a:spcPts val="600"/>
              </a:spcAft>
            </a:pPr>
            <a:r>
              <a:rPr lang="pl-PL" dirty="0"/>
              <a:t>Świadoma decyzja, od której zależy życie Pacjenta.</a:t>
            </a:r>
          </a:p>
          <a:p>
            <a:pPr lvl="1">
              <a:lnSpc>
                <a:spcPct val="120000"/>
              </a:lnSpc>
              <a:spcAft>
                <a:spcPts val="600"/>
              </a:spcAft>
            </a:pPr>
            <a:endParaRPr lang="pl-PL" dirty="0"/>
          </a:p>
        </p:txBody>
      </p:sp>
      <p:sp>
        <p:nvSpPr>
          <p:cNvPr id="9" name="Textplatzhalter 37">
            <a:extLst>
              <a:ext uri="{FF2B5EF4-FFF2-40B4-BE49-F238E27FC236}">
                <a16:creationId xmlns:a16="http://schemas.microsoft.com/office/drawing/2014/main" id="{CF19A29D-9164-406D-453C-720B01345399}"/>
              </a:ext>
            </a:extLst>
          </p:cNvPr>
          <p:cNvSpPr txBox="1">
            <a:spLocks/>
          </p:cNvSpPr>
          <p:nvPr>
            <p:custDataLst>
              <p:tags r:id="rId13"/>
            </p:custDataLst>
          </p:nvPr>
        </p:nvSpPr>
        <p:spPr>
          <a:xfrm>
            <a:off x="3167052"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2</a:t>
            </a:r>
          </a:p>
          <a:p>
            <a:pPr lvl="1">
              <a:lnSpc>
                <a:spcPct val="120000"/>
              </a:lnSpc>
              <a:spcAft>
                <a:spcPts val="600"/>
              </a:spcAft>
            </a:pPr>
            <a:r>
              <a:rPr lang="pl-PL" dirty="0"/>
              <a:t>Rejestracja jako potencjalny Dawca szpiku (pobranie wymazu i oznaczenie antygenów HLA).</a:t>
            </a:r>
          </a:p>
        </p:txBody>
      </p:sp>
      <p:cxnSp>
        <p:nvCxnSpPr>
          <p:cNvPr id="32" name="Gerader Verbinder 31">
            <a:extLst>
              <a:ext uri="{FF2B5EF4-FFF2-40B4-BE49-F238E27FC236}">
                <a16:creationId xmlns:a16="http://schemas.microsoft.com/office/drawing/2014/main" id="{8C060EDE-4CAC-B65E-62B0-631CF66CD0D3}"/>
              </a:ext>
            </a:extLst>
          </p:cNvPr>
          <p:cNvCxnSpPr/>
          <p:nvPr>
            <p:custDataLst>
              <p:tags r:id="rId14"/>
            </p:custDataLst>
          </p:nvPr>
        </p:nvCxnSpPr>
        <p:spPr>
          <a:xfrm>
            <a:off x="1335638"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E5DC010-6F4A-ABD5-B730-EC26A2CEC435}"/>
              </a:ext>
            </a:extLst>
          </p:cNvPr>
          <p:cNvCxnSpPr/>
          <p:nvPr>
            <p:custDataLst>
              <p:tags r:id="rId15"/>
            </p:custDataLst>
          </p:nvPr>
        </p:nvCxnSpPr>
        <p:spPr>
          <a:xfrm>
            <a:off x="4998465"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8F40A0B-254D-C6A6-FAFB-5294562B938D}"/>
              </a:ext>
            </a:extLst>
          </p:cNvPr>
          <p:cNvCxnSpPr/>
          <p:nvPr>
            <p:custDataLst>
              <p:tags r:id="rId16"/>
            </p:custDataLst>
          </p:nvPr>
        </p:nvCxnSpPr>
        <p:spPr>
          <a:xfrm>
            <a:off x="8661294" y="1658659"/>
            <a:ext cx="0" cy="1416937"/>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6B7B7F2F-6639-CF1D-F22E-55C9FE0C5C21}"/>
              </a:ext>
            </a:extLst>
          </p:cNvPr>
          <p:cNvCxnSpPr/>
          <p:nvPr>
            <p:custDataLst>
              <p:tags r:id="rId17"/>
            </p:custDataLst>
          </p:nvPr>
        </p:nvCxnSpPr>
        <p:spPr>
          <a:xfrm>
            <a:off x="3167052"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D6BB594C-E5A1-33A6-8D95-0FC37008BEBA}"/>
              </a:ext>
            </a:extLst>
          </p:cNvPr>
          <p:cNvCxnSpPr/>
          <p:nvPr>
            <p:custDataLst>
              <p:tags r:id="rId18"/>
            </p:custDataLst>
          </p:nvPr>
        </p:nvCxnSpPr>
        <p:spPr>
          <a:xfrm>
            <a:off x="6829880"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Symbol zastępczy stopki 2">
            <a:extLst>
              <a:ext uri="{FF2B5EF4-FFF2-40B4-BE49-F238E27FC236}">
                <a16:creationId xmlns:a16="http://schemas.microsoft.com/office/drawing/2014/main" id="{43E862B4-09C2-4E2D-9C8D-D59A5E785C61}"/>
              </a:ext>
            </a:extLst>
          </p:cNvPr>
          <p:cNvSpPr>
            <a:spLocks noGrp="1"/>
          </p:cNvSpPr>
          <p:nvPr>
            <p:ph type="ftr" sz="quarter" idx="16"/>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170892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dirty="0"/>
              <a:t>Pobranie komórek macierzystych z krwi </a:t>
            </a:r>
          </a:p>
          <a:p>
            <a:r>
              <a:rPr lang="pl-PL" dirty="0"/>
              <a:t>obwodowej i pobranie szpiku z talerza </a:t>
            </a:r>
          </a:p>
          <a:p>
            <a:r>
              <a:rPr lang="pl-PL" dirty="0"/>
              <a:t>kości biodrowej</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Metody pobrania </a:t>
            </a:r>
          </a:p>
        </p:txBody>
      </p:sp>
    </p:spTree>
    <p:extLst>
      <p:ext uri="{BB962C8B-B14F-4D97-AF65-F5344CB8AC3E}">
        <p14:creationId xmlns:p14="http://schemas.microsoft.com/office/powerpoint/2010/main" val="4006283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komórek macierzystych </a:t>
            </a:r>
            <a:br>
              <a:rPr lang="pl-PL" dirty="0"/>
            </a:br>
            <a:r>
              <a:rPr lang="pl-PL" dirty="0"/>
              <a:t>z krwi obwodowej metodą zwaną aferezą.</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Ewentualna druga afereza</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endParaRPr lang="pl-PL" sz="4800" b="1" noProof="0" dirty="0">
              <a:solidFill>
                <a:srgbClr val="FF0000"/>
              </a:solidFill>
            </a:endParaRPr>
          </a:p>
          <a:p>
            <a:pPr lvl="0"/>
            <a:r>
              <a:rPr lang="pl-PL" sz="4800" b="1" noProof="0" dirty="0">
                <a:solidFill>
                  <a:srgbClr val="FF0000"/>
                </a:solidFill>
              </a:rPr>
              <a:t>90% </a:t>
            </a:r>
            <a:r>
              <a:rPr lang="pl-PL" b="1" noProof="0" dirty="0"/>
              <a:t>wszystkich pobrań</a:t>
            </a:r>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5</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pl-PL"/>
              <a:t>06.11.2024</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krwiotwórczych komórek macierzystych </a:t>
            </a:r>
            <a:br>
              <a:rPr lang="pl-PL" dirty="0"/>
            </a:br>
            <a:r>
              <a:rPr lang="pl-PL" dirty="0"/>
              <a:t>z krwi odwod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6</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r>
              <a:rPr lang="pl-PL" sz="1200" dirty="0"/>
              <a:t>Przyjmowanie czynnika wzrostu w postaci zastrzyków podskórnych (namnażanie i uwalnianie komórek macierzystych do krwioobiegu, czynnik wzrostu może powodować objawy grypopodobne)</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1-5</a:t>
            </a:r>
          </a:p>
        </p:txBody>
      </p:sp>
      <p:pic>
        <p:nvPicPr>
          <p:cNvPr id="8" name="Picture Placeholder 7">
            <a:extLst>
              <a:ext uri="{FF2B5EF4-FFF2-40B4-BE49-F238E27FC236}">
                <a16:creationId xmlns:a16="http://schemas.microsoft.com/office/drawing/2014/main" id="{0D58AE3A-4C0F-43A5-98AF-46EF2BA01934}"/>
              </a:ext>
            </a:extLst>
          </p:cNvPr>
          <p:cNvPicPr>
            <a:picLocks noGrp="1" noChangeAspect="1"/>
          </p:cNvPicPr>
          <p:nvPr>
            <p:ph type="pic" sz="quarter" idx="42"/>
          </p:nvPr>
        </p:nvPicPr>
        <p:blipFill>
          <a:blip r:embed="rId14"/>
          <a:srcRect l="8677" r="8677"/>
          <a:stretch>
            <a:fillRect/>
          </a:stretch>
        </p:blipFill>
        <p:spPr/>
      </p:pic>
      <p:sp>
        <p:nvSpPr>
          <p:cNvPr id="2" name="Symbol zastępczy stopki 1">
            <a:extLst>
              <a:ext uri="{FF2B5EF4-FFF2-40B4-BE49-F238E27FC236}">
                <a16:creationId xmlns:a16="http://schemas.microsoft.com/office/drawing/2014/main" id="{B14F8F9E-9B7F-4780-BA6C-4FB2E6F12F41}"/>
              </a:ext>
            </a:extLst>
          </p:cNvPr>
          <p:cNvSpPr>
            <a:spLocks noGrp="1"/>
          </p:cNvSpPr>
          <p:nvPr>
            <p:ph type="ftr" sz="quarter" idx="31"/>
          </p:nvPr>
        </p:nvSpPr>
        <p:spPr/>
        <p:txBody>
          <a:bodyPr/>
          <a:lstStyle/>
          <a:p>
            <a:r>
              <a:rPr lang="pl-PL" noProof="0"/>
              <a:t>Najważniejsze informacje o dawstwie szpiku | C1- Public | #KOMÓRKOMANIA</a:t>
            </a:r>
            <a:endParaRPr lang="pl-PL" noProof="0" dirty="0"/>
          </a:p>
        </p:txBody>
      </p:sp>
    </p:spTree>
    <p:extLst>
      <p:ext uri="{BB962C8B-B14F-4D97-AF65-F5344CB8AC3E}">
        <p14:creationId xmlns:p14="http://schemas.microsoft.com/office/powerpoint/2010/main" val="868518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szpiku pod narkozą (zabieg trwający około 1 godzinę).</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Wypisanie z kliniki i powrót do domu</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r>
              <a:rPr lang="pl-PL" sz="4800" b="1" dirty="0">
                <a:solidFill>
                  <a:srgbClr val="FF0000"/>
                </a:solidFill>
              </a:rPr>
              <a:t>1</a:t>
            </a:r>
            <a:r>
              <a:rPr lang="pl-PL" sz="4800" b="1" noProof="0" dirty="0">
                <a:solidFill>
                  <a:srgbClr val="FF0000"/>
                </a:solidFill>
              </a:rPr>
              <a:t>0% </a:t>
            </a:r>
            <a:r>
              <a:rPr lang="pl-PL" b="1" noProof="0" dirty="0"/>
              <a:t>wszystkich pobrań</a:t>
            </a:r>
          </a:p>
          <a:p>
            <a:pPr lvl="0"/>
            <a:endParaRPr lang="pl-PL" b="1" noProof="0" dirty="0"/>
          </a:p>
          <a:p>
            <a:pPr lvl="0"/>
            <a:endParaRPr lang="pl-PL" sz="1200" b="1" dirty="0"/>
          </a:p>
          <a:p>
            <a:pPr lvl="0"/>
            <a:endParaRPr lang="pl-PL" sz="1200" b="1" dirty="0"/>
          </a:p>
          <a:p>
            <a:pPr lvl="0"/>
            <a:endParaRPr lang="pl-PL" sz="1400" dirty="0"/>
          </a:p>
          <a:p>
            <a:pPr lvl="0"/>
            <a:r>
              <a:rPr lang="pl-PL" sz="1400" dirty="0"/>
              <a:t>Szpik regeneruje się w organizmie Dawcy </a:t>
            </a:r>
          </a:p>
          <a:p>
            <a:pPr lvl="0"/>
            <a:r>
              <a:rPr lang="pl-PL" sz="1400" dirty="0"/>
              <a:t>do 2 tygodni po pobraniu</a:t>
            </a:r>
          </a:p>
          <a:p>
            <a:pPr lvl="0"/>
            <a:endParaRPr lang="pl-PL" b="1" noProof="0" dirty="0"/>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2</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pl-PL"/>
              <a:t>06.11.2024</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szpiku kostnego z talerza kości biodr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3</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pPr>
              <a:buClr>
                <a:srgbClr val="FF0000"/>
              </a:buClr>
            </a:pPr>
            <a:r>
              <a:rPr lang="pl-PL" dirty="0">
                <a:cs typeface="Arial"/>
              </a:rPr>
              <a:t>Przyjęcie Dawcy do kliniki.</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a:t>
            </a:r>
            <a:r>
              <a:rPr lang="pl-PL" dirty="0"/>
              <a:t>1</a:t>
            </a:r>
            <a:endParaRPr lang="pl-PL" noProof="0" dirty="0"/>
          </a:p>
        </p:txBody>
      </p:sp>
      <p:pic>
        <p:nvPicPr>
          <p:cNvPr id="10" name="Picture Placeholder 9">
            <a:extLst>
              <a:ext uri="{FF2B5EF4-FFF2-40B4-BE49-F238E27FC236}">
                <a16:creationId xmlns:a16="http://schemas.microsoft.com/office/drawing/2014/main" id="{C8C94BB6-DB67-4F87-87B3-2EA68E327D94}"/>
              </a:ext>
            </a:extLst>
          </p:cNvPr>
          <p:cNvPicPr>
            <a:picLocks noGrp="1" noChangeAspect="1"/>
          </p:cNvPicPr>
          <p:nvPr>
            <p:ph type="pic" sz="quarter" idx="42"/>
          </p:nvPr>
        </p:nvPicPr>
        <p:blipFill rotWithShape="1">
          <a:blip r:embed="rId14"/>
          <a:srcRect t="7924" b="7924"/>
          <a:stretch/>
        </p:blipFill>
        <p:spPr>
          <a:xfrm>
            <a:off x="8846598" y="540001"/>
            <a:ext cx="2985040" cy="2708999"/>
          </a:xfrm>
        </p:spPr>
      </p:pic>
      <p:sp>
        <p:nvSpPr>
          <p:cNvPr id="2" name="Symbol zastępczy stopki 1">
            <a:extLst>
              <a:ext uri="{FF2B5EF4-FFF2-40B4-BE49-F238E27FC236}">
                <a16:creationId xmlns:a16="http://schemas.microsoft.com/office/drawing/2014/main" id="{110F213A-C365-4114-A52A-7810DDEF141E}"/>
              </a:ext>
            </a:extLst>
          </p:cNvPr>
          <p:cNvSpPr>
            <a:spLocks noGrp="1"/>
          </p:cNvSpPr>
          <p:nvPr>
            <p:ph type="ftr" sz="quarter" idx="31"/>
          </p:nvPr>
        </p:nvSpPr>
        <p:spPr/>
        <p:txBody>
          <a:bodyPr/>
          <a:lstStyle/>
          <a:p>
            <a:r>
              <a:rPr lang="pl-PL" noProof="0"/>
              <a:t>Najważniejsze informacje o dawstwie szpiku | C1- Public | #KOMÓRKOMANIA</a:t>
            </a:r>
            <a:endParaRPr lang="pl-PL" noProof="0" dirty="0"/>
          </a:p>
        </p:txBody>
      </p:sp>
    </p:spTree>
    <p:extLst>
      <p:ext uri="{BB962C8B-B14F-4D97-AF65-F5344CB8AC3E}">
        <p14:creationId xmlns:p14="http://schemas.microsoft.com/office/powerpoint/2010/main" val="21537869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Co warto wiedzieć?</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Ważne informacje </a:t>
            </a:r>
            <a:br>
              <a:rPr lang="pl-PL" dirty="0"/>
            </a:br>
            <a:r>
              <a:rPr lang="pl-PL" dirty="0"/>
              <a:t>dla Dawcy</a:t>
            </a:r>
          </a:p>
        </p:txBody>
      </p:sp>
    </p:spTree>
    <p:extLst>
      <p:ext uri="{BB962C8B-B14F-4D97-AF65-F5344CB8AC3E}">
        <p14:creationId xmlns:p14="http://schemas.microsoft.com/office/powerpoint/2010/main" val="3676569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dirty="0"/>
              <a:t>#</a:t>
            </a:r>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dirty="0"/>
              <a:t>Co jeszcze trzeba wiedzieć odnośnie pobrania szpiku?</a:t>
            </a:r>
            <a:endParaRPr lang="pl-PL" noProof="0" dirty="0"/>
          </a:p>
        </p:txBody>
      </p:sp>
      <p:sp>
        <p:nvSpPr>
          <p:cNvPr id="14" name="Textplatzhalter 13">
            <a:extLst>
              <a:ext uri="{FF2B5EF4-FFF2-40B4-BE49-F238E27FC236}">
                <a16:creationId xmlns:a16="http://schemas.microsoft.com/office/drawing/2014/main" id="{1131E51E-0F25-533D-4AE0-DA12F8A63636}"/>
              </a:ext>
            </a:extLst>
          </p:cNvPr>
          <p:cNvSpPr>
            <a:spLocks noGrp="1"/>
          </p:cNvSpPr>
          <p:nvPr>
            <p:ph type="body" sz="quarter" idx="17"/>
            <p:custDataLst>
              <p:tags r:id="rId3"/>
            </p:custDataLst>
          </p:nvPr>
        </p:nvSpPr>
        <p:spPr>
          <a:xfrm>
            <a:off x="6545264" y="1548000"/>
            <a:ext cx="5286374" cy="4586400"/>
          </a:xfrm>
        </p:spPr>
        <p:txBody>
          <a:bodyPr/>
          <a:lstStyle/>
          <a:p>
            <a:pPr lvl="0"/>
            <a:endParaRPr lang="pl-PL" dirty="0"/>
          </a:p>
          <a:p>
            <a:pPr lvl="0"/>
            <a:r>
              <a:rPr lang="pl-PL" dirty="0"/>
              <a:t>Decyzja o wyborze jednej z przedstawionych metod pobrania komórek macierzystych uzależniona jest od stanu zdrowia Pacjenta oraz od decyzji jego lekarza prowadzącego. </a:t>
            </a:r>
          </a:p>
          <a:p>
            <a:pPr lvl="0"/>
            <a:endParaRPr lang="pl-PL" dirty="0"/>
          </a:p>
          <a:p>
            <a:pPr lvl="0"/>
            <a:r>
              <a:rPr lang="pl-PL" dirty="0"/>
              <a:t>Jeśli Dawca preferuje tylko jedną z metod lub jego stan zdrowia pozwala na przeprowadzenie pobrania wyłącznie jedną z wymienionych metod, rejestracja jako potencjalny Dawca szpiku nadal jest możliwa, a pobranie zostanie przeprowadzone sposobem zgodnym z preferencjami </a:t>
            </a:r>
            <a:br>
              <a:rPr lang="pl-PL" dirty="0"/>
            </a:br>
            <a:r>
              <a:rPr lang="pl-PL" dirty="0"/>
              <a:t>i możliwościami Dawcy. </a:t>
            </a:r>
          </a:p>
          <a:p>
            <a:pPr lvl="0"/>
            <a:r>
              <a:rPr lang="pl-PL" b="1" dirty="0"/>
              <a:t>W przypadku braku przeciwwskazań, Dawca powinien być przygotowany na obie metody. </a:t>
            </a:r>
            <a:br>
              <a:rPr lang="pl-PL" dirty="0"/>
            </a:br>
            <a:br>
              <a:rPr lang="pl-PL" dirty="0"/>
            </a:br>
            <a:endParaRPr lang="pl-PL" dirty="0"/>
          </a:p>
          <a:p>
            <a:pPr lvl="0"/>
            <a:endParaRPr lang="pl-PL" dirty="0"/>
          </a:p>
          <a:p>
            <a:pPr lvl="0"/>
            <a:endParaRPr lang="pl-PL" dirty="0"/>
          </a:p>
          <a:p>
            <a:pPr lvl="0"/>
            <a:endParaRPr lang="pl-PL" dirty="0"/>
          </a:p>
        </p:txBody>
      </p:sp>
      <p:sp>
        <p:nvSpPr>
          <p:cNvPr id="3" name="Datumsplatzhalter 2">
            <a:extLst>
              <a:ext uri="{FF2B5EF4-FFF2-40B4-BE49-F238E27FC236}">
                <a16:creationId xmlns:a16="http://schemas.microsoft.com/office/drawing/2014/main" id="{C36F0EB0-29A7-925C-E4DF-686ED51A2024}"/>
              </a:ext>
            </a:extLst>
          </p:cNvPr>
          <p:cNvSpPr>
            <a:spLocks noGrp="1"/>
          </p:cNvSpPr>
          <p:nvPr>
            <p:ph type="dt" sz="half" idx="19"/>
            <p:custDataLst>
              <p:tags r:id="rId4"/>
            </p:custDataLst>
          </p:nvPr>
        </p:nvSpPr>
        <p:spPr/>
        <p:txBody>
          <a:bodyPr/>
          <a:lstStyle/>
          <a:p>
            <a:r>
              <a:rPr lang="pl-PL"/>
              <a:t>06.11.2024</a:t>
            </a:r>
            <a:endParaRPr lang="pl-PL" dirty="0"/>
          </a:p>
        </p:txBody>
      </p:sp>
      <p:pic>
        <p:nvPicPr>
          <p:cNvPr id="13" name="Picture Placeholder 12">
            <a:extLst>
              <a:ext uri="{FF2B5EF4-FFF2-40B4-BE49-F238E27FC236}">
                <a16:creationId xmlns:a16="http://schemas.microsoft.com/office/drawing/2014/main" id="{FC1D4E36-87F2-4C68-B797-BC113ACE164C}"/>
              </a:ext>
            </a:extLst>
          </p:cNvPr>
          <p:cNvPicPr>
            <a:picLocks noGrp="1" noChangeAspect="1"/>
          </p:cNvPicPr>
          <p:nvPr>
            <p:ph type="pic" sz="quarter" idx="18"/>
          </p:nvPr>
        </p:nvPicPr>
        <p:blipFill>
          <a:blip r:embed="rId7"/>
          <a:srcRect l="22556" r="22556"/>
          <a:stretch>
            <a:fillRect/>
          </a:stretch>
        </p:blipFill>
        <p:spPr/>
      </p:pic>
    </p:spTree>
    <p:extLst>
      <p:ext uri="{BB962C8B-B14F-4D97-AF65-F5344CB8AC3E}">
        <p14:creationId xmlns:p14="http://schemas.microsoft.com/office/powerpoint/2010/main" val="33737078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673495" y="1548000"/>
            <a:ext cx="8753205" cy="4586400"/>
          </a:xfrm>
        </p:spPr>
        <p:txBody>
          <a:bodyPr/>
          <a:lstStyle/>
          <a:p>
            <a:pPr lvl="0" fontAlgn="auto">
              <a:defRPr/>
            </a:pPr>
            <a:r>
              <a:rPr lang="pl-PL" sz="1100" b="1" dirty="0">
                <a:solidFill>
                  <a:srgbClr val="000000"/>
                </a:solidFill>
              </a:rPr>
              <a:t>Ubezpieczenie</a:t>
            </a:r>
          </a:p>
          <a:p>
            <a:pPr lvl="0" fontAlgn="auto">
              <a:defRPr/>
            </a:pPr>
            <a:r>
              <a:rPr lang="pl-PL" sz="1100" dirty="0">
                <a:solidFill>
                  <a:srgbClr val="000000"/>
                </a:solidFill>
              </a:rPr>
              <a:t>Na czas badań wstępnych, pobrania i na rok po pobraniu Dawca jest ubezpieczony na kwotę 150 tys. euro.</a:t>
            </a:r>
          </a:p>
          <a:p>
            <a:pPr lvl="0" fontAlgn="auto">
              <a:defRPr/>
            </a:pPr>
            <a:endParaRPr lang="pl-PL" sz="1100" dirty="0">
              <a:solidFill>
                <a:srgbClr val="000000"/>
              </a:solidFill>
            </a:endParaRPr>
          </a:p>
          <a:p>
            <a:pPr lvl="0" fontAlgn="auto">
              <a:defRPr/>
            </a:pPr>
            <a:r>
              <a:rPr lang="pl-PL" sz="1100" b="1" dirty="0">
                <a:solidFill>
                  <a:srgbClr val="000000"/>
                </a:solidFill>
              </a:rPr>
              <a:t>Zwrot kosztów</a:t>
            </a:r>
          </a:p>
          <a:p>
            <a:pPr lvl="0" fontAlgn="auto">
              <a:defRPr/>
            </a:pPr>
            <a:r>
              <a:rPr lang="pl-PL" sz="1100" dirty="0">
                <a:solidFill>
                  <a:srgbClr val="000000"/>
                </a:solidFill>
              </a:rPr>
              <a:t>Dawca nie ponosi żadnych kosztów związanych z rejestracją w bazie potencjalnych Dawców szpiku i pobraniem krwiotwórczych komórek macierzystych.</a:t>
            </a:r>
          </a:p>
          <a:p>
            <a:pPr lvl="0" fontAlgn="auto">
              <a:defRPr/>
            </a:pPr>
            <a:endParaRPr lang="pl-PL" sz="1100" dirty="0">
              <a:solidFill>
                <a:srgbClr val="000000"/>
              </a:solidFill>
            </a:endParaRPr>
          </a:p>
          <a:p>
            <a:pPr lvl="0" fontAlgn="auto">
              <a:defRPr/>
            </a:pPr>
            <a:r>
              <a:rPr lang="pl-PL" sz="1100" b="1" dirty="0">
                <a:solidFill>
                  <a:srgbClr val="000000"/>
                </a:solidFill>
              </a:rPr>
              <a:t>Zwolnienie lekarskie</a:t>
            </a:r>
          </a:p>
          <a:p>
            <a:pPr lvl="0" fontAlgn="auto">
              <a:defRPr/>
            </a:pPr>
            <a:r>
              <a:rPr lang="pl-PL" sz="1100" dirty="0">
                <a:solidFill>
                  <a:srgbClr val="000000"/>
                </a:solidFill>
              </a:rPr>
              <a:t>Na czas badań wstępnych i pobrania przysługują Dawcy dni wolne od szkoły i pracy.</a:t>
            </a:r>
          </a:p>
          <a:p>
            <a:pPr lvl="0" fontAlgn="auto">
              <a:defRPr/>
            </a:pPr>
            <a:endParaRPr lang="pl-PL" sz="1100" dirty="0">
              <a:solidFill>
                <a:srgbClr val="000000"/>
              </a:solidFill>
            </a:endParaRPr>
          </a:p>
          <a:p>
            <a:pPr lvl="0" fontAlgn="auto">
              <a:defRPr/>
            </a:pPr>
            <a:r>
              <a:rPr lang="pl-PL" sz="1100" b="1" dirty="0">
                <a:solidFill>
                  <a:srgbClr val="000000"/>
                </a:solidFill>
              </a:rPr>
              <a:t>Monitorowanie stanu zdrowia</a:t>
            </a:r>
          </a:p>
          <a:p>
            <a:pPr lvl="0" fontAlgn="auto">
              <a:defRPr/>
            </a:pPr>
            <a:r>
              <a:rPr lang="pl-PL" sz="1100" dirty="0">
                <a:solidFill>
                  <a:srgbClr val="000000"/>
                </a:solidFill>
              </a:rPr>
              <a:t>Niezależnie od zastosowanej metody pobrania krwiotwórczych komórek macierzystych, stan zdrowia naszych Dawców jest monitorowany.</a:t>
            </a:r>
          </a:p>
          <a:p>
            <a:pPr lvl="0" fontAlgn="auto">
              <a:defRPr/>
            </a:pPr>
            <a:endParaRPr lang="pl-PL" sz="1100" dirty="0">
              <a:solidFill>
                <a:srgbClr val="000000"/>
              </a:solidFill>
            </a:endParaRPr>
          </a:p>
          <a:p>
            <a:pPr lvl="0" fontAlgn="auto">
              <a:defRPr/>
            </a:pPr>
            <a:r>
              <a:rPr lang="pl-PL" sz="1100" b="1" dirty="0">
                <a:solidFill>
                  <a:srgbClr val="000000"/>
                </a:solidFill>
              </a:rPr>
              <a:t>Przywileje Dawcy</a:t>
            </a:r>
          </a:p>
          <a:p>
            <a:pPr lvl="0" fontAlgn="auto">
              <a:defRPr/>
            </a:pPr>
            <a:r>
              <a:rPr lang="pl-PL" sz="1100" dirty="0">
                <a:solidFill>
                  <a:srgbClr val="000000"/>
                </a:solidFill>
              </a:rPr>
              <a:t>Każdemu Dawcy, w zależności od liczby pobrań, przysługuje odznaka „Dawcy Przeszczepu“ lub „Zasłużonego Dawcy Przeszczepu“ (Dz. U. nr 23, poz. 119).</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Ważne informacje dla Dawcy</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pl-PL"/>
              <a:t>06.11.2024</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grpSp>
        <p:nvGrpSpPr>
          <p:cNvPr id="12" name="Gruppieren 214">
            <a:extLst>
              <a:ext uri="{FF2B5EF4-FFF2-40B4-BE49-F238E27FC236}">
                <a16:creationId xmlns:a16="http://schemas.microsoft.com/office/drawing/2014/main" id="{5F305F9B-F1D1-4A60-BD0E-6E04CDE08106}"/>
              </a:ext>
            </a:extLst>
          </p:cNvPr>
          <p:cNvGrpSpPr/>
          <p:nvPr>
            <p:custDataLst>
              <p:tags r:id="rId6"/>
            </p:custDataLst>
          </p:nvPr>
        </p:nvGrpSpPr>
        <p:grpSpPr>
          <a:xfrm>
            <a:off x="1055610" y="1548000"/>
            <a:ext cx="442451" cy="442451"/>
            <a:chOff x="2871875" y="5785978"/>
            <a:chExt cx="442451" cy="442451"/>
          </a:xfrm>
        </p:grpSpPr>
        <p:sp>
          <p:nvSpPr>
            <p:cNvPr id="13" name="Ellipse 189">
              <a:extLst>
                <a:ext uri="{FF2B5EF4-FFF2-40B4-BE49-F238E27FC236}">
                  <a16:creationId xmlns:a16="http://schemas.microsoft.com/office/drawing/2014/main" id="{1B388632-F983-42A0-BF94-78418C83E52B}"/>
                </a:ext>
              </a:extLst>
            </p:cNvPr>
            <p:cNvSpPr>
              <a:spLocks/>
            </p:cNvSpPr>
            <p:nvPr/>
          </p:nvSpPr>
          <p:spPr>
            <a:xfrm>
              <a:off x="2871875" y="5785978"/>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4" name="Grafik 140">
              <a:extLst>
                <a:ext uri="{FF2B5EF4-FFF2-40B4-BE49-F238E27FC236}">
                  <a16:creationId xmlns:a16="http://schemas.microsoft.com/office/drawing/2014/main" id="{570A390D-7CBB-490D-8364-30656164454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950226" y="5864328"/>
              <a:ext cx="285750" cy="285750"/>
            </a:xfrm>
            <a:prstGeom prst="rect">
              <a:avLst/>
            </a:prstGeom>
          </p:spPr>
        </p:pic>
      </p:grpSp>
      <p:grpSp>
        <p:nvGrpSpPr>
          <p:cNvPr id="15" name="Gruppieren 222">
            <a:extLst>
              <a:ext uri="{FF2B5EF4-FFF2-40B4-BE49-F238E27FC236}">
                <a16:creationId xmlns:a16="http://schemas.microsoft.com/office/drawing/2014/main" id="{A848FEA3-DB1A-43BB-A2E5-C1FDF198C6D0}"/>
              </a:ext>
            </a:extLst>
          </p:cNvPr>
          <p:cNvGrpSpPr/>
          <p:nvPr>
            <p:custDataLst>
              <p:tags r:id="rId7"/>
            </p:custDataLst>
          </p:nvPr>
        </p:nvGrpSpPr>
        <p:grpSpPr>
          <a:xfrm>
            <a:off x="1055608" y="2488500"/>
            <a:ext cx="442451" cy="442451"/>
            <a:chOff x="4742105" y="2574759"/>
            <a:chExt cx="442451" cy="442451"/>
          </a:xfrm>
        </p:grpSpPr>
        <p:sp>
          <p:nvSpPr>
            <p:cNvPr id="16" name="Ellipse 127">
              <a:extLst>
                <a:ext uri="{FF2B5EF4-FFF2-40B4-BE49-F238E27FC236}">
                  <a16:creationId xmlns:a16="http://schemas.microsoft.com/office/drawing/2014/main" id="{7B6BAEBB-0936-45FC-8969-A80AE736DAC5}"/>
                </a:ext>
              </a:extLst>
            </p:cNvPr>
            <p:cNvSpPr>
              <a:spLocks/>
            </p:cNvSpPr>
            <p:nvPr/>
          </p:nvSpPr>
          <p:spPr>
            <a:xfrm>
              <a:off x="474210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7" name="Grafik 46">
              <a:extLst>
                <a:ext uri="{FF2B5EF4-FFF2-40B4-BE49-F238E27FC236}">
                  <a16:creationId xmlns:a16="http://schemas.microsoft.com/office/drawing/2014/main" id="{0533D3A3-4D6D-4DCA-96ED-7EF75A1CE45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820455" y="2653109"/>
              <a:ext cx="285750" cy="285750"/>
            </a:xfrm>
            <a:prstGeom prst="rect">
              <a:avLst/>
            </a:prstGeom>
          </p:spPr>
        </p:pic>
      </p:grpSp>
      <p:grpSp>
        <p:nvGrpSpPr>
          <p:cNvPr id="18" name="Gruppieren 254">
            <a:extLst>
              <a:ext uri="{FF2B5EF4-FFF2-40B4-BE49-F238E27FC236}">
                <a16:creationId xmlns:a16="http://schemas.microsoft.com/office/drawing/2014/main" id="{E5D389B7-6AE3-4B9B-95B7-D813EECF1897}"/>
              </a:ext>
            </a:extLst>
          </p:cNvPr>
          <p:cNvGrpSpPr/>
          <p:nvPr>
            <p:custDataLst>
              <p:tags r:id="rId8"/>
            </p:custDataLst>
          </p:nvPr>
        </p:nvGrpSpPr>
        <p:grpSpPr>
          <a:xfrm>
            <a:off x="1055608" y="3460751"/>
            <a:ext cx="442451" cy="442451"/>
            <a:chOff x="9417665" y="4178495"/>
            <a:chExt cx="442451" cy="442451"/>
          </a:xfrm>
        </p:grpSpPr>
        <p:sp>
          <p:nvSpPr>
            <p:cNvPr id="20" name="Ellipse 171">
              <a:extLst>
                <a:ext uri="{FF2B5EF4-FFF2-40B4-BE49-F238E27FC236}">
                  <a16:creationId xmlns:a16="http://schemas.microsoft.com/office/drawing/2014/main" id="{53030D00-D88D-480A-9C83-DA7C878F625E}"/>
                </a:ext>
              </a:extLst>
            </p:cNvPr>
            <p:cNvSpPr>
              <a:spLocks/>
            </p:cNvSpPr>
            <p:nvPr/>
          </p:nvSpPr>
          <p:spPr>
            <a:xfrm>
              <a:off x="9417665" y="4178495"/>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1" name="Grafik 106">
              <a:extLst>
                <a:ext uri="{FF2B5EF4-FFF2-40B4-BE49-F238E27FC236}">
                  <a16:creationId xmlns:a16="http://schemas.microsoft.com/office/drawing/2014/main" id="{443ED92D-BBCF-4588-B2F0-15EB9C1C094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96025" y="4258719"/>
              <a:ext cx="285750" cy="285750"/>
            </a:xfrm>
            <a:prstGeom prst="rect">
              <a:avLst/>
            </a:prstGeom>
          </p:spPr>
        </p:pic>
      </p:grpSp>
      <p:grpSp>
        <p:nvGrpSpPr>
          <p:cNvPr id="22" name="Gruppieren 239">
            <a:extLst>
              <a:ext uri="{FF2B5EF4-FFF2-40B4-BE49-F238E27FC236}">
                <a16:creationId xmlns:a16="http://schemas.microsoft.com/office/drawing/2014/main" id="{2F7D9536-1B8E-456D-B988-0A132B7E653C}"/>
              </a:ext>
            </a:extLst>
          </p:cNvPr>
          <p:cNvGrpSpPr/>
          <p:nvPr>
            <p:custDataLst>
              <p:tags r:id="rId9"/>
            </p:custDataLst>
          </p:nvPr>
        </p:nvGrpSpPr>
        <p:grpSpPr>
          <a:xfrm>
            <a:off x="1055607" y="4290127"/>
            <a:ext cx="442451" cy="442451"/>
            <a:chOff x="7547445" y="1771954"/>
            <a:chExt cx="442451" cy="442451"/>
          </a:xfrm>
        </p:grpSpPr>
        <p:sp>
          <p:nvSpPr>
            <p:cNvPr id="23" name="Ellipse 107">
              <a:extLst>
                <a:ext uri="{FF2B5EF4-FFF2-40B4-BE49-F238E27FC236}">
                  <a16:creationId xmlns:a16="http://schemas.microsoft.com/office/drawing/2014/main" id="{F8E6D5E3-7243-4468-9E44-DA4A0212E49C}"/>
                </a:ext>
              </a:extLst>
            </p:cNvPr>
            <p:cNvSpPr>
              <a:spLocks/>
            </p:cNvSpPr>
            <p:nvPr/>
          </p:nvSpPr>
          <p:spPr>
            <a:xfrm>
              <a:off x="7547445" y="1771954"/>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6" name="Grafik 28">
              <a:extLst>
                <a:ext uri="{FF2B5EF4-FFF2-40B4-BE49-F238E27FC236}">
                  <a16:creationId xmlns:a16="http://schemas.microsoft.com/office/drawing/2014/main" id="{37E33A76-6FBD-4A74-9E11-73E372AD548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625797" y="1850304"/>
              <a:ext cx="285750" cy="285750"/>
            </a:xfrm>
            <a:prstGeom prst="rect">
              <a:avLst/>
            </a:prstGeom>
          </p:spPr>
        </p:pic>
      </p:grpSp>
      <p:grpSp>
        <p:nvGrpSpPr>
          <p:cNvPr id="27" name="Gruppieren 252">
            <a:extLst>
              <a:ext uri="{FF2B5EF4-FFF2-40B4-BE49-F238E27FC236}">
                <a16:creationId xmlns:a16="http://schemas.microsoft.com/office/drawing/2014/main" id="{9CCEC021-7C80-42E6-8F7C-039F9000E15B}"/>
              </a:ext>
            </a:extLst>
          </p:cNvPr>
          <p:cNvGrpSpPr/>
          <p:nvPr>
            <p:custDataLst>
              <p:tags r:id="rId10"/>
            </p:custDataLst>
          </p:nvPr>
        </p:nvGrpSpPr>
        <p:grpSpPr>
          <a:xfrm>
            <a:off x="1055606" y="5119503"/>
            <a:ext cx="442451" cy="442451"/>
            <a:chOff x="9417675" y="2574759"/>
            <a:chExt cx="442451" cy="442451"/>
          </a:xfrm>
        </p:grpSpPr>
        <p:sp>
          <p:nvSpPr>
            <p:cNvPr id="28" name="Ellipse 137">
              <a:extLst>
                <a:ext uri="{FF2B5EF4-FFF2-40B4-BE49-F238E27FC236}">
                  <a16:creationId xmlns:a16="http://schemas.microsoft.com/office/drawing/2014/main" id="{7EE8ACDF-4B8D-4C41-B0F5-48B5A63B6032}"/>
                </a:ext>
              </a:extLst>
            </p:cNvPr>
            <p:cNvSpPr>
              <a:spLocks/>
            </p:cNvSpPr>
            <p:nvPr/>
          </p:nvSpPr>
          <p:spPr>
            <a:xfrm>
              <a:off x="941767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9" name="Grafik 56">
              <a:extLst>
                <a:ext uri="{FF2B5EF4-FFF2-40B4-BE49-F238E27FC236}">
                  <a16:creationId xmlns:a16="http://schemas.microsoft.com/office/drawing/2014/main" id="{9BB6F1FA-4F6A-4B7E-B8CF-AE70C37F4A2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496025" y="2653109"/>
              <a:ext cx="285750" cy="285750"/>
            </a:xfrm>
            <a:prstGeom prst="rect">
              <a:avLst/>
            </a:prstGeom>
          </p:spPr>
        </p:pic>
      </p:grpSp>
      <p:sp>
        <p:nvSpPr>
          <p:cNvPr id="3" name="Symbol zastępczy stopki 2">
            <a:extLst>
              <a:ext uri="{FF2B5EF4-FFF2-40B4-BE49-F238E27FC236}">
                <a16:creationId xmlns:a16="http://schemas.microsoft.com/office/drawing/2014/main" id="{B7CFDCF1-A8CD-471B-9C42-5B416FF92B1C}"/>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362420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D305A72-913A-132C-4F74-8786C32E7154}"/>
              </a:ext>
            </a:extLst>
          </p:cNvPr>
          <p:cNvSpPr>
            <a:spLocks noGrp="1"/>
          </p:cNvSpPr>
          <p:nvPr>
            <p:ph type="body" sz="quarter" idx="10"/>
            <p:custDataLst>
              <p:tags r:id="rId1"/>
            </p:custDataLst>
          </p:nvPr>
        </p:nvSpPr>
        <p:spPr>
          <a:xfrm>
            <a:off x="900000" y="3280068"/>
            <a:ext cx="3798107" cy="2534854"/>
          </a:xfrm>
        </p:spPr>
        <p:txBody>
          <a:bodyPr/>
          <a:lstStyle/>
          <a:p>
            <a:pPr>
              <a:lnSpc>
                <a:spcPct val="120000"/>
              </a:lnSpc>
            </a:pPr>
            <a:r>
              <a:rPr lang="pl-PL" dirty="0"/>
              <a:t>Funda</a:t>
            </a:r>
            <a:r>
              <a:rPr lang="de-DE" dirty="0" err="1"/>
              <a:t>cja</a:t>
            </a:r>
            <a:r>
              <a:rPr lang="pl-PL" dirty="0"/>
              <a:t> </a:t>
            </a:r>
            <a:r>
              <a:rPr lang="pl-PL" b="1" dirty="0">
                <a:solidFill>
                  <a:schemeClr val="accent1"/>
                </a:solidFill>
              </a:rPr>
              <a:t>DKMS</a:t>
            </a:r>
            <a:endParaRPr lang="pl-PL" dirty="0"/>
          </a:p>
          <a:p>
            <a:pPr>
              <a:lnSpc>
                <a:spcPct val="120000"/>
              </a:lnSpc>
            </a:pPr>
            <a:r>
              <a:rPr lang="pl-PL" dirty="0"/>
              <a:t>ul. Altowa 6/9</a:t>
            </a:r>
          </a:p>
          <a:p>
            <a:pPr>
              <a:lnSpc>
                <a:spcPct val="120000"/>
              </a:lnSpc>
            </a:pPr>
            <a:r>
              <a:rPr lang="pl-PL" dirty="0"/>
              <a:t>02-386 Warszawa</a:t>
            </a:r>
          </a:p>
          <a:p>
            <a:pPr>
              <a:lnSpc>
                <a:spcPct val="120000"/>
              </a:lnSpc>
            </a:pPr>
            <a:r>
              <a:rPr lang="pl-PL" dirty="0"/>
              <a:t>Polska</a:t>
            </a:r>
            <a:endParaRPr lang="de-DE" dirty="0"/>
          </a:p>
          <a:p>
            <a:pPr>
              <a:lnSpc>
                <a:spcPct val="120000"/>
              </a:lnSpc>
            </a:pPr>
            <a:endParaRPr lang="pl-PL" dirty="0"/>
          </a:p>
          <a:p>
            <a:pPr>
              <a:lnSpc>
                <a:spcPct val="120000"/>
              </a:lnSpc>
            </a:pPr>
            <a:r>
              <a:rPr lang="pl-PL" dirty="0"/>
              <a:t>T +48 22 882 94 00 </a:t>
            </a:r>
            <a:br>
              <a:rPr lang="pl-PL" dirty="0"/>
            </a:br>
            <a:r>
              <a:rPr lang="pl-PL" dirty="0"/>
              <a:t>F +48 22 882 94 02 </a:t>
            </a:r>
          </a:p>
          <a:p>
            <a:pPr>
              <a:lnSpc>
                <a:spcPct val="120000"/>
              </a:lnSpc>
            </a:pPr>
            <a:r>
              <a:rPr lang="pl-PL" dirty="0">
                <a:hlinkClick r:id="rId4"/>
              </a:rPr>
              <a:t>szkola@dkms.pl</a:t>
            </a:r>
            <a:endParaRPr lang="de-DE" dirty="0"/>
          </a:p>
          <a:p>
            <a:pPr>
              <a:lnSpc>
                <a:spcPct val="120000"/>
              </a:lnSpc>
            </a:pPr>
            <a:endParaRPr lang="de-DE" dirty="0"/>
          </a:p>
          <a:p>
            <a:pPr>
              <a:lnSpc>
                <a:spcPct val="120000"/>
              </a:lnSpc>
            </a:pPr>
            <a:r>
              <a:rPr lang="pl-PL" dirty="0" err="1"/>
              <a:t>dkms</a:t>
            </a:r>
            <a:r>
              <a:rPr lang="pl-PL" dirty="0"/>
              <a:t>.</a:t>
            </a:r>
            <a:r>
              <a:rPr lang="de-DE" dirty="0"/>
              <a:t>p</a:t>
            </a:r>
            <a:r>
              <a:rPr lang="pl-PL" dirty="0"/>
              <a:t>l</a:t>
            </a:r>
            <a:endParaRPr lang="de-DE" dirty="0"/>
          </a:p>
          <a:p>
            <a:pPr>
              <a:lnSpc>
                <a:spcPct val="120000"/>
              </a:lnSpc>
            </a:pPr>
            <a:endParaRPr lang="de-DE" dirty="0"/>
          </a:p>
          <a:p>
            <a:pPr>
              <a:lnSpc>
                <a:spcPct val="120000"/>
              </a:lnSpc>
            </a:pPr>
            <a:r>
              <a:rPr lang="pl-PL" dirty="0"/>
              <a:t>© DKMS 2024</a:t>
            </a:r>
          </a:p>
        </p:txBody>
      </p:sp>
    </p:spTree>
    <p:extLst>
      <p:ext uri="{BB962C8B-B14F-4D97-AF65-F5344CB8AC3E}">
        <p14:creationId xmlns:p14="http://schemas.microsoft.com/office/powerpoint/2010/main" val="456048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C1FC8DCC-A344-763D-8BD7-52512056AC66}"/>
              </a:ext>
            </a:extLst>
          </p:cNvPr>
          <p:cNvSpPr>
            <a:spLocks noGrp="1"/>
          </p:cNvSpPr>
          <p:nvPr>
            <p:ph type="title"/>
            <p:custDataLst>
              <p:tags r:id="rId1"/>
            </p:custDataLst>
          </p:nvPr>
        </p:nvSpPr>
        <p:spPr/>
        <p:txBody>
          <a:bodyPr/>
          <a:lstStyle/>
          <a:p>
            <a:r>
              <a:rPr lang="pl-PL" noProof="0" dirty="0"/>
              <a:t>Agenda</a:t>
            </a:r>
          </a:p>
        </p:txBody>
      </p:sp>
      <p:sp>
        <p:nvSpPr>
          <p:cNvPr id="12" name="Textplatzhalter 11">
            <a:extLst>
              <a:ext uri="{FF2B5EF4-FFF2-40B4-BE49-F238E27FC236}">
                <a16:creationId xmlns:a16="http://schemas.microsoft.com/office/drawing/2014/main" id="{A57EE4D0-2E46-5707-60C6-ABA062E979F8}"/>
              </a:ext>
            </a:extLst>
          </p:cNvPr>
          <p:cNvSpPr>
            <a:spLocks noGrp="1"/>
          </p:cNvSpPr>
          <p:nvPr>
            <p:ph type="body" sz="quarter" idx="13"/>
            <p:custDataLst>
              <p:tags r:id="rId2"/>
            </p:custDataLst>
          </p:nvPr>
        </p:nvSpPr>
        <p:spPr/>
        <p:txBody>
          <a:bodyPr/>
          <a:lstStyle/>
          <a:p>
            <a:r>
              <a:rPr lang="pl-PL" noProof="0">
                <a:solidFill>
                  <a:schemeClr val="accent2"/>
                </a:solidFill>
              </a:rPr>
              <a:t>01</a:t>
            </a:r>
            <a:endParaRPr lang="pl-PL" noProof="0" dirty="0">
              <a:solidFill>
                <a:schemeClr val="accent2"/>
              </a:solidFill>
            </a:endParaRPr>
          </a:p>
        </p:txBody>
      </p:sp>
      <p:sp>
        <p:nvSpPr>
          <p:cNvPr id="14" name="Textplatzhalter 13">
            <a:extLst>
              <a:ext uri="{FF2B5EF4-FFF2-40B4-BE49-F238E27FC236}">
                <a16:creationId xmlns:a16="http://schemas.microsoft.com/office/drawing/2014/main" id="{A62939A1-222E-0542-2CD1-C1ABBAD841C6}"/>
              </a:ext>
            </a:extLst>
          </p:cNvPr>
          <p:cNvSpPr>
            <a:spLocks noGrp="1"/>
          </p:cNvSpPr>
          <p:nvPr>
            <p:ph type="body" sz="quarter" idx="15"/>
            <p:custDataLst>
              <p:tags r:id="rId3"/>
            </p:custDataLst>
          </p:nvPr>
        </p:nvSpPr>
        <p:spPr/>
        <p:txBody>
          <a:bodyPr/>
          <a:lstStyle/>
          <a:p>
            <a:r>
              <a:rPr lang="pl-PL" noProof="0" dirty="0">
                <a:solidFill>
                  <a:schemeClr val="accent4"/>
                </a:solidFill>
              </a:rPr>
              <a:t>04</a:t>
            </a:r>
          </a:p>
        </p:txBody>
      </p:sp>
      <p:sp>
        <p:nvSpPr>
          <p:cNvPr id="18" name="Textplatzhalter 17">
            <a:extLst>
              <a:ext uri="{FF2B5EF4-FFF2-40B4-BE49-F238E27FC236}">
                <a16:creationId xmlns:a16="http://schemas.microsoft.com/office/drawing/2014/main" id="{FAAF6D3D-82F6-3FC6-3965-60A59BD1D4EB}"/>
              </a:ext>
            </a:extLst>
          </p:cNvPr>
          <p:cNvSpPr>
            <a:spLocks noGrp="1"/>
          </p:cNvSpPr>
          <p:nvPr>
            <p:ph type="body" sz="quarter" idx="19"/>
            <p:custDataLst>
              <p:tags r:id="rId4"/>
            </p:custDataLst>
          </p:nvPr>
        </p:nvSpPr>
        <p:spPr/>
        <p:txBody>
          <a:bodyPr/>
          <a:lstStyle/>
          <a:p>
            <a:r>
              <a:rPr lang="pl-PL" noProof="0">
                <a:solidFill>
                  <a:schemeClr val="accent3"/>
                </a:solidFill>
              </a:rPr>
              <a:t>02</a:t>
            </a:r>
            <a:endParaRPr lang="pl-PL" noProof="0" dirty="0">
              <a:solidFill>
                <a:schemeClr val="accent3"/>
              </a:solidFill>
            </a:endParaRPr>
          </a:p>
        </p:txBody>
      </p:sp>
      <p:sp>
        <p:nvSpPr>
          <p:cNvPr id="20" name="Textplatzhalter 19">
            <a:extLst>
              <a:ext uri="{FF2B5EF4-FFF2-40B4-BE49-F238E27FC236}">
                <a16:creationId xmlns:a16="http://schemas.microsoft.com/office/drawing/2014/main" id="{F16F2E67-8D5D-EC15-862D-B82104441487}"/>
              </a:ext>
            </a:extLst>
          </p:cNvPr>
          <p:cNvSpPr>
            <a:spLocks noGrp="1"/>
          </p:cNvSpPr>
          <p:nvPr>
            <p:ph type="body" sz="quarter" idx="21"/>
            <p:custDataLst>
              <p:tags r:id="rId5"/>
            </p:custDataLst>
          </p:nvPr>
        </p:nvSpPr>
        <p:spPr/>
        <p:txBody>
          <a:bodyPr/>
          <a:lstStyle/>
          <a:p>
            <a:r>
              <a:rPr lang="pl-PL" noProof="0">
                <a:solidFill>
                  <a:schemeClr val="accent2"/>
                </a:solidFill>
              </a:rPr>
              <a:t>05</a:t>
            </a:r>
            <a:endParaRPr lang="pl-PL" noProof="0" dirty="0">
              <a:solidFill>
                <a:schemeClr val="accent2"/>
              </a:solidFill>
            </a:endParaRPr>
          </a:p>
        </p:txBody>
      </p:sp>
      <p:sp>
        <p:nvSpPr>
          <p:cNvPr id="24" name="Textplatzhalter 23">
            <a:extLst>
              <a:ext uri="{FF2B5EF4-FFF2-40B4-BE49-F238E27FC236}">
                <a16:creationId xmlns:a16="http://schemas.microsoft.com/office/drawing/2014/main" id="{F5216EDD-F3B5-59DC-42B0-12ADFD46624E}"/>
              </a:ext>
            </a:extLst>
          </p:cNvPr>
          <p:cNvSpPr>
            <a:spLocks noGrp="1"/>
          </p:cNvSpPr>
          <p:nvPr>
            <p:ph type="body" sz="quarter" idx="25"/>
            <p:custDataLst>
              <p:tags r:id="rId6"/>
            </p:custDataLst>
          </p:nvPr>
        </p:nvSpPr>
        <p:spPr/>
        <p:txBody>
          <a:bodyPr/>
          <a:lstStyle/>
          <a:p>
            <a:r>
              <a:rPr lang="pl-PL" noProof="0">
                <a:solidFill>
                  <a:schemeClr val="accent5"/>
                </a:solidFill>
              </a:rPr>
              <a:t>03</a:t>
            </a:r>
            <a:endParaRPr lang="pl-PL" noProof="0" dirty="0">
              <a:solidFill>
                <a:schemeClr val="accent5"/>
              </a:solidFill>
            </a:endParaRPr>
          </a:p>
        </p:txBody>
      </p:sp>
      <p:sp>
        <p:nvSpPr>
          <p:cNvPr id="13" name="Textplatzhalter 12">
            <a:extLst>
              <a:ext uri="{FF2B5EF4-FFF2-40B4-BE49-F238E27FC236}">
                <a16:creationId xmlns:a16="http://schemas.microsoft.com/office/drawing/2014/main" id="{E0653918-B646-409B-7D2D-0F7A15D15216}"/>
              </a:ext>
            </a:extLst>
          </p:cNvPr>
          <p:cNvSpPr>
            <a:spLocks noGrp="1"/>
          </p:cNvSpPr>
          <p:nvPr>
            <p:ph type="body" sz="quarter" idx="14"/>
            <p:custDataLst>
              <p:tags r:id="rId7"/>
            </p:custDataLst>
          </p:nvPr>
        </p:nvSpPr>
        <p:spPr/>
        <p:txBody>
          <a:bodyPr/>
          <a:lstStyle/>
          <a:p>
            <a:r>
              <a:rPr lang="pl-PL" dirty="0"/>
              <a:t>O Fundacji DKMS</a:t>
            </a:r>
            <a:endParaRPr lang="pl-PL" noProof="0" dirty="0"/>
          </a:p>
          <a:p>
            <a:pPr lvl="1"/>
            <a:r>
              <a:rPr lang="pl-PL" dirty="0"/>
              <a:t>Daty, misja i cele</a:t>
            </a:r>
            <a:endParaRPr lang="pl-PL" noProof="0" dirty="0"/>
          </a:p>
        </p:txBody>
      </p:sp>
      <p:sp>
        <p:nvSpPr>
          <p:cNvPr id="15" name="Textplatzhalter 14">
            <a:extLst>
              <a:ext uri="{FF2B5EF4-FFF2-40B4-BE49-F238E27FC236}">
                <a16:creationId xmlns:a16="http://schemas.microsoft.com/office/drawing/2014/main" id="{0D9B0E63-5B81-97F2-95E3-1D2BFFE5159E}"/>
              </a:ext>
            </a:extLst>
          </p:cNvPr>
          <p:cNvSpPr>
            <a:spLocks noGrp="1"/>
          </p:cNvSpPr>
          <p:nvPr>
            <p:ph type="body" sz="quarter" idx="34"/>
            <p:custDataLst>
              <p:tags r:id="rId8"/>
            </p:custDataLst>
          </p:nvPr>
        </p:nvSpPr>
        <p:spPr/>
        <p:txBody>
          <a:bodyPr/>
          <a:lstStyle/>
          <a:p>
            <a:r>
              <a:rPr lang="pl-PL" dirty="0"/>
              <a:t>Fundacja DKMS w liczbach</a:t>
            </a:r>
            <a:endParaRPr lang="pl-PL" noProof="0" dirty="0"/>
          </a:p>
          <a:p>
            <a:pPr lvl="1"/>
            <a:r>
              <a:rPr lang="pl-PL" noProof="0" dirty="0"/>
              <a:t>Potencjalni Dawcy szpiku w Polsce i na świecie</a:t>
            </a:r>
          </a:p>
        </p:txBody>
      </p:sp>
      <p:sp>
        <p:nvSpPr>
          <p:cNvPr id="17" name="Textplatzhalter 16">
            <a:extLst>
              <a:ext uri="{FF2B5EF4-FFF2-40B4-BE49-F238E27FC236}">
                <a16:creationId xmlns:a16="http://schemas.microsoft.com/office/drawing/2014/main" id="{A39B5A28-173E-487B-34B7-DBCF22529F12}"/>
              </a:ext>
            </a:extLst>
          </p:cNvPr>
          <p:cNvSpPr>
            <a:spLocks noGrp="1"/>
          </p:cNvSpPr>
          <p:nvPr>
            <p:ph type="body" sz="quarter" idx="35"/>
            <p:custDataLst>
              <p:tags r:id="rId9"/>
            </p:custDataLst>
          </p:nvPr>
        </p:nvSpPr>
        <p:spPr/>
        <p:txBody>
          <a:bodyPr/>
          <a:lstStyle/>
          <a:p>
            <a:r>
              <a:rPr lang="pl-PL" dirty="0"/>
              <a:t>Kto może zostać potencjalnym Dawcą szpiku?</a:t>
            </a:r>
            <a:endParaRPr lang="pl-PL" noProof="0" dirty="0"/>
          </a:p>
          <a:p>
            <a:pPr lvl="1"/>
            <a:r>
              <a:rPr lang="pl-PL" noProof="0" dirty="0"/>
              <a:t>Kryteria rejestracji</a:t>
            </a:r>
          </a:p>
        </p:txBody>
      </p:sp>
      <p:sp>
        <p:nvSpPr>
          <p:cNvPr id="19" name="Textplatzhalter 18">
            <a:extLst>
              <a:ext uri="{FF2B5EF4-FFF2-40B4-BE49-F238E27FC236}">
                <a16:creationId xmlns:a16="http://schemas.microsoft.com/office/drawing/2014/main" id="{EE5D3C3A-D15D-239C-CFD7-F2AE138D9498}"/>
              </a:ext>
            </a:extLst>
          </p:cNvPr>
          <p:cNvSpPr>
            <a:spLocks noGrp="1"/>
          </p:cNvSpPr>
          <p:nvPr>
            <p:ph type="body" sz="quarter" idx="36"/>
            <p:custDataLst>
              <p:tags r:id="rId10"/>
            </p:custDataLst>
          </p:nvPr>
        </p:nvSpPr>
        <p:spPr/>
        <p:txBody>
          <a:bodyPr/>
          <a:lstStyle/>
          <a:p>
            <a:r>
              <a:rPr lang="pl-PL" noProof="0" dirty="0"/>
              <a:t>Metody pobrania </a:t>
            </a:r>
          </a:p>
          <a:p>
            <a:pPr lvl="1"/>
            <a:r>
              <a:rPr lang="pl-PL" noProof="0" dirty="0"/>
              <a:t>Pobranie komórek macierzystych z krwi obwodowej i pobranie szpiku z talerza kości biodrowej</a:t>
            </a:r>
          </a:p>
        </p:txBody>
      </p:sp>
      <p:sp>
        <p:nvSpPr>
          <p:cNvPr id="21" name="Textplatzhalter 20">
            <a:extLst>
              <a:ext uri="{FF2B5EF4-FFF2-40B4-BE49-F238E27FC236}">
                <a16:creationId xmlns:a16="http://schemas.microsoft.com/office/drawing/2014/main" id="{FC5961A1-A11E-0492-7330-E9A1AC9D7862}"/>
              </a:ext>
            </a:extLst>
          </p:cNvPr>
          <p:cNvSpPr>
            <a:spLocks noGrp="1"/>
          </p:cNvSpPr>
          <p:nvPr>
            <p:ph type="body" sz="quarter" idx="37"/>
            <p:custDataLst>
              <p:tags r:id="rId11"/>
            </p:custDataLst>
          </p:nvPr>
        </p:nvSpPr>
        <p:spPr/>
        <p:txBody>
          <a:bodyPr/>
          <a:lstStyle/>
          <a:p>
            <a:r>
              <a:rPr lang="pl-PL" dirty="0"/>
              <a:t>Ważne informacje dla Dawcy</a:t>
            </a:r>
            <a:endParaRPr lang="pl-PL" noProof="0" dirty="0"/>
          </a:p>
          <a:p>
            <a:pPr lvl="1"/>
            <a:r>
              <a:rPr lang="pl-PL" dirty="0"/>
              <a:t>Co warto wiedzieć?</a:t>
            </a:r>
            <a:endParaRPr lang="pl-PL" noProof="0" dirty="0"/>
          </a:p>
        </p:txBody>
      </p:sp>
      <p:sp>
        <p:nvSpPr>
          <p:cNvPr id="3" name="Datumsplatzhalter 2">
            <a:extLst>
              <a:ext uri="{FF2B5EF4-FFF2-40B4-BE49-F238E27FC236}">
                <a16:creationId xmlns:a16="http://schemas.microsoft.com/office/drawing/2014/main" id="{B745CB0F-CCBE-4359-8668-12F64DD57B04}"/>
              </a:ext>
            </a:extLst>
          </p:cNvPr>
          <p:cNvSpPr>
            <a:spLocks noGrp="1"/>
          </p:cNvSpPr>
          <p:nvPr>
            <p:ph type="dt" sz="half" idx="42"/>
            <p:custDataLst>
              <p:tags r:id="rId12"/>
            </p:custDataLst>
          </p:nvPr>
        </p:nvSpPr>
        <p:spPr/>
        <p:txBody>
          <a:bodyPr/>
          <a:lstStyle/>
          <a:p>
            <a:r>
              <a:rPr lang="pl-PL"/>
              <a:t>06.11.2024</a:t>
            </a:r>
            <a:endParaRPr lang="pl-PL" dirty="0"/>
          </a:p>
        </p:txBody>
      </p:sp>
      <p:sp>
        <p:nvSpPr>
          <p:cNvPr id="2" name="Symbol zastępczy stopki 1">
            <a:extLst>
              <a:ext uri="{FF2B5EF4-FFF2-40B4-BE49-F238E27FC236}">
                <a16:creationId xmlns:a16="http://schemas.microsoft.com/office/drawing/2014/main" id="{005B5FD9-D46D-4C06-87E4-F8E7B7F1270D}"/>
              </a:ext>
            </a:extLst>
          </p:cNvPr>
          <p:cNvSpPr>
            <a:spLocks noGrp="1"/>
          </p:cNvSpPr>
          <p:nvPr>
            <p:ph type="ftr" sz="quarter" idx="43"/>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1085227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sz="2000" noProof="0" dirty="0"/>
              <a:t>Daty, misja i cel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noProof="0" dirty="0"/>
              <a:t>O Fundacji DKMS </a:t>
            </a:r>
          </a:p>
        </p:txBody>
      </p:sp>
    </p:spTree>
    <p:extLst>
      <p:ext uri="{BB962C8B-B14F-4D97-AF65-F5344CB8AC3E}">
        <p14:creationId xmlns:p14="http://schemas.microsoft.com/office/powerpoint/2010/main" val="2038287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r>
              <a:rPr lang="en-US" altLang="en-US" dirty="0" err="1"/>
              <a:t>Fundacja</a:t>
            </a:r>
            <a:r>
              <a:rPr lang="en-US" altLang="en-US" dirty="0"/>
              <a:t> DKMS </a:t>
            </a:r>
            <a:r>
              <a:rPr lang="en-US" altLang="en-US" dirty="0" err="1"/>
              <a:t>dzia</a:t>
            </a:r>
            <a:r>
              <a:rPr lang="pl-PL" altLang="en-US" dirty="0"/>
              <a:t>ł</a:t>
            </a:r>
            <a:r>
              <a:rPr lang="en-US" altLang="en-US" dirty="0"/>
              <a:t>a</a:t>
            </a:r>
            <a:r>
              <a:rPr lang="pl-PL" altLang="en-US" dirty="0"/>
              <a:t> w Polsce od 2008 roku jako niezależna organizacja pożytku publicznego, </a:t>
            </a:r>
            <a:br>
              <a:rPr lang="pl-PL" altLang="en-US" dirty="0"/>
            </a:br>
            <a:r>
              <a:rPr lang="pl-PL" altLang="en-US" dirty="0"/>
              <a:t>w oparciu o decyzję Ministra Zdrowia, i jest największym Ośrodkiem Dawców Szpiku w kraju. </a:t>
            </a:r>
          </a:p>
          <a:p>
            <a:endParaRPr lang="pl-PL" altLang="en-US" dirty="0"/>
          </a:p>
          <a:p>
            <a:r>
              <a:rPr lang="pl-PL" altLang="en-US" dirty="0"/>
              <a:t>Prowadzi głównie działania mające na celu edukację społeczną w zakresie szerzenia idei dawstwa szpiku oraz rejestruje potencjalnych </a:t>
            </a:r>
            <a:r>
              <a:rPr lang="en-US" altLang="en-US" dirty="0" err="1"/>
              <a:t>Dawców</a:t>
            </a:r>
            <a:r>
              <a:rPr lang="en-US" altLang="en-US" dirty="0"/>
              <a:t> </a:t>
            </a:r>
            <a:r>
              <a:rPr lang="en-US" altLang="en-US" dirty="0" err="1"/>
              <a:t>krwiotwórczych</a:t>
            </a:r>
            <a:r>
              <a:rPr lang="en-US" altLang="en-US" dirty="0"/>
              <a:t> </a:t>
            </a:r>
            <a:r>
              <a:rPr lang="en-US" altLang="en-US" dirty="0" err="1"/>
              <a:t>komórek</a:t>
            </a:r>
            <a:r>
              <a:rPr lang="en-US" altLang="en-US" dirty="0"/>
              <a:t> </a:t>
            </a:r>
            <a:r>
              <a:rPr lang="en-US" altLang="en-US" dirty="0" err="1"/>
              <a:t>macierzystych</a:t>
            </a:r>
            <a:r>
              <a:rPr lang="en-US" altLang="en-US" dirty="0"/>
              <a:t>.</a:t>
            </a:r>
          </a:p>
          <a:p>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O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pl-PL"/>
              <a:t>06.11.2024</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sp>
        <p:nvSpPr>
          <p:cNvPr id="20" name="Textplatzhalter 114">
            <a:extLst>
              <a:ext uri="{FF2B5EF4-FFF2-40B4-BE49-F238E27FC236}">
                <a16:creationId xmlns:a16="http://schemas.microsoft.com/office/drawing/2014/main" id="{DF6B9DCC-F7E3-797C-94C2-CF9AEC9A133D}"/>
              </a:ext>
            </a:extLst>
          </p:cNvPr>
          <p:cNvSpPr txBox="1">
            <a:spLocks/>
          </p:cNvSpPr>
          <p:nvPr/>
        </p:nvSpPr>
        <p:spPr>
          <a:xfrm>
            <a:off x="1673496" y="5220000"/>
            <a:ext cx="8753205"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endParaRPr lang="pl-PL" sz="2650" b="1" dirty="0">
              <a:solidFill>
                <a:schemeClr val="tx2"/>
              </a:solidFill>
            </a:endParaRPr>
          </a:p>
        </p:txBody>
      </p:sp>
      <p:pic>
        <p:nvPicPr>
          <p:cNvPr id="106" name="Picture 105">
            <a:extLst>
              <a:ext uri="{FF2B5EF4-FFF2-40B4-BE49-F238E27FC236}">
                <a16:creationId xmlns:a16="http://schemas.microsoft.com/office/drawing/2014/main" id="{D12004D0-8CEA-44C1-916A-7F9E9D30F827}"/>
              </a:ext>
            </a:extLst>
          </p:cNvPr>
          <p:cNvPicPr>
            <a:picLocks noChangeAspect="1"/>
          </p:cNvPicPr>
          <p:nvPr/>
        </p:nvPicPr>
        <p:blipFill>
          <a:blip r:embed="rId8"/>
          <a:stretch>
            <a:fillRect/>
          </a:stretch>
        </p:blipFill>
        <p:spPr>
          <a:xfrm>
            <a:off x="1686053" y="3516219"/>
            <a:ext cx="8997696" cy="2657781"/>
          </a:xfrm>
          <a:prstGeom prst="rect">
            <a:avLst/>
          </a:prstGeom>
        </p:spPr>
      </p:pic>
      <p:sp>
        <p:nvSpPr>
          <p:cNvPr id="3" name="Symbol zastępczy stopki 2">
            <a:extLst>
              <a:ext uri="{FF2B5EF4-FFF2-40B4-BE49-F238E27FC236}">
                <a16:creationId xmlns:a16="http://schemas.microsoft.com/office/drawing/2014/main" id="{630F4666-E852-44CB-8AB6-B5C95FFEDA20}"/>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15509261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pPr fontAlgn="auto">
              <a:defRPr/>
            </a:pPr>
            <a:r>
              <a:rPr lang="pl-PL" altLang="en-US" b="1" dirty="0"/>
              <a:t>Cele fundacji realizowane są m.in. poprzez następujące działania</a:t>
            </a:r>
            <a:r>
              <a:rPr lang="pl-PL" altLang="en-US" dirty="0"/>
              <a:t>:</a:t>
            </a:r>
          </a:p>
          <a:p>
            <a:pPr marL="0" marR="0" lvl="0" indent="0" algn="l" defTabSz="914400" rtl="0" eaLnBrk="1" fontAlgn="auto" latinLnBrk="0" hangingPunct="1">
              <a:spcBef>
                <a:spcPts val="0"/>
              </a:spcBef>
              <a:buClrTx/>
              <a:buSzTx/>
              <a:buFont typeface="Arial" panose="020B0604020202020204" pitchFamily="34" charset="0"/>
              <a:buNone/>
              <a:tabLst/>
              <a:defRPr/>
            </a:pPr>
            <a:endParaRPr lang="pl-PL" noProof="0" dirty="0"/>
          </a:p>
          <a:p>
            <a:pPr lvl="1"/>
            <a:r>
              <a:rPr lang="pl-PL" noProof="0" dirty="0"/>
              <a:t>edukację społeczną w zakresie dobrowolnego dawstwa krwiotwórczych komórek macierzystych;</a:t>
            </a:r>
          </a:p>
          <a:p>
            <a:pPr lvl="1"/>
            <a:r>
              <a:rPr lang="pl-PL" dirty="0"/>
              <a:t>rejestrację potencjalnych Dawców szpiku wraz z oznaczeniem antygenu HLA i wprowadzeniem ich do rejestru;</a:t>
            </a:r>
          </a:p>
          <a:p>
            <a:pPr lvl="1"/>
            <a:r>
              <a:rPr lang="pl-PL" altLang="en-US" dirty="0"/>
              <a:t>badanie i opiekę nad potencjalnymi  oraz faktycznymi Dawcami krwiotwórczych komórek macierzystych;</a:t>
            </a:r>
          </a:p>
          <a:p>
            <a:pPr lvl="1"/>
            <a:r>
              <a:rPr lang="pl-PL" altLang="en-US" dirty="0"/>
              <a:t>współpracę z innymi Ośrodkami Dawców Szpiku, ośrodkami transplantacyjnymi i rejestrem Dawców szpiku na terenie Polski i poza jej granicami. </a:t>
            </a:r>
          </a:p>
          <a:p>
            <a:pPr lvl="4"/>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Cele i misja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a:xfrm>
            <a:off x="10751638" y="6470705"/>
            <a:ext cx="1080000" cy="281691"/>
          </a:xfrm>
        </p:spPr>
        <p:txBody>
          <a:bodyPr/>
          <a:lstStyle/>
          <a:p>
            <a:pPr algn="r"/>
            <a:r>
              <a:rPr lang="pl-PL"/>
              <a:t>06.11.2024</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grpSp>
        <p:nvGrpSpPr>
          <p:cNvPr id="7" name="Gruppieren 6">
            <a:extLst>
              <a:ext uri="{FF2B5EF4-FFF2-40B4-BE49-F238E27FC236}">
                <a16:creationId xmlns:a16="http://schemas.microsoft.com/office/drawing/2014/main" id="{2779E002-23C0-6F70-DCFE-9CC4C70C536B}"/>
              </a:ext>
            </a:extLst>
          </p:cNvPr>
          <p:cNvGrpSpPr/>
          <p:nvPr>
            <p:custDataLst>
              <p:tags r:id="rId6"/>
            </p:custDataLst>
          </p:nvPr>
        </p:nvGrpSpPr>
        <p:grpSpPr>
          <a:xfrm>
            <a:off x="898524" y="5220000"/>
            <a:ext cx="10644971" cy="609505"/>
            <a:chOff x="898524" y="5524895"/>
            <a:chExt cx="10644971" cy="609505"/>
          </a:xfrm>
        </p:grpSpPr>
        <p:sp>
          <p:nvSpPr>
            <p:cNvPr id="3" name="Textplatzhalter 114">
              <a:extLst>
                <a:ext uri="{FF2B5EF4-FFF2-40B4-BE49-F238E27FC236}">
                  <a16:creationId xmlns:a16="http://schemas.microsoft.com/office/drawing/2014/main" id="{849A896D-63A5-710B-5922-FD0E2EF2E9E3}"/>
                </a:ext>
              </a:extLst>
            </p:cNvPr>
            <p:cNvSpPr txBox="1">
              <a:spLocks/>
            </p:cNvSpPr>
            <p:nvPr/>
          </p:nvSpPr>
          <p:spPr>
            <a:xfrm>
              <a:off x="1673496" y="5524895"/>
              <a:ext cx="9869999"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r>
                <a:rPr lang="pl-PL" sz="1800" b="1" dirty="0">
                  <a:solidFill>
                    <a:schemeClr val="tx2"/>
                  </a:solidFill>
                </a:rPr>
                <a:t>Misją Fundacji DKMS jest znalezienie Dawcy dla każdego Pacjenta chorującego na nowotwór krwi, potrzebującego przeszczepienia krwiotwórczych komórek macierzystych. </a:t>
              </a:r>
            </a:p>
          </p:txBody>
        </p:sp>
        <p:pic>
          <p:nvPicPr>
            <p:cNvPr id="4" name="Grafik 3">
              <a:extLst>
                <a:ext uri="{FF2B5EF4-FFF2-40B4-BE49-F238E27FC236}">
                  <a16:creationId xmlns:a16="http://schemas.microsoft.com/office/drawing/2014/main" id="{483C2F5B-0235-55C7-D47C-7F479B9D8C0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8524" y="5535791"/>
              <a:ext cx="765788" cy="598609"/>
            </a:xfrm>
            <a:prstGeom prst="rect">
              <a:avLst/>
            </a:prstGeom>
          </p:spPr>
        </p:pic>
      </p:grpSp>
      <p:sp>
        <p:nvSpPr>
          <p:cNvPr id="5" name="Symbol zastępczy stopki 4">
            <a:extLst>
              <a:ext uri="{FF2B5EF4-FFF2-40B4-BE49-F238E27FC236}">
                <a16:creationId xmlns:a16="http://schemas.microsoft.com/office/drawing/2014/main" id="{C3C1E103-D236-4098-84FE-7D8A8CD6C0A5}"/>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481034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Potencjalni Dawcy szpiku w Polsce i na świeci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Fundacja DKMS w liczbach</a:t>
            </a:r>
          </a:p>
        </p:txBody>
      </p:sp>
    </p:spTree>
    <p:extLst>
      <p:ext uri="{BB962C8B-B14F-4D97-AF65-F5344CB8AC3E}">
        <p14:creationId xmlns:p14="http://schemas.microsoft.com/office/powerpoint/2010/main" val="352167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491840" y="1466500"/>
            <a:ext cx="5286376" cy="3976898"/>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sz="1400" b="1" dirty="0">
                <a:solidFill>
                  <a:srgbClr val="000000"/>
                </a:solidFill>
                <a:latin typeface="Arial"/>
              </a:rPr>
              <a:t>Ś</a:t>
            </a:r>
            <a:r>
              <a:rPr kumimoji="0" lang="pl-PL" sz="1400" b="1" i="0" u="none" strike="noStrike" kern="1200" cap="none" spc="0" normalizeH="0" baseline="0" noProof="0" dirty="0">
                <a:ln>
                  <a:noFill/>
                </a:ln>
                <a:solidFill>
                  <a:srgbClr val="000000"/>
                </a:solidFill>
                <a:effectLst/>
                <a:uLnTx/>
                <a:uFillTx/>
                <a:latin typeface="Arial"/>
                <a:ea typeface="+mn-ea"/>
                <a:cs typeface="+mn-cs"/>
              </a:rPr>
              <a:t>wiat:</a:t>
            </a:r>
          </a:p>
          <a:p>
            <a:pPr lvl="0" fontAlgn="auto">
              <a:defRPr/>
            </a:pPr>
            <a:r>
              <a:rPr lang="pl-PL" sz="1400" b="1" dirty="0">
                <a:solidFill>
                  <a:srgbClr val="000000"/>
                </a:solidFill>
              </a:rPr>
              <a:t>Ponad 42 542 813* – </a:t>
            </a:r>
            <a:r>
              <a:rPr lang="pl-PL" sz="1400" dirty="0">
                <a:solidFill>
                  <a:srgbClr val="000000"/>
                </a:solidFill>
              </a:rPr>
              <a:t>liczba osób figurujących w światowej bazie Dawców szpiku (</a:t>
            </a:r>
            <a:r>
              <a:rPr lang="en-US" sz="1400" dirty="0"/>
              <a:t>Bone Marrow Donors Worldwide)</a:t>
            </a:r>
            <a:r>
              <a:rPr lang="pl-PL" sz="1400" dirty="0">
                <a:solidFill>
                  <a:srgbClr val="000000"/>
                </a:solidFill>
              </a:rPr>
              <a:t>.</a:t>
            </a:r>
            <a:endParaRPr lang="pl-PL" sz="1400" b="1" dirty="0">
              <a:solidFill>
                <a:srgbClr val="000000"/>
              </a:solidFill>
              <a:latin typeface="Arial"/>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2 647 638– </a:t>
            </a:r>
            <a:r>
              <a:rPr kumimoji="0" lang="pl-PL" sz="1400" i="0" u="none" strike="noStrike" kern="1200" cap="none" spc="0" normalizeH="0" baseline="0" noProof="0" dirty="0">
                <a:ln>
                  <a:noFill/>
                </a:ln>
                <a:solidFill>
                  <a:srgbClr val="000000"/>
                </a:solidFill>
                <a:effectLst/>
                <a:uLnTx/>
                <a:uFillTx/>
                <a:latin typeface="Arial"/>
                <a:ea typeface="+mn-ea"/>
                <a:cs typeface="+mn-cs"/>
              </a:rPr>
              <a:t>liczba potencjalnych Dawców szpiku zarejestrowanych </a:t>
            </a:r>
            <a:r>
              <a:rPr lang="pl-PL" sz="1400" dirty="0">
                <a:solidFill>
                  <a:srgbClr val="000000"/>
                </a:solidFill>
                <a:latin typeface="Arial"/>
              </a:rPr>
              <a:t>we wszystkich bazach </a:t>
            </a:r>
            <a:r>
              <a:rPr kumimoji="0" lang="pl-PL" sz="1400" i="0" u="none" strike="noStrike" kern="1200" cap="none" spc="0" normalizeH="0" baseline="0" noProof="0" dirty="0">
                <a:ln>
                  <a:noFill/>
                </a:ln>
                <a:solidFill>
                  <a:srgbClr val="000000"/>
                </a:solidFill>
                <a:effectLst/>
                <a:uLnTx/>
                <a:uFillTx/>
                <a:latin typeface="Arial"/>
                <a:ea typeface="+mn-ea"/>
                <a:cs typeface="+mn-cs"/>
              </a:rPr>
              <a:t>DKMS na świecie.</a:t>
            </a:r>
          </a:p>
          <a:p>
            <a:pPr lvl="0" fontAlgn="auto">
              <a:defRPr/>
            </a:pPr>
            <a:endParaRPr kumimoji="0" lang="pl-PL" sz="1400" i="0" u="none" strike="noStrike" kern="1200" cap="none" spc="0" normalizeH="0" baseline="0" noProof="0" dirty="0">
              <a:ln>
                <a:noFill/>
              </a:ln>
              <a:solidFill>
                <a:srgbClr val="000000"/>
              </a:solidFill>
              <a:effectLst/>
              <a:uLnTx/>
              <a:uFillTx/>
              <a:latin typeface="Arial"/>
              <a:ea typeface="+mn-ea"/>
              <a:cs typeface="+mn-cs"/>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lska:</a:t>
            </a:r>
          </a:p>
          <a:p>
            <a:pPr fontAlgn="auto">
              <a:defRPr/>
            </a:pPr>
            <a:r>
              <a:rPr lang="pl-PL" sz="1400" b="1" dirty="0">
                <a:solidFill>
                  <a:srgbClr val="000000"/>
                </a:solidFill>
                <a:latin typeface="Arial"/>
              </a:rPr>
              <a:t>Ponad 2 010 111 - </a:t>
            </a:r>
            <a:r>
              <a:rPr lang="pl-PL" sz="1400" dirty="0">
                <a:solidFill>
                  <a:srgbClr val="000000"/>
                </a:solidFill>
                <a:latin typeface="Arial"/>
              </a:rPr>
              <a:t> </a:t>
            </a:r>
            <a:r>
              <a:rPr lang="pl-PL" altLang="en-US" sz="1400" dirty="0">
                <a:solidFill>
                  <a:srgbClr val="000000"/>
                </a:solidFill>
              </a:rPr>
              <a:t>liczba potencjalnych Dawców szpiku zarejestrowanych w Fundacji DKMS w Polsce (osób, które wyraziły gotowość do oddania krwiotwórczych komórek macierzystych Pacjentom).  </a:t>
            </a:r>
            <a:endParaRPr lang="en-GB" altLang="en-US" sz="1400" dirty="0">
              <a:solidFill>
                <a:srgbClr val="000000"/>
              </a:solidFill>
            </a:endParaRPr>
          </a:p>
          <a:p>
            <a:pPr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4 482- </a:t>
            </a:r>
            <a:r>
              <a:rPr lang="pl-PL" altLang="en-US" sz="1400" dirty="0">
                <a:solidFill>
                  <a:srgbClr val="000000"/>
                </a:solidFill>
              </a:rPr>
              <a:t>liczba realnych Dawców z Fundacji DKMS (osób, które już oddały swoje krwiotwórcze komórki macierzyste Pacjentom).</a:t>
            </a:r>
          </a:p>
          <a:p>
            <a:pPr fontAlgn="auto">
              <a:defRPr/>
            </a:pPr>
            <a:endParaRPr lang="pl-PL" altLang="en-US" sz="1400" dirty="0">
              <a:solidFill>
                <a:srgbClr val="000000"/>
              </a:solidFill>
            </a:endParaRP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Fundacja DKMS w liczbach</a:t>
            </a:r>
            <a:br>
              <a:rPr lang="pl-PL" noProof="0" dirty="0"/>
            </a:br>
            <a:endParaRPr lang="pl-PL" noProof="0" dirty="0"/>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pl-PL"/>
              <a:t>06.11.2024</a:t>
            </a:r>
            <a:endParaRPr lang="pl-PL" dirty="0"/>
          </a:p>
        </p:txBody>
      </p:sp>
      <p:pic>
        <p:nvPicPr>
          <p:cNvPr id="13" name="Grafik 74">
            <a:extLst>
              <a:ext uri="{FF2B5EF4-FFF2-40B4-BE49-F238E27FC236}">
                <a16:creationId xmlns:a16="http://schemas.microsoft.com/office/drawing/2014/main" id="{F2811FBF-9068-4E31-83B7-AD46B2E7B709}"/>
              </a:ext>
            </a:extLst>
          </p:cNvPr>
          <p:cNvPicPr>
            <a:picLocks noChangeAspect="1"/>
          </p:cNvPicPr>
          <p:nvPr>
            <p:custDataLst>
              <p:tags r:id="rId5"/>
            </p:custDataLst>
          </p:nvPr>
        </p:nvPicPr>
        <p:blipFill>
          <a:blip r:embed="rId184">
            <a:extLst>
              <a:ext uri="{96DAC541-7B7A-43D3-8B79-37D633B846F1}">
                <asvg:svgBlip xmlns:asvg="http://schemas.microsoft.com/office/drawing/2016/SVG/main" r:embed="rId185"/>
              </a:ext>
            </a:extLst>
          </a:blip>
          <a:stretch>
            <a:fillRect/>
          </a:stretch>
        </p:blipFill>
        <p:spPr>
          <a:xfrm>
            <a:off x="898524" y="1443599"/>
            <a:ext cx="383860" cy="383860"/>
          </a:xfrm>
          <a:prstGeom prst="rect">
            <a:avLst/>
          </a:prstGeom>
        </p:spPr>
      </p:pic>
      <p:pic>
        <p:nvPicPr>
          <p:cNvPr id="14" name="Grafik 136">
            <a:extLst>
              <a:ext uri="{FF2B5EF4-FFF2-40B4-BE49-F238E27FC236}">
                <a16:creationId xmlns:a16="http://schemas.microsoft.com/office/drawing/2014/main" id="{ECDCCC55-F533-443D-BD17-9EEF9EE95081}"/>
              </a:ext>
            </a:extLst>
          </p:cNvPr>
          <p:cNvPicPr>
            <a:picLocks noChangeAspect="1"/>
          </p:cNvPicPr>
          <p:nvPr>
            <p:custDataLst>
              <p:tags r:id="rId6"/>
            </p:custDataLst>
          </p:nvPr>
        </p:nvPicPr>
        <p:blipFill>
          <a:blip r:embed="rId186">
            <a:extLst>
              <a:ext uri="{96DAC541-7B7A-43D3-8B79-37D633B846F1}">
                <asvg:svgBlip xmlns:asvg="http://schemas.microsoft.com/office/drawing/2016/SVG/main" r:embed="rId187"/>
              </a:ext>
            </a:extLst>
          </a:blip>
          <a:stretch>
            <a:fillRect/>
          </a:stretch>
        </p:blipFill>
        <p:spPr>
          <a:xfrm>
            <a:off x="898524" y="4775881"/>
            <a:ext cx="383860" cy="383860"/>
          </a:xfrm>
          <a:prstGeom prst="rect">
            <a:avLst/>
          </a:prstGeom>
        </p:spPr>
      </p:pic>
      <p:pic>
        <p:nvPicPr>
          <p:cNvPr id="15" name="Grafik 64">
            <a:extLst>
              <a:ext uri="{FF2B5EF4-FFF2-40B4-BE49-F238E27FC236}">
                <a16:creationId xmlns:a16="http://schemas.microsoft.com/office/drawing/2014/main" id="{18138021-81BC-42A5-B399-F3D6B2C2398A}"/>
              </a:ext>
            </a:extLst>
          </p:cNvPr>
          <p:cNvPicPr>
            <a:picLocks noChangeAspect="1"/>
          </p:cNvPicPr>
          <p:nvPr>
            <p:custDataLst>
              <p:tags r:id="rId7"/>
            </p:custDataLst>
          </p:nvPr>
        </p:nvPicPr>
        <p:blipFill>
          <a:blip r:embed="rId188">
            <a:extLst>
              <a:ext uri="{96DAC541-7B7A-43D3-8B79-37D633B846F1}">
                <asvg:svgBlip xmlns:asvg="http://schemas.microsoft.com/office/drawing/2016/SVG/main" r:embed="rId189"/>
              </a:ext>
            </a:extLst>
          </a:blip>
          <a:stretch>
            <a:fillRect/>
          </a:stretch>
        </p:blipFill>
        <p:spPr>
          <a:xfrm>
            <a:off x="898524" y="3352939"/>
            <a:ext cx="383860" cy="383860"/>
          </a:xfrm>
          <a:prstGeom prst="rect">
            <a:avLst/>
          </a:prstGeom>
        </p:spPr>
      </p:pic>
      <p:sp>
        <p:nvSpPr>
          <p:cNvPr id="10" name="TextBox 9">
            <a:extLst>
              <a:ext uri="{FF2B5EF4-FFF2-40B4-BE49-F238E27FC236}">
                <a16:creationId xmlns:a16="http://schemas.microsoft.com/office/drawing/2014/main" id="{14CDE264-E7EE-462E-AF3D-08EC89585080}"/>
              </a:ext>
            </a:extLst>
          </p:cNvPr>
          <p:cNvSpPr txBox="1"/>
          <p:nvPr/>
        </p:nvSpPr>
        <p:spPr>
          <a:xfrm>
            <a:off x="1311237" y="6021851"/>
            <a:ext cx="2715808" cy="353943"/>
          </a:xfrm>
          <a:prstGeom prst="rect">
            <a:avLst/>
          </a:prstGeom>
          <a:noFill/>
        </p:spPr>
        <p:txBody>
          <a:bodyPr wrap="none" rtlCol="0">
            <a:spAutoFit/>
          </a:bodyPr>
          <a:lstStyle/>
          <a:p>
            <a:pPr algn="ctr"/>
            <a:r>
              <a:rPr lang="pl-PL" sz="900" dirty="0">
                <a:solidFill>
                  <a:srgbClr val="000000"/>
                </a:solidFill>
              </a:rPr>
              <a:t>* </a:t>
            </a:r>
            <a:r>
              <a:rPr lang="pl-PL" sz="800" dirty="0">
                <a:solidFill>
                  <a:srgbClr val="000000"/>
                </a:solidFill>
              </a:rPr>
              <a:t>Dane 6.11.2024 [dostęp: https://statistics.wmda.info/] </a:t>
            </a:r>
          </a:p>
          <a:p>
            <a:pPr algn="ctr"/>
            <a:endParaRPr lang="en-US" sz="800" dirty="0"/>
          </a:p>
        </p:txBody>
      </p:sp>
      <p:grpSp>
        <p:nvGrpSpPr>
          <p:cNvPr id="368" name="Group 2">
            <a:extLst>
              <a:ext uri="{FF2B5EF4-FFF2-40B4-BE49-F238E27FC236}">
                <a16:creationId xmlns:a16="http://schemas.microsoft.com/office/drawing/2014/main" id="{005337EC-661F-4741-BD45-4C0B9AFE1289}"/>
              </a:ext>
            </a:extLst>
          </p:cNvPr>
          <p:cNvGrpSpPr>
            <a:grpSpLocks noChangeAspect="1"/>
          </p:cNvGrpSpPr>
          <p:nvPr>
            <p:custDataLst>
              <p:tags r:id="rId8"/>
            </p:custDataLst>
          </p:nvPr>
        </p:nvGrpSpPr>
        <p:grpSpPr>
          <a:xfrm>
            <a:off x="6124849" y="1996858"/>
            <a:ext cx="5889577" cy="2864284"/>
            <a:chOff x="395288" y="1901766"/>
            <a:chExt cx="8353424" cy="4062529"/>
          </a:xfrm>
          <a:solidFill>
            <a:schemeClr val="bg2"/>
          </a:solidFill>
        </p:grpSpPr>
        <p:sp>
          <p:nvSpPr>
            <p:cNvPr id="369" name="Freeform 3">
              <a:extLst>
                <a:ext uri="{FF2B5EF4-FFF2-40B4-BE49-F238E27FC236}">
                  <a16:creationId xmlns:a16="http://schemas.microsoft.com/office/drawing/2014/main" id="{C60BFF3C-292E-48A8-A156-8EFED4FA6E2E}"/>
                </a:ext>
              </a:extLst>
            </p:cNvPr>
            <p:cNvSpPr>
              <a:spLocks noChangeAspect="1"/>
            </p:cNvSpPr>
            <p:nvPr>
              <p:custDataLst>
                <p:tags r:id="rId9"/>
              </p:custDataLst>
            </p:nvPr>
          </p:nvSpPr>
          <p:spPr>
            <a:xfrm>
              <a:off x="2666062" y="5039910"/>
              <a:ext cx="456739" cy="912706"/>
            </a:xfrm>
            <a:custGeom>
              <a:avLst/>
              <a:gdLst/>
              <a:ahLst/>
              <a:cxnLst/>
              <a:rect l="l" t="t" r="r" b="b"/>
              <a:pathLst>
                <a:path w="456739" h="912706">
                  <a:moveTo>
                    <a:pt x="110368" y="829995"/>
                  </a:moveTo>
                  <a:lnTo>
                    <a:pt x="119232" y="844463"/>
                  </a:lnTo>
                  <a:lnTo>
                    <a:pt x="130773" y="868050"/>
                  </a:lnTo>
                  <a:lnTo>
                    <a:pt x="160781" y="887087"/>
                  </a:lnTo>
                  <a:lnTo>
                    <a:pt x="193096" y="895063"/>
                  </a:lnTo>
                  <a:lnTo>
                    <a:pt x="182709" y="911097"/>
                  </a:lnTo>
                  <a:lnTo>
                    <a:pt x="160781" y="912706"/>
                  </a:lnTo>
                  <a:lnTo>
                    <a:pt x="149010" y="901361"/>
                  </a:lnTo>
                  <a:lnTo>
                    <a:pt x="135102" y="900503"/>
                  </a:lnTo>
                  <a:lnTo>
                    <a:pt x="110383" y="900486"/>
                  </a:lnTo>
                  <a:close/>
                  <a:moveTo>
                    <a:pt x="164858" y="0"/>
                  </a:moveTo>
                  <a:lnTo>
                    <a:pt x="195061" y="5897"/>
                  </a:lnTo>
                  <a:lnTo>
                    <a:pt x="208631" y="23421"/>
                  </a:lnTo>
                  <a:lnTo>
                    <a:pt x="217637" y="3905"/>
                  </a:lnTo>
                  <a:lnTo>
                    <a:pt x="243960" y="4906"/>
                  </a:lnTo>
                  <a:lnTo>
                    <a:pt x="247686" y="10093"/>
                  </a:lnTo>
                  <a:lnTo>
                    <a:pt x="290123" y="49799"/>
                  </a:lnTo>
                  <a:lnTo>
                    <a:pt x="308995" y="53516"/>
                  </a:lnTo>
                  <a:lnTo>
                    <a:pt x="337198" y="71606"/>
                  </a:lnTo>
                  <a:lnTo>
                    <a:pt x="360972" y="81206"/>
                  </a:lnTo>
                  <a:lnTo>
                    <a:pt x="364285" y="92068"/>
                  </a:lnTo>
                  <a:lnTo>
                    <a:pt x="341560" y="129675"/>
                  </a:lnTo>
                  <a:lnTo>
                    <a:pt x="364837" y="136442"/>
                  </a:lnTo>
                  <a:lnTo>
                    <a:pt x="390760" y="140240"/>
                  </a:lnTo>
                  <a:lnTo>
                    <a:pt x="409015" y="136241"/>
                  </a:lnTo>
                  <a:lnTo>
                    <a:pt x="429953" y="117223"/>
                  </a:lnTo>
                  <a:lnTo>
                    <a:pt x="433727" y="95410"/>
                  </a:lnTo>
                  <a:lnTo>
                    <a:pt x="445158" y="90688"/>
                  </a:lnTo>
                  <a:lnTo>
                    <a:pt x="456739" y="104928"/>
                  </a:lnTo>
                  <a:lnTo>
                    <a:pt x="456268" y="124703"/>
                  </a:lnTo>
                  <a:lnTo>
                    <a:pt x="436833" y="138405"/>
                  </a:lnTo>
                  <a:lnTo>
                    <a:pt x="421331" y="148551"/>
                  </a:lnTo>
                  <a:lnTo>
                    <a:pt x="395280" y="172842"/>
                  </a:lnTo>
                  <a:lnTo>
                    <a:pt x="364482" y="207196"/>
                  </a:lnTo>
                  <a:lnTo>
                    <a:pt x="358716" y="227495"/>
                  </a:lnTo>
                  <a:lnTo>
                    <a:pt x="352541" y="253724"/>
                  </a:lnTo>
                  <a:lnTo>
                    <a:pt x="352767" y="279313"/>
                  </a:lnTo>
                  <a:lnTo>
                    <a:pt x="347759" y="285056"/>
                  </a:lnTo>
                  <a:lnTo>
                    <a:pt x="345971" y="301779"/>
                  </a:lnTo>
                  <a:lnTo>
                    <a:pt x="344393" y="315344"/>
                  </a:lnTo>
                  <a:lnTo>
                    <a:pt x="373699" y="337713"/>
                  </a:lnTo>
                  <a:lnTo>
                    <a:pt x="370548" y="355821"/>
                  </a:lnTo>
                  <a:lnTo>
                    <a:pt x="384972" y="367316"/>
                  </a:lnTo>
                  <a:lnTo>
                    <a:pt x="383799" y="380248"/>
                  </a:lnTo>
                  <a:lnTo>
                    <a:pt x="361619" y="414438"/>
                  </a:lnTo>
                  <a:lnTo>
                    <a:pt x="327395" y="428845"/>
                  </a:lnTo>
                  <a:lnTo>
                    <a:pt x="281100" y="434456"/>
                  </a:lnTo>
                  <a:lnTo>
                    <a:pt x="255744" y="431741"/>
                  </a:lnTo>
                  <a:lnTo>
                    <a:pt x="260596" y="447852"/>
                  </a:lnTo>
                  <a:lnTo>
                    <a:pt x="255869" y="468189"/>
                  </a:lnTo>
                  <a:lnTo>
                    <a:pt x="260129" y="481967"/>
                  </a:lnTo>
                  <a:lnTo>
                    <a:pt x="246283" y="491617"/>
                  </a:lnTo>
                  <a:lnTo>
                    <a:pt x="222631" y="495411"/>
                  </a:lnTo>
                  <a:lnTo>
                    <a:pt x="200435" y="485413"/>
                  </a:lnTo>
                  <a:lnTo>
                    <a:pt x="191526" y="492594"/>
                  </a:lnTo>
                  <a:lnTo>
                    <a:pt x="194745" y="520021"/>
                  </a:lnTo>
                  <a:lnTo>
                    <a:pt x="210330" y="528379"/>
                  </a:lnTo>
                  <a:lnTo>
                    <a:pt x="222967" y="519624"/>
                  </a:lnTo>
                  <a:lnTo>
                    <a:pt x="229843" y="534060"/>
                  </a:lnTo>
                  <a:lnTo>
                    <a:pt x="208589" y="542721"/>
                  </a:lnTo>
                  <a:lnTo>
                    <a:pt x="190054" y="560148"/>
                  </a:lnTo>
                  <a:lnTo>
                    <a:pt x="186660" y="588565"/>
                  </a:lnTo>
                  <a:lnTo>
                    <a:pt x="181203" y="603806"/>
                  </a:lnTo>
                  <a:lnTo>
                    <a:pt x="159397" y="603887"/>
                  </a:lnTo>
                  <a:lnTo>
                    <a:pt x="141304" y="618547"/>
                  </a:lnTo>
                  <a:lnTo>
                    <a:pt x="134685" y="640147"/>
                  </a:lnTo>
                  <a:lnTo>
                    <a:pt x="157386" y="661402"/>
                  </a:lnTo>
                  <a:lnTo>
                    <a:pt x="179454" y="667302"/>
                  </a:lnTo>
                  <a:lnTo>
                    <a:pt x="171512" y="693635"/>
                  </a:lnTo>
                  <a:lnTo>
                    <a:pt x="144249" y="710326"/>
                  </a:lnTo>
                  <a:lnTo>
                    <a:pt x="129248" y="745359"/>
                  </a:lnTo>
                  <a:lnTo>
                    <a:pt x="108181" y="757257"/>
                  </a:lnTo>
                  <a:lnTo>
                    <a:pt x="98722" y="771452"/>
                  </a:lnTo>
                  <a:lnTo>
                    <a:pt x="106177" y="803218"/>
                  </a:lnTo>
                  <a:lnTo>
                    <a:pt x="121540" y="821100"/>
                  </a:lnTo>
                  <a:lnTo>
                    <a:pt x="111810" y="819534"/>
                  </a:lnTo>
                  <a:lnTo>
                    <a:pt x="90416" y="814684"/>
                  </a:lnTo>
                  <a:lnTo>
                    <a:pt x="34638" y="810552"/>
                  </a:lnTo>
                  <a:lnTo>
                    <a:pt x="25068" y="792617"/>
                  </a:lnTo>
                  <a:lnTo>
                    <a:pt x="25517" y="769765"/>
                  </a:lnTo>
                  <a:lnTo>
                    <a:pt x="10149" y="771723"/>
                  </a:lnTo>
                  <a:lnTo>
                    <a:pt x="2017" y="760723"/>
                  </a:lnTo>
                  <a:lnTo>
                    <a:pt x="0" y="728828"/>
                  </a:lnTo>
                  <a:lnTo>
                    <a:pt x="17708" y="715713"/>
                  </a:lnTo>
                  <a:lnTo>
                    <a:pt x="25028" y="696910"/>
                  </a:lnTo>
                  <a:lnTo>
                    <a:pt x="22346" y="682017"/>
                  </a:lnTo>
                  <a:lnTo>
                    <a:pt x="34582" y="657061"/>
                  </a:lnTo>
                  <a:lnTo>
                    <a:pt x="43013" y="618800"/>
                  </a:lnTo>
                  <a:lnTo>
                    <a:pt x="40536" y="602005"/>
                  </a:lnTo>
                  <a:lnTo>
                    <a:pt x="50612" y="596607"/>
                  </a:lnTo>
                  <a:lnTo>
                    <a:pt x="48142" y="585902"/>
                  </a:lnTo>
                  <a:lnTo>
                    <a:pt x="37435" y="580225"/>
                  </a:lnTo>
                  <a:lnTo>
                    <a:pt x="45043" y="568374"/>
                  </a:lnTo>
                  <a:lnTo>
                    <a:pt x="34624" y="557708"/>
                  </a:lnTo>
                  <a:lnTo>
                    <a:pt x="29235" y="525485"/>
                  </a:lnTo>
                  <a:lnTo>
                    <a:pt x="38516" y="519837"/>
                  </a:lnTo>
                  <a:lnTo>
                    <a:pt x="34617" y="486226"/>
                  </a:lnTo>
                  <a:lnTo>
                    <a:pt x="40041" y="458271"/>
                  </a:lnTo>
                  <a:lnTo>
                    <a:pt x="46209" y="434121"/>
                  </a:lnTo>
                  <a:lnTo>
                    <a:pt x="60032" y="424346"/>
                  </a:lnTo>
                  <a:lnTo>
                    <a:pt x="53016" y="398208"/>
                  </a:lnTo>
                  <a:lnTo>
                    <a:pt x="52941" y="373796"/>
                  </a:lnTo>
                  <a:lnTo>
                    <a:pt x="70417" y="356551"/>
                  </a:lnTo>
                  <a:lnTo>
                    <a:pt x="69880" y="334614"/>
                  </a:lnTo>
                  <a:lnTo>
                    <a:pt x="83054" y="309155"/>
                  </a:lnTo>
                  <a:lnTo>
                    <a:pt x="83113" y="285332"/>
                  </a:lnTo>
                  <a:lnTo>
                    <a:pt x="77120" y="280619"/>
                  </a:lnTo>
                  <a:lnTo>
                    <a:pt x="66486" y="236367"/>
                  </a:lnTo>
                  <a:lnTo>
                    <a:pt x="80707" y="210235"/>
                  </a:lnTo>
                  <a:lnTo>
                    <a:pt x="78524" y="185788"/>
                  </a:lnTo>
                  <a:lnTo>
                    <a:pt x="86775" y="162977"/>
                  </a:lnTo>
                  <a:lnTo>
                    <a:pt x="101891" y="139561"/>
                  </a:lnTo>
                  <a:lnTo>
                    <a:pt x="118181" y="124104"/>
                  </a:lnTo>
                  <a:lnTo>
                    <a:pt x="111273" y="114378"/>
                  </a:lnTo>
                  <a:lnTo>
                    <a:pt x="116093" y="106415"/>
                  </a:lnTo>
                  <a:lnTo>
                    <a:pt x="115362" y="65405"/>
                  </a:lnTo>
                  <a:lnTo>
                    <a:pt x="140504" y="53333"/>
                  </a:lnTo>
                  <a:lnTo>
                    <a:pt x="148426" y="27998"/>
                  </a:lnTo>
                  <a:lnTo>
                    <a:pt x="145623" y="2191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0" name="Freeform 4">
              <a:extLst>
                <a:ext uri="{FF2B5EF4-FFF2-40B4-BE49-F238E27FC236}">
                  <a16:creationId xmlns:a16="http://schemas.microsoft.com/office/drawing/2014/main" id="{8FFCEB1E-1851-4FE2-AE7B-6EA06A2EA4AD}"/>
                </a:ext>
              </a:extLst>
            </p:cNvPr>
            <p:cNvSpPr>
              <a:spLocks noChangeAspect="1"/>
            </p:cNvSpPr>
            <p:nvPr>
              <p:custDataLst>
                <p:tags r:id="rId10"/>
              </p:custDataLst>
            </p:nvPr>
          </p:nvSpPr>
          <p:spPr>
            <a:xfrm>
              <a:off x="2537617" y="3888436"/>
              <a:ext cx="45703" cy="81965"/>
            </a:xfrm>
            <a:custGeom>
              <a:avLst/>
              <a:gdLst/>
              <a:ahLst/>
              <a:cxnLst/>
              <a:rect l="l" t="t" r="r" b="b"/>
              <a:pathLst>
                <a:path w="45703" h="81965">
                  <a:moveTo>
                    <a:pt x="18215" y="45210"/>
                  </a:moveTo>
                  <a:lnTo>
                    <a:pt x="25160" y="46201"/>
                  </a:lnTo>
                  <a:lnTo>
                    <a:pt x="33239" y="66564"/>
                  </a:lnTo>
                  <a:lnTo>
                    <a:pt x="33362" y="80750"/>
                  </a:lnTo>
                  <a:lnTo>
                    <a:pt x="27699" y="81965"/>
                  </a:lnTo>
                  <a:lnTo>
                    <a:pt x="21835" y="67882"/>
                  </a:lnTo>
                  <a:lnTo>
                    <a:pt x="13192" y="60792"/>
                  </a:lnTo>
                  <a:close/>
                  <a:moveTo>
                    <a:pt x="10849" y="4219"/>
                  </a:moveTo>
                  <a:lnTo>
                    <a:pt x="26083" y="4963"/>
                  </a:lnTo>
                  <a:lnTo>
                    <a:pt x="26776" y="11407"/>
                  </a:lnTo>
                  <a:lnTo>
                    <a:pt x="1615" y="15369"/>
                  </a:lnTo>
                  <a:lnTo>
                    <a:pt x="0" y="6203"/>
                  </a:lnTo>
                  <a:close/>
                  <a:moveTo>
                    <a:pt x="27468" y="0"/>
                  </a:moveTo>
                  <a:lnTo>
                    <a:pt x="45703" y="11160"/>
                  </a:lnTo>
                  <a:lnTo>
                    <a:pt x="41721" y="28733"/>
                  </a:lnTo>
                  <a:lnTo>
                    <a:pt x="37477" y="25570"/>
                  </a:lnTo>
                  <a:lnTo>
                    <a:pt x="37855" y="12646"/>
                  </a:lnTo>
                  <a:lnTo>
                    <a:pt x="27514" y="28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1" name="Freeform 5">
              <a:extLst>
                <a:ext uri="{FF2B5EF4-FFF2-40B4-BE49-F238E27FC236}">
                  <a16:creationId xmlns:a16="http://schemas.microsoft.com/office/drawing/2014/main" id="{2EB5F9B7-EF3F-4AC1-844F-90BC8FCE6253}"/>
                </a:ext>
              </a:extLst>
            </p:cNvPr>
            <p:cNvSpPr>
              <a:spLocks noChangeAspect="1"/>
            </p:cNvSpPr>
            <p:nvPr>
              <p:custDataLst>
                <p:tags r:id="rId11"/>
              </p:custDataLst>
            </p:nvPr>
          </p:nvSpPr>
          <p:spPr>
            <a:xfrm>
              <a:off x="2301040" y="4096112"/>
              <a:ext cx="25907" cy="62101"/>
            </a:xfrm>
            <a:custGeom>
              <a:avLst/>
              <a:gdLst/>
              <a:ahLst/>
              <a:cxnLst/>
              <a:rect l="0" t="0" r="0" b="0"/>
              <a:pathLst>
                <a:path w="25907" h="62101">
                  <a:moveTo>
                    <a:pt x="1986" y="16492"/>
                  </a:moveTo>
                  <a:lnTo>
                    <a:pt x="1805" y="12987"/>
                  </a:lnTo>
                  <a:lnTo>
                    <a:pt x="4599" y="11890"/>
                  </a:lnTo>
                  <a:lnTo>
                    <a:pt x="8789" y="14709"/>
                  </a:lnTo>
                  <a:lnTo>
                    <a:pt x="17058" y="314"/>
                  </a:lnTo>
                  <a:lnTo>
                    <a:pt x="21445" y="0"/>
                  </a:lnTo>
                  <a:lnTo>
                    <a:pt x="21531" y="3502"/>
                  </a:lnTo>
                  <a:lnTo>
                    <a:pt x="25906" y="3611"/>
                  </a:lnTo>
                  <a:lnTo>
                    <a:pt x="25521" y="10099"/>
                  </a:lnTo>
                  <a:lnTo>
                    <a:pt x="21784" y="20401"/>
                  </a:lnTo>
                  <a:lnTo>
                    <a:pt x="23804" y="24081"/>
                  </a:lnTo>
                  <a:lnTo>
                    <a:pt x="21385" y="32587"/>
                  </a:lnTo>
                  <a:lnTo>
                    <a:pt x="22842" y="34859"/>
                  </a:lnTo>
                  <a:lnTo>
                    <a:pt x="20167" y="46850"/>
                  </a:lnTo>
                  <a:lnTo>
                    <a:pt x="15633" y="53138"/>
                  </a:lnTo>
                  <a:lnTo>
                    <a:pt x="11464" y="53892"/>
                  </a:lnTo>
                  <a:lnTo>
                    <a:pt x="6890" y="62093"/>
                  </a:lnTo>
                  <a:lnTo>
                    <a:pt x="0" y="62100"/>
                  </a:lnTo>
                  <a:lnTo>
                    <a:pt x="1807" y="353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2" name="Freeform 6">
              <a:extLst>
                <a:ext uri="{FF2B5EF4-FFF2-40B4-BE49-F238E27FC236}">
                  <a16:creationId xmlns:a16="http://schemas.microsoft.com/office/drawing/2014/main" id="{15566F0F-9FE6-4619-8E18-7AC1DE866BCA}"/>
                </a:ext>
              </a:extLst>
            </p:cNvPr>
            <p:cNvSpPr>
              <a:spLocks noChangeAspect="1"/>
            </p:cNvSpPr>
            <p:nvPr>
              <p:custDataLst>
                <p:tags r:id="rId12"/>
              </p:custDataLst>
            </p:nvPr>
          </p:nvSpPr>
          <p:spPr>
            <a:xfrm>
              <a:off x="2754353" y="4754004"/>
              <a:ext cx="279118" cy="311147"/>
            </a:xfrm>
            <a:custGeom>
              <a:avLst/>
              <a:gdLst/>
              <a:ahLst/>
              <a:cxnLst/>
              <a:rect l="0" t="0" r="0" b="0"/>
              <a:pathLst>
                <a:path w="279118" h="311147">
                  <a:moveTo>
                    <a:pt x="155669" y="290812"/>
                  </a:moveTo>
                  <a:lnTo>
                    <a:pt x="129346" y="289811"/>
                  </a:lnTo>
                  <a:lnTo>
                    <a:pt x="120340" y="309327"/>
                  </a:lnTo>
                  <a:lnTo>
                    <a:pt x="106770" y="291803"/>
                  </a:lnTo>
                  <a:lnTo>
                    <a:pt x="76567" y="285906"/>
                  </a:lnTo>
                  <a:lnTo>
                    <a:pt x="57332" y="307816"/>
                  </a:lnTo>
                  <a:lnTo>
                    <a:pt x="40678" y="311146"/>
                  </a:lnTo>
                  <a:lnTo>
                    <a:pt x="31635" y="277734"/>
                  </a:lnTo>
                  <a:lnTo>
                    <a:pt x="19234" y="250695"/>
                  </a:lnTo>
                  <a:lnTo>
                    <a:pt x="26504" y="227471"/>
                  </a:lnTo>
                  <a:lnTo>
                    <a:pt x="14395" y="217336"/>
                  </a:lnTo>
                  <a:lnTo>
                    <a:pt x="11315" y="200101"/>
                  </a:lnTo>
                  <a:lnTo>
                    <a:pt x="0" y="183898"/>
                  </a:lnTo>
                  <a:lnTo>
                    <a:pt x="14561" y="158262"/>
                  </a:lnTo>
                  <a:lnTo>
                    <a:pt x="4632" y="138360"/>
                  </a:lnTo>
                  <a:lnTo>
                    <a:pt x="9928" y="130415"/>
                  </a:lnTo>
                  <a:lnTo>
                    <a:pt x="5792" y="121662"/>
                  </a:lnTo>
                  <a:lnTo>
                    <a:pt x="14809" y="109883"/>
                  </a:lnTo>
                  <a:lnTo>
                    <a:pt x="15262" y="89858"/>
                  </a:lnTo>
                  <a:lnTo>
                    <a:pt x="16397" y="73350"/>
                  </a:lnTo>
                  <a:lnTo>
                    <a:pt x="21360" y="65413"/>
                  </a:lnTo>
                  <a:lnTo>
                    <a:pt x="1402" y="27753"/>
                  </a:lnTo>
                  <a:lnTo>
                    <a:pt x="18565" y="29730"/>
                  </a:lnTo>
                  <a:lnTo>
                    <a:pt x="30450" y="29220"/>
                  </a:lnTo>
                  <a:lnTo>
                    <a:pt x="35599" y="22157"/>
                  </a:lnTo>
                  <a:lnTo>
                    <a:pt x="55782" y="12701"/>
                  </a:lnTo>
                  <a:lnTo>
                    <a:pt x="67944" y="3947"/>
                  </a:lnTo>
                  <a:lnTo>
                    <a:pt x="98148" y="0"/>
                  </a:lnTo>
                  <a:lnTo>
                    <a:pt x="95691" y="17475"/>
                  </a:lnTo>
                  <a:lnTo>
                    <a:pt x="98529" y="26448"/>
                  </a:lnTo>
                  <a:lnTo>
                    <a:pt x="96674" y="42115"/>
                  </a:lnTo>
                  <a:lnTo>
                    <a:pt x="121740" y="63085"/>
                  </a:lnTo>
                  <a:lnTo>
                    <a:pt x="147589" y="66954"/>
                  </a:lnTo>
                  <a:lnTo>
                    <a:pt x="156671" y="75718"/>
                  </a:lnTo>
                  <a:lnTo>
                    <a:pt x="172274" y="80369"/>
                  </a:lnTo>
                  <a:lnTo>
                    <a:pt x="181828" y="87191"/>
                  </a:lnTo>
                  <a:lnTo>
                    <a:pt x="196348" y="86960"/>
                  </a:lnTo>
                  <a:lnTo>
                    <a:pt x="209755" y="93931"/>
                  </a:lnTo>
                  <a:lnTo>
                    <a:pt x="210773" y="107536"/>
                  </a:lnTo>
                  <a:lnTo>
                    <a:pt x="215272" y="114416"/>
                  </a:lnTo>
                  <a:lnTo>
                    <a:pt x="215576" y="124589"/>
                  </a:lnTo>
                  <a:lnTo>
                    <a:pt x="208840" y="124983"/>
                  </a:lnTo>
                  <a:lnTo>
                    <a:pt x="217717" y="152517"/>
                  </a:lnTo>
                  <a:lnTo>
                    <a:pt x="261970" y="153495"/>
                  </a:lnTo>
                  <a:lnTo>
                    <a:pt x="258581" y="167192"/>
                  </a:lnTo>
                  <a:lnTo>
                    <a:pt x="261057" y="176565"/>
                  </a:lnTo>
                  <a:lnTo>
                    <a:pt x="273665" y="183242"/>
                  </a:lnTo>
                  <a:lnTo>
                    <a:pt x="279117" y="198051"/>
                  </a:lnTo>
                  <a:lnTo>
                    <a:pt x="275017" y="216862"/>
                  </a:lnTo>
                  <a:lnTo>
                    <a:pt x="268693" y="227349"/>
                  </a:lnTo>
                  <a:lnTo>
                    <a:pt x="270913" y="241019"/>
                  </a:lnTo>
                  <a:lnTo>
                    <a:pt x="263697" y="245985"/>
                  </a:lnTo>
                  <a:lnTo>
                    <a:pt x="263303" y="238581"/>
                  </a:lnTo>
                  <a:lnTo>
                    <a:pt x="241800" y="226317"/>
                  </a:lnTo>
                  <a:lnTo>
                    <a:pt x="220367" y="225978"/>
                  </a:lnTo>
                  <a:lnTo>
                    <a:pt x="180140" y="232951"/>
                  </a:lnTo>
                  <a:lnTo>
                    <a:pt x="169069" y="254089"/>
                  </a:lnTo>
                  <a:lnTo>
                    <a:pt x="168486" y="267047"/>
                  </a:lnTo>
                  <a:lnTo>
                    <a:pt x="159395" y="2959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3" name="Freeform 7">
              <a:extLst>
                <a:ext uri="{FF2B5EF4-FFF2-40B4-BE49-F238E27FC236}">
                  <a16:creationId xmlns:a16="http://schemas.microsoft.com/office/drawing/2014/main" id="{2AC2128D-55D4-4148-909C-90AF971A180B}"/>
                </a:ext>
              </a:extLst>
            </p:cNvPr>
            <p:cNvSpPr>
              <a:spLocks noChangeAspect="1"/>
            </p:cNvSpPr>
            <p:nvPr>
              <p:custDataLst>
                <p:tags r:id="rId13"/>
              </p:custDataLst>
            </p:nvPr>
          </p:nvSpPr>
          <p:spPr>
            <a:xfrm>
              <a:off x="2652863" y="4406805"/>
              <a:ext cx="906163" cy="931228"/>
            </a:xfrm>
            <a:custGeom>
              <a:avLst/>
              <a:gdLst/>
              <a:ahLst/>
              <a:cxnLst/>
              <a:rect l="0" t="0" r="0" b="0"/>
              <a:pathLst>
                <a:path w="906163" h="931228">
                  <a:moveTo>
                    <a:pt x="377681" y="840301"/>
                  </a:moveTo>
                  <a:lnTo>
                    <a:pt x="408479" y="805947"/>
                  </a:lnTo>
                  <a:lnTo>
                    <a:pt x="434530" y="781656"/>
                  </a:lnTo>
                  <a:lnTo>
                    <a:pt x="450032" y="771510"/>
                  </a:lnTo>
                  <a:lnTo>
                    <a:pt x="469467" y="757808"/>
                  </a:lnTo>
                  <a:lnTo>
                    <a:pt x="469938" y="738033"/>
                  </a:lnTo>
                  <a:lnTo>
                    <a:pt x="458357" y="723793"/>
                  </a:lnTo>
                  <a:lnTo>
                    <a:pt x="446926" y="728515"/>
                  </a:lnTo>
                  <a:lnTo>
                    <a:pt x="451458" y="714307"/>
                  </a:lnTo>
                  <a:lnTo>
                    <a:pt x="454585" y="699790"/>
                  </a:lnTo>
                  <a:lnTo>
                    <a:pt x="454597" y="686333"/>
                  </a:lnTo>
                  <a:lnTo>
                    <a:pt x="446290" y="681900"/>
                  </a:lnTo>
                  <a:lnTo>
                    <a:pt x="437632" y="685850"/>
                  </a:lnTo>
                  <a:lnTo>
                    <a:pt x="429026" y="684766"/>
                  </a:lnTo>
                  <a:lnTo>
                    <a:pt x="426328" y="675369"/>
                  </a:lnTo>
                  <a:lnTo>
                    <a:pt x="424180" y="653064"/>
                  </a:lnTo>
                  <a:lnTo>
                    <a:pt x="419857" y="645815"/>
                  </a:lnTo>
                  <a:lnTo>
                    <a:pt x="404268" y="639254"/>
                  </a:lnTo>
                  <a:lnTo>
                    <a:pt x="394846" y="644001"/>
                  </a:lnTo>
                  <a:lnTo>
                    <a:pt x="370479" y="639349"/>
                  </a:lnTo>
                  <a:lnTo>
                    <a:pt x="372013" y="606559"/>
                  </a:lnTo>
                  <a:lnTo>
                    <a:pt x="365187" y="593184"/>
                  </a:lnTo>
                  <a:lnTo>
                    <a:pt x="372403" y="588218"/>
                  </a:lnTo>
                  <a:lnTo>
                    <a:pt x="370183" y="574548"/>
                  </a:lnTo>
                  <a:lnTo>
                    <a:pt x="376507" y="564061"/>
                  </a:lnTo>
                  <a:lnTo>
                    <a:pt x="380607" y="545250"/>
                  </a:lnTo>
                  <a:lnTo>
                    <a:pt x="375155" y="530441"/>
                  </a:lnTo>
                  <a:lnTo>
                    <a:pt x="362547" y="523764"/>
                  </a:lnTo>
                  <a:lnTo>
                    <a:pt x="360071" y="514391"/>
                  </a:lnTo>
                  <a:lnTo>
                    <a:pt x="363460" y="500694"/>
                  </a:lnTo>
                  <a:lnTo>
                    <a:pt x="319207" y="499716"/>
                  </a:lnTo>
                  <a:lnTo>
                    <a:pt x="310330" y="472182"/>
                  </a:lnTo>
                  <a:lnTo>
                    <a:pt x="317066" y="471788"/>
                  </a:lnTo>
                  <a:lnTo>
                    <a:pt x="316762" y="461615"/>
                  </a:lnTo>
                  <a:lnTo>
                    <a:pt x="312263" y="454735"/>
                  </a:lnTo>
                  <a:lnTo>
                    <a:pt x="311245" y="441130"/>
                  </a:lnTo>
                  <a:lnTo>
                    <a:pt x="297838" y="434159"/>
                  </a:lnTo>
                  <a:lnTo>
                    <a:pt x="283318" y="434390"/>
                  </a:lnTo>
                  <a:lnTo>
                    <a:pt x="273764" y="427568"/>
                  </a:lnTo>
                  <a:lnTo>
                    <a:pt x="258161" y="422917"/>
                  </a:lnTo>
                  <a:lnTo>
                    <a:pt x="249079" y="414153"/>
                  </a:lnTo>
                  <a:lnTo>
                    <a:pt x="223230" y="410284"/>
                  </a:lnTo>
                  <a:lnTo>
                    <a:pt x="198164" y="389314"/>
                  </a:lnTo>
                  <a:lnTo>
                    <a:pt x="200019" y="373647"/>
                  </a:lnTo>
                  <a:lnTo>
                    <a:pt x="197181" y="364674"/>
                  </a:lnTo>
                  <a:lnTo>
                    <a:pt x="199638" y="347199"/>
                  </a:lnTo>
                  <a:lnTo>
                    <a:pt x="169434" y="351146"/>
                  </a:lnTo>
                  <a:lnTo>
                    <a:pt x="157272" y="359900"/>
                  </a:lnTo>
                  <a:lnTo>
                    <a:pt x="137089" y="369356"/>
                  </a:lnTo>
                  <a:lnTo>
                    <a:pt x="131940" y="376419"/>
                  </a:lnTo>
                  <a:lnTo>
                    <a:pt x="120055" y="376929"/>
                  </a:lnTo>
                  <a:lnTo>
                    <a:pt x="102892" y="374952"/>
                  </a:lnTo>
                  <a:lnTo>
                    <a:pt x="89872" y="378975"/>
                  </a:lnTo>
                  <a:lnTo>
                    <a:pt x="79371" y="376293"/>
                  </a:lnTo>
                  <a:lnTo>
                    <a:pt x="80913" y="340867"/>
                  </a:lnTo>
                  <a:lnTo>
                    <a:pt x="61973" y="354598"/>
                  </a:lnTo>
                  <a:lnTo>
                    <a:pt x="41603" y="353995"/>
                  </a:lnTo>
                  <a:lnTo>
                    <a:pt x="32874" y="341567"/>
                  </a:lnTo>
                  <a:lnTo>
                    <a:pt x="17555" y="340217"/>
                  </a:lnTo>
                  <a:lnTo>
                    <a:pt x="22433" y="330223"/>
                  </a:lnTo>
                  <a:lnTo>
                    <a:pt x="9606" y="316075"/>
                  </a:lnTo>
                  <a:lnTo>
                    <a:pt x="0" y="295156"/>
                  </a:lnTo>
                  <a:lnTo>
                    <a:pt x="6090" y="290913"/>
                  </a:lnTo>
                  <a:lnTo>
                    <a:pt x="6065" y="281114"/>
                  </a:lnTo>
                  <a:lnTo>
                    <a:pt x="20018" y="274421"/>
                  </a:lnTo>
                  <a:lnTo>
                    <a:pt x="17717" y="261890"/>
                  </a:lnTo>
                  <a:lnTo>
                    <a:pt x="23607" y="253831"/>
                  </a:lnTo>
                  <a:lnTo>
                    <a:pt x="25283" y="243027"/>
                  </a:lnTo>
                  <a:lnTo>
                    <a:pt x="51678" y="227280"/>
                  </a:lnTo>
                  <a:lnTo>
                    <a:pt x="70596" y="222830"/>
                  </a:lnTo>
                  <a:lnTo>
                    <a:pt x="73691" y="219354"/>
                  </a:lnTo>
                  <a:lnTo>
                    <a:pt x="94491" y="220439"/>
                  </a:lnTo>
                  <a:lnTo>
                    <a:pt x="104868" y="157092"/>
                  </a:lnTo>
                  <a:lnTo>
                    <a:pt x="105413" y="147080"/>
                  </a:lnTo>
                  <a:lnTo>
                    <a:pt x="101799" y="133861"/>
                  </a:lnTo>
                  <a:lnTo>
                    <a:pt x="91559" y="125440"/>
                  </a:lnTo>
                  <a:lnTo>
                    <a:pt x="91677" y="108668"/>
                  </a:lnTo>
                  <a:lnTo>
                    <a:pt x="104676" y="104865"/>
                  </a:lnTo>
                  <a:lnTo>
                    <a:pt x="109292" y="107255"/>
                  </a:lnTo>
                  <a:lnTo>
                    <a:pt x="110072" y="98413"/>
                  </a:lnTo>
                  <a:lnTo>
                    <a:pt x="96547" y="96026"/>
                  </a:lnTo>
                  <a:lnTo>
                    <a:pt x="96261" y="81580"/>
                  </a:lnTo>
                  <a:lnTo>
                    <a:pt x="141235" y="82095"/>
                  </a:lnTo>
                  <a:lnTo>
                    <a:pt x="148870" y="74136"/>
                  </a:lnTo>
                  <a:lnTo>
                    <a:pt x="155283" y="81459"/>
                  </a:lnTo>
                  <a:lnTo>
                    <a:pt x="159783" y="95078"/>
                  </a:lnTo>
                  <a:lnTo>
                    <a:pt x="164139" y="92233"/>
                  </a:lnTo>
                  <a:lnTo>
                    <a:pt x="176847" y="104443"/>
                  </a:lnTo>
                  <a:lnTo>
                    <a:pt x="194794" y="102947"/>
                  </a:lnTo>
                  <a:lnTo>
                    <a:pt x="199262" y="95883"/>
                  </a:lnTo>
                  <a:lnTo>
                    <a:pt x="216428" y="90493"/>
                  </a:lnTo>
                  <a:lnTo>
                    <a:pt x="225932" y="86704"/>
                  </a:lnTo>
                  <a:lnTo>
                    <a:pt x="228614" y="76925"/>
                  </a:lnTo>
                  <a:lnTo>
                    <a:pt x="245102" y="70355"/>
                  </a:lnTo>
                  <a:lnTo>
                    <a:pt x="243854" y="65501"/>
                  </a:lnTo>
                  <a:lnTo>
                    <a:pt x="224300" y="63516"/>
                  </a:lnTo>
                  <a:lnTo>
                    <a:pt x="221095" y="48968"/>
                  </a:lnTo>
                  <a:lnTo>
                    <a:pt x="222026" y="33475"/>
                  </a:lnTo>
                  <a:lnTo>
                    <a:pt x="211695" y="27482"/>
                  </a:lnTo>
                  <a:lnTo>
                    <a:pt x="216021" y="25354"/>
                  </a:lnTo>
                  <a:lnTo>
                    <a:pt x="233109" y="28312"/>
                  </a:lnTo>
                  <a:lnTo>
                    <a:pt x="251464" y="34091"/>
                  </a:lnTo>
                  <a:lnTo>
                    <a:pt x="258127" y="28626"/>
                  </a:lnTo>
                  <a:lnTo>
                    <a:pt x="274726" y="25038"/>
                  </a:lnTo>
                  <a:lnTo>
                    <a:pt x="300545" y="16382"/>
                  </a:lnTo>
                  <a:lnTo>
                    <a:pt x="308986" y="7553"/>
                  </a:lnTo>
                  <a:lnTo>
                    <a:pt x="305930" y="1024"/>
                  </a:lnTo>
                  <a:lnTo>
                    <a:pt x="317930" y="0"/>
                  </a:lnTo>
                  <a:lnTo>
                    <a:pt x="323302" y="5333"/>
                  </a:lnTo>
                  <a:lnTo>
                    <a:pt x="320301" y="15491"/>
                  </a:lnTo>
                  <a:lnTo>
                    <a:pt x="328232" y="18994"/>
                  </a:lnTo>
                  <a:lnTo>
                    <a:pt x="333526" y="29739"/>
                  </a:lnTo>
                  <a:lnTo>
                    <a:pt x="327124" y="37883"/>
                  </a:lnTo>
                  <a:lnTo>
                    <a:pt x="323451" y="57552"/>
                  </a:lnTo>
                  <a:lnTo>
                    <a:pt x="329360" y="69230"/>
                  </a:lnTo>
                  <a:lnTo>
                    <a:pt x="331033" y="79915"/>
                  </a:lnTo>
                  <a:lnTo>
                    <a:pt x="345233" y="90748"/>
                  </a:lnTo>
                  <a:lnTo>
                    <a:pt x="356563" y="91893"/>
                  </a:lnTo>
                  <a:lnTo>
                    <a:pt x="359115" y="87371"/>
                  </a:lnTo>
                  <a:lnTo>
                    <a:pt x="366409" y="86373"/>
                  </a:lnTo>
                  <a:lnTo>
                    <a:pt x="376854" y="82323"/>
                  </a:lnTo>
                  <a:lnTo>
                    <a:pt x="384359" y="76183"/>
                  </a:lnTo>
                  <a:lnTo>
                    <a:pt x="397127" y="78141"/>
                  </a:lnTo>
                  <a:lnTo>
                    <a:pt x="402743" y="77314"/>
                  </a:lnTo>
                  <a:lnTo>
                    <a:pt x="415293" y="79205"/>
                  </a:lnTo>
                  <a:lnTo>
                    <a:pt x="417373" y="74486"/>
                  </a:lnTo>
                  <a:lnTo>
                    <a:pt x="413501" y="69895"/>
                  </a:lnTo>
                  <a:lnTo>
                    <a:pt x="415809" y="63208"/>
                  </a:lnTo>
                  <a:lnTo>
                    <a:pt x="425125" y="65260"/>
                  </a:lnTo>
                  <a:lnTo>
                    <a:pt x="436024" y="62899"/>
                  </a:lnTo>
                  <a:lnTo>
                    <a:pt x="449246" y="67793"/>
                  </a:lnTo>
                  <a:lnTo>
                    <a:pt x="459326" y="72557"/>
                  </a:lnTo>
                  <a:lnTo>
                    <a:pt x="466471" y="66295"/>
                  </a:lnTo>
                  <a:lnTo>
                    <a:pt x="471634" y="67260"/>
                  </a:lnTo>
                  <a:lnTo>
                    <a:pt x="474782" y="73761"/>
                  </a:lnTo>
                  <a:lnTo>
                    <a:pt x="485835" y="72111"/>
                  </a:lnTo>
                  <a:lnTo>
                    <a:pt x="494681" y="63338"/>
                  </a:lnTo>
                  <a:lnTo>
                    <a:pt x="501769" y="46327"/>
                  </a:lnTo>
                  <a:lnTo>
                    <a:pt x="515423" y="25175"/>
                  </a:lnTo>
                  <a:lnTo>
                    <a:pt x="523286" y="24082"/>
                  </a:lnTo>
                  <a:lnTo>
                    <a:pt x="528996" y="36868"/>
                  </a:lnTo>
                  <a:lnTo>
                    <a:pt x="541943" y="77267"/>
                  </a:lnTo>
                  <a:lnTo>
                    <a:pt x="554288" y="81079"/>
                  </a:lnTo>
                  <a:lnTo>
                    <a:pt x="554911" y="97016"/>
                  </a:lnTo>
                  <a:lnTo>
                    <a:pt x="537549" y="116019"/>
                  </a:lnTo>
                  <a:lnTo>
                    <a:pt x="544729" y="122976"/>
                  </a:lnTo>
                  <a:lnTo>
                    <a:pt x="585531" y="126601"/>
                  </a:lnTo>
                  <a:lnTo>
                    <a:pt x="586363" y="149739"/>
                  </a:lnTo>
                  <a:lnTo>
                    <a:pt x="603896" y="134591"/>
                  </a:lnTo>
                  <a:lnTo>
                    <a:pt x="632942" y="142888"/>
                  </a:lnTo>
                  <a:lnTo>
                    <a:pt x="671280" y="156987"/>
                  </a:lnTo>
                  <a:lnTo>
                    <a:pt x="682546" y="170518"/>
                  </a:lnTo>
                  <a:lnTo>
                    <a:pt x="678761" y="183303"/>
                  </a:lnTo>
                  <a:lnTo>
                    <a:pt x="705601" y="176184"/>
                  </a:lnTo>
                  <a:lnTo>
                    <a:pt x="750523" y="188401"/>
                  </a:lnTo>
                  <a:lnTo>
                    <a:pt x="785009" y="187501"/>
                  </a:lnTo>
                  <a:lnTo>
                    <a:pt x="819132" y="206625"/>
                  </a:lnTo>
                  <a:lnTo>
                    <a:pt x="848611" y="232530"/>
                  </a:lnTo>
                  <a:lnTo>
                    <a:pt x="866392" y="239204"/>
                  </a:lnTo>
                  <a:lnTo>
                    <a:pt x="886131" y="240133"/>
                  </a:lnTo>
                  <a:lnTo>
                    <a:pt x="894496" y="247433"/>
                  </a:lnTo>
                  <a:lnTo>
                    <a:pt x="902330" y="276931"/>
                  </a:lnTo>
                  <a:lnTo>
                    <a:pt x="906162" y="290964"/>
                  </a:lnTo>
                  <a:lnTo>
                    <a:pt x="896970" y="329375"/>
                  </a:lnTo>
                  <a:lnTo>
                    <a:pt x="885227" y="344574"/>
                  </a:lnTo>
                  <a:lnTo>
                    <a:pt x="852691" y="377031"/>
                  </a:lnTo>
                  <a:lnTo>
                    <a:pt x="837985" y="403472"/>
                  </a:lnTo>
                  <a:lnTo>
                    <a:pt x="820897" y="423797"/>
                  </a:lnTo>
                  <a:lnTo>
                    <a:pt x="815126" y="424255"/>
                  </a:lnTo>
                  <a:lnTo>
                    <a:pt x="808678" y="441540"/>
                  </a:lnTo>
                  <a:lnTo>
                    <a:pt x="810316" y="485722"/>
                  </a:lnTo>
                  <a:lnTo>
                    <a:pt x="803881" y="522260"/>
                  </a:lnTo>
                  <a:lnTo>
                    <a:pt x="801428" y="537947"/>
                  </a:lnTo>
                  <a:lnTo>
                    <a:pt x="794130" y="547352"/>
                  </a:lnTo>
                  <a:lnTo>
                    <a:pt x="790037" y="579320"/>
                  </a:lnTo>
                  <a:lnTo>
                    <a:pt x="766633" y="610699"/>
                  </a:lnTo>
                  <a:lnTo>
                    <a:pt x="762709" y="635647"/>
                  </a:lnTo>
                  <a:lnTo>
                    <a:pt x="744026" y="646148"/>
                  </a:lnTo>
                  <a:lnTo>
                    <a:pt x="738621" y="660707"/>
                  </a:lnTo>
                  <a:lnTo>
                    <a:pt x="713544" y="660649"/>
                  </a:lnTo>
                  <a:lnTo>
                    <a:pt x="677233" y="670004"/>
                  </a:lnTo>
                  <a:lnTo>
                    <a:pt x="660975" y="680856"/>
                  </a:lnTo>
                  <a:lnTo>
                    <a:pt x="635123" y="687994"/>
                  </a:lnTo>
                  <a:lnTo>
                    <a:pt x="607958" y="707503"/>
                  </a:lnTo>
                  <a:lnTo>
                    <a:pt x="588419" y="731914"/>
                  </a:lnTo>
                  <a:lnTo>
                    <a:pt x="585059" y="750375"/>
                  </a:lnTo>
                  <a:lnTo>
                    <a:pt x="588897" y="764077"/>
                  </a:lnTo>
                  <a:lnTo>
                    <a:pt x="584585" y="789253"/>
                  </a:lnTo>
                  <a:lnTo>
                    <a:pt x="579347" y="801467"/>
                  </a:lnTo>
                  <a:lnTo>
                    <a:pt x="563215" y="815284"/>
                  </a:lnTo>
                  <a:lnTo>
                    <a:pt x="537604" y="859784"/>
                  </a:lnTo>
                  <a:lnTo>
                    <a:pt x="517306" y="880004"/>
                  </a:lnTo>
                  <a:lnTo>
                    <a:pt x="501613" y="891975"/>
                  </a:lnTo>
                  <a:lnTo>
                    <a:pt x="491087" y="916442"/>
                  </a:lnTo>
                  <a:lnTo>
                    <a:pt x="475817" y="931227"/>
                  </a:lnTo>
                  <a:lnTo>
                    <a:pt x="469425" y="916582"/>
                  </a:lnTo>
                  <a:lnTo>
                    <a:pt x="479604" y="904361"/>
                  </a:lnTo>
                  <a:lnTo>
                    <a:pt x="466254" y="886899"/>
                  </a:lnTo>
                  <a:lnTo>
                    <a:pt x="448145" y="872774"/>
                  </a:lnTo>
                  <a:lnTo>
                    <a:pt x="424392" y="856466"/>
                  </a:lnTo>
                  <a:lnTo>
                    <a:pt x="415811" y="857207"/>
                  </a:lnTo>
                  <a:lnTo>
                    <a:pt x="392664" y="83760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4" name="Freeform 8">
              <a:extLst>
                <a:ext uri="{FF2B5EF4-FFF2-40B4-BE49-F238E27FC236}">
                  <a16:creationId xmlns:a16="http://schemas.microsoft.com/office/drawing/2014/main" id="{2BB1460A-2F4C-435B-A8B9-BB1B2B115690}"/>
                </a:ext>
              </a:extLst>
            </p:cNvPr>
            <p:cNvSpPr>
              <a:spLocks noChangeAspect="1"/>
            </p:cNvSpPr>
            <p:nvPr>
              <p:custDataLst>
                <p:tags r:id="rId14"/>
              </p:custDataLst>
            </p:nvPr>
          </p:nvSpPr>
          <p:spPr>
            <a:xfrm>
              <a:off x="1106080" y="1925853"/>
              <a:ext cx="2039347" cy="1580755"/>
            </a:xfrm>
            <a:custGeom>
              <a:avLst/>
              <a:gdLst/>
              <a:ahLst/>
              <a:cxnLst/>
              <a:rect l="l" t="t" r="r" b="b"/>
              <a:pathLst>
                <a:path w="2039347" h="1580755">
                  <a:moveTo>
                    <a:pt x="1776972" y="1428715"/>
                  </a:moveTo>
                  <a:lnTo>
                    <a:pt x="1785059" y="1442843"/>
                  </a:lnTo>
                  <a:lnTo>
                    <a:pt x="1801799" y="1446730"/>
                  </a:lnTo>
                  <a:lnTo>
                    <a:pt x="1823202" y="1445940"/>
                  </a:lnTo>
                  <a:lnTo>
                    <a:pt x="1811849" y="1457781"/>
                  </a:lnTo>
                  <a:lnTo>
                    <a:pt x="1803299" y="1459661"/>
                  </a:lnTo>
                  <a:lnTo>
                    <a:pt x="1774019" y="1447402"/>
                  </a:lnTo>
                  <a:lnTo>
                    <a:pt x="1768253" y="1437693"/>
                  </a:lnTo>
                  <a:close/>
                  <a:moveTo>
                    <a:pt x="1773317" y="1342184"/>
                  </a:moveTo>
                  <a:lnTo>
                    <a:pt x="1803669" y="1349726"/>
                  </a:lnTo>
                  <a:lnTo>
                    <a:pt x="1827276" y="1362244"/>
                  </a:lnTo>
                  <a:lnTo>
                    <a:pt x="1827952" y="1367722"/>
                  </a:lnTo>
                  <a:lnTo>
                    <a:pt x="1816713" y="1368255"/>
                  </a:lnTo>
                  <a:lnTo>
                    <a:pt x="1786796" y="1358890"/>
                  </a:lnTo>
                  <a:lnTo>
                    <a:pt x="1765333" y="1344717"/>
                  </a:lnTo>
                  <a:close/>
                  <a:moveTo>
                    <a:pt x="291751" y="1317567"/>
                  </a:moveTo>
                  <a:lnTo>
                    <a:pt x="315984" y="1324190"/>
                  </a:lnTo>
                  <a:lnTo>
                    <a:pt x="330147" y="1328786"/>
                  </a:lnTo>
                  <a:lnTo>
                    <a:pt x="351844" y="1331990"/>
                  </a:lnTo>
                  <a:lnTo>
                    <a:pt x="359693" y="1342401"/>
                  </a:lnTo>
                  <a:lnTo>
                    <a:pt x="371101" y="1356657"/>
                  </a:lnTo>
                  <a:lnTo>
                    <a:pt x="394143" y="1368991"/>
                  </a:lnTo>
                  <a:lnTo>
                    <a:pt x="403665" y="1385407"/>
                  </a:lnTo>
                  <a:lnTo>
                    <a:pt x="392057" y="1389526"/>
                  </a:lnTo>
                  <a:lnTo>
                    <a:pt x="354152" y="1376060"/>
                  </a:lnTo>
                  <a:lnTo>
                    <a:pt x="347228" y="1365486"/>
                  </a:lnTo>
                  <a:lnTo>
                    <a:pt x="326569" y="1355018"/>
                  </a:lnTo>
                  <a:lnTo>
                    <a:pt x="322414" y="1346463"/>
                  </a:lnTo>
                  <a:lnTo>
                    <a:pt x="298654" y="1341046"/>
                  </a:lnTo>
                  <a:lnTo>
                    <a:pt x="289762" y="1324597"/>
                  </a:lnTo>
                  <a:close/>
                  <a:moveTo>
                    <a:pt x="1964955" y="1291235"/>
                  </a:moveTo>
                  <a:lnTo>
                    <a:pt x="1975665" y="1292581"/>
                  </a:lnTo>
                  <a:lnTo>
                    <a:pt x="1971205" y="1300896"/>
                  </a:lnTo>
                  <a:lnTo>
                    <a:pt x="1958883" y="1320109"/>
                  </a:lnTo>
                  <a:lnTo>
                    <a:pt x="1943606" y="1346544"/>
                  </a:lnTo>
                  <a:lnTo>
                    <a:pt x="1958673" y="1336367"/>
                  </a:lnTo>
                  <a:lnTo>
                    <a:pt x="1974176" y="1342828"/>
                  </a:lnTo>
                  <a:lnTo>
                    <a:pt x="1966076" y="1353305"/>
                  </a:lnTo>
                  <a:lnTo>
                    <a:pt x="1986556" y="1361513"/>
                  </a:lnTo>
                  <a:lnTo>
                    <a:pt x="1997206" y="1354218"/>
                  </a:lnTo>
                  <a:lnTo>
                    <a:pt x="2020225" y="1363421"/>
                  </a:lnTo>
                  <a:lnTo>
                    <a:pt x="2013081" y="1385207"/>
                  </a:lnTo>
                  <a:lnTo>
                    <a:pt x="2029236" y="1380135"/>
                  </a:lnTo>
                  <a:lnTo>
                    <a:pt x="2032179" y="1395838"/>
                  </a:lnTo>
                  <a:lnTo>
                    <a:pt x="2039347" y="1414116"/>
                  </a:lnTo>
                  <a:lnTo>
                    <a:pt x="2029628" y="1439783"/>
                  </a:lnTo>
                  <a:lnTo>
                    <a:pt x="2019188" y="1440862"/>
                  </a:lnTo>
                  <a:lnTo>
                    <a:pt x="2004012" y="1435379"/>
                  </a:lnTo>
                  <a:lnTo>
                    <a:pt x="2009022" y="1411488"/>
                  </a:lnTo>
                  <a:lnTo>
                    <a:pt x="2002591" y="1407758"/>
                  </a:lnTo>
                  <a:lnTo>
                    <a:pt x="1975808" y="1433113"/>
                  </a:lnTo>
                  <a:lnTo>
                    <a:pt x="1962035" y="1432102"/>
                  </a:lnTo>
                  <a:lnTo>
                    <a:pt x="1978337" y="1418391"/>
                  </a:lnTo>
                  <a:lnTo>
                    <a:pt x="1956188" y="1411272"/>
                  </a:lnTo>
                  <a:lnTo>
                    <a:pt x="1931387" y="1413024"/>
                  </a:lnTo>
                  <a:lnTo>
                    <a:pt x="1886588" y="1412129"/>
                  </a:lnTo>
                  <a:lnTo>
                    <a:pt x="1883045" y="1403431"/>
                  </a:lnTo>
                  <a:lnTo>
                    <a:pt x="1897424" y="1393053"/>
                  </a:lnTo>
                  <a:lnTo>
                    <a:pt x="1887382" y="1385017"/>
                  </a:lnTo>
                  <a:lnTo>
                    <a:pt x="1906767" y="1367110"/>
                  </a:lnTo>
                  <a:lnTo>
                    <a:pt x="1930614" y="1319159"/>
                  </a:lnTo>
                  <a:lnTo>
                    <a:pt x="1944927" y="1301803"/>
                  </a:lnTo>
                  <a:close/>
                  <a:moveTo>
                    <a:pt x="180455" y="1211995"/>
                  </a:moveTo>
                  <a:lnTo>
                    <a:pt x="191304" y="1216116"/>
                  </a:lnTo>
                  <a:lnTo>
                    <a:pt x="213464" y="1213580"/>
                  </a:lnTo>
                  <a:lnTo>
                    <a:pt x="206551" y="1249324"/>
                  </a:lnTo>
                  <a:lnTo>
                    <a:pt x="226643" y="1274329"/>
                  </a:lnTo>
                  <a:lnTo>
                    <a:pt x="217438" y="1274269"/>
                  </a:lnTo>
                  <a:lnTo>
                    <a:pt x="203528" y="1260079"/>
                  </a:lnTo>
                  <a:lnTo>
                    <a:pt x="194998" y="1245715"/>
                  </a:lnTo>
                  <a:lnTo>
                    <a:pt x="183350" y="1235947"/>
                  </a:lnTo>
                  <a:lnTo>
                    <a:pt x="179078" y="1222094"/>
                  </a:lnTo>
                  <a:close/>
                  <a:moveTo>
                    <a:pt x="1409622" y="935386"/>
                  </a:moveTo>
                  <a:lnTo>
                    <a:pt x="1419072" y="936170"/>
                  </a:lnTo>
                  <a:lnTo>
                    <a:pt x="1424939" y="943504"/>
                  </a:lnTo>
                  <a:lnTo>
                    <a:pt x="1415898" y="962191"/>
                  </a:lnTo>
                  <a:lnTo>
                    <a:pt x="1405694" y="959179"/>
                  </a:lnTo>
                  <a:lnTo>
                    <a:pt x="1399633" y="948575"/>
                  </a:lnTo>
                  <a:lnTo>
                    <a:pt x="1400712" y="946113"/>
                  </a:lnTo>
                  <a:close/>
                  <a:moveTo>
                    <a:pt x="1332963" y="916360"/>
                  </a:moveTo>
                  <a:lnTo>
                    <a:pt x="1364666" y="916704"/>
                  </a:lnTo>
                  <a:lnTo>
                    <a:pt x="1364176" y="923698"/>
                  </a:lnTo>
                  <a:lnTo>
                    <a:pt x="1337161" y="943484"/>
                  </a:lnTo>
                  <a:lnTo>
                    <a:pt x="1320864" y="942660"/>
                  </a:lnTo>
                  <a:lnTo>
                    <a:pt x="1315808" y="932976"/>
                  </a:lnTo>
                  <a:close/>
                  <a:moveTo>
                    <a:pt x="1272177" y="811682"/>
                  </a:moveTo>
                  <a:lnTo>
                    <a:pt x="1288856" y="814776"/>
                  </a:lnTo>
                  <a:lnTo>
                    <a:pt x="1293138" y="831394"/>
                  </a:lnTo>
                  <a:lnTo>
                    <a:pt x="1304951" y="825580"/>
                  </a:lnTo>
                  <a:lnTo>
                    <a:pt x="1318371" y="835452"/>
                  </a:lnTo>
                  <a:lnTo>
                    <a:pt x="1343648" y="848295"/>
                  </a:lnTo>
                  <a:lnTo>
                    <a:pt x="1370090" y="859895"/>
                  </a:lnTo>
                  <a:lnTo>
                    <a:pt x="1372135" y="877479"/>
                  </a:lnTo>
                  <a:lnTo>
                    <a:pt x="1389125" y="874610"/>
                  </a:lnTo>
                  <a:lnTo>
                    <a:pt x="1405604" y="886799"/>
                  </a:lnTo>
                  <a:lnTo>
                    <a:pt x="1385117" y="898307"/>
                  </a:lnTo>
                  <a:lnTo>
                    <a:pt x="1349197" y="889520"/>
                  </a:lnTo>
                  <a:lnTo>
                    <a:pt x="1336233" y="872972"/>
                  </a:lnTo>
                  <a:lnTo>
                    <a:pt x="1313344" y="892520"/>
                  </a:lnTo>
                  <a:lnTo>
                    <a:pt x="1280497" y="911353"/>
                  </a:lnTo>
                  <a:lnTo>
                    <a:pt x="1272572" y="890049"/>
                  </a:lnTo>
                  <a:lnTo>
                    <a:pt x="1241290" y="893561"/>
                  </a:lnTo>
                  <a:lnTo>
                    <a:pt x="1261354" y="875408"/>
                  </a:lnTo>
                  <a:lnTo>
                    <a:pt x="1264306" y="846195"/>
                  </a:lnTo>
                  <a:close/>
                  <a:moveTo>
                    <a:pt x="1502742" y="712505"/>
                  </a:moveTo>
                  <a:lnTo>
                    <a:pt x="1520763" y="723515"/>
                  </a:lnTo>
                  <a:lnTo>
                    <a:pt x="1521020" y="740432"/>
                  </a:lnTo>
                  <a:lnTo>
                    <a:pt x="1518420" y="745844"/>
                  </a:lnTo>
                  <a:lnTo>
                    <a:pt x="1503419" y="757399"/>
                  </a:lnTo>
                  <a:lnTo>
                    <a:pt x="1477544" y="759354"/>
                  </a:lnTo>
                  <a:lnTo>
                    <a:pt x="1471784" y="740194"/>
                  </a:lnTo>
                  <a:lnTo>
                    <a:pt x="1481588" y="718026"/>
                  </a:lnTo>
                  <a:close/>
                  <a:moveTo>
                    <a:pt x="987466" y="637088"/>
                  </a:moveTo>
                  <a:lnTo>
                    <a:pt x="1011954" y="648791"/>
                  </a:lnTo>
                  <a:lnTo>
                    <a:pt x="1025803" y="656186"/>
                  </a:lnTo>
                  <a:lnTo>
                    <a:pt x="1032728" y="663962"/>
                  </a:lnTo>
                  <a:lnTo>
                    <a:pt x="1046802" y="679520"/>
                  </a:lnTo>
                  <a:lnTo>
                    <a:pt x="1032448" y="693683"/>
                  </a:lnTo>
                  <a:lnTo>
                    <a:pt x="1001336" y="681451"/>
                  </a:lnTo>
                  <a:lnTo>
                    <a:pt x="982537" y="685873"/>
                  </a:lnTo>
                  <a:lnTo>
                    <a:pt x="951015" y="667635"/>
                  </a:lnTo>
                  <a:lnTo>
                    <a:pt x="971328" y="654955"/>
                  </a:lnTo>
                  <a:close/>
                  <a:moveTo>
                    <a:pt x="1056933" y="562116"/>
                  </a:moveTo>
                  <a:lnTo>
                    <a:pt x="1087375" y="569001"/>
                  </a:lnTo>
                  <a:lnTo>
                    <a:pt x="1110729" y="587828"/>
                  </a:lnTo>
                  <a:lnTo>
                    <a:pt x="1142088" y="635110"/>
                  </a:lnTo>
                  <a:lnTo>
                    <a:pt x="1121607" y="655368"/>
                  </a:lnTo>
                  <a:lnTo>
                    <a:pt x="1164537" y="663651"/>
                  </a:lnTo>
                  <a:lnTo>
                    <a:pt x="1164435" y="705003"/>
                  </a:lnTo>
                  <a:lnTo>
                    <a:pt x="1195282" y="673388"/>
                  </a:lnTo>
                  <a:lnTo>
                    <a:pt x="1222877" y="699388"/>
                  </a:lnTo>
                  <a:lnTo>
                    <a:pt x="1216002" y="728940"/>
                  </a:lnTo>
                  <a:lnTo>
                    <a:pt x="1238331" y="755453"/>
                  </a:lnTo>
                  <a:lnTo>
                    <a:pt x="1262431" y="727037"/>
                  </a:lnTo>
                  <a:lnTo>
                    <a:pt x="1279269" y="692575"/>
                  </a:lnTo>
                  <a:lnTo>
                    <a:pt x="1280531" y="647882"/>
                  </a:lnTo>
                  <a:lnTo>
                    <a:pt x="1313335" y="651039"/>
                  </a:lnTo>
                  <a:lnTo>
                    <a:pt x="1347456" y="657079"/>
                  </a:lnTo>
                  <a:lnTo>
                    <a:pt x="1378437" y="677316"/>
                  </a:lnTo>
                  <a:lnTo>
                    <a:pt x="1379827" y="697357"/>
                  </a:lnTo>
                  <a:lnTo>
                    <a:pt x="1362650" y="718664"/>
                  </a:lnTo>
                  <a:lnTo>
                    <a:pt x="1378925" y="739837"/>
                  </a:lnTo>
                  <a:lnTo>
                    <a:pt x="1375988" y="758884"/>
                  </a:lnTo>
                  <a:lnTo>
                    <a:pt x="1330791" y="785961"/>
                  </a:lnTo>
                  <a:lnTo>
                    <a:pt x="1298686" y="791886"/>
                  </a:lnTo>
                  <a:lnTo>
                    <a:pt x="1274818" y="780306"/>
                  </a:lnTo>
                  <a:lnTo>
                    <a:pt x="1267936" y="799584"/>
                  </a:lnTo>
                  <a:lnTo>
                    <a:pt x="1245688" y="831566"/>
                  </a:lnTo>
                  <a:lnTo>
                    <a:pt x="1238952" y="847961"/>
                  </a:lnTo>
                  <a:lnTo>
                    <a:pt x="1212183" y="873079"/>
                  </a:lnTo>
                  <a:lnTo>
                    <a:pt x="1179141" y="875522"/>
                  </a:lnTo>
                  <a:lnTo>
                    <a:pt x="1160916" y="891041"/>
                  </a:lnTo>
                  <a:lnTo>
                    <a:pt x="1159391" y="914692"/>
                  </a:lnTo>
                  <a:lnTo>
                    <a:pt x="1132537" y="919215"/>
                  </a:lnTo>
                  <a:lnTo>
                    <a:pt x="1104294" y="948283"/>
                  </a:lnTo>
                  <a:lnTo>
                    <a:pt x="1079260" y="988038"/>
                  </a:lnTo>
                  <a:lnTo>
                    <a:pt x="1070309" y="1015452"/>
                  </a:lnTo>
                  <a:lnTo>
                    <a:pt x="1069032" y="1055228"/>
                  </a:lnTo>
                  <a:lnTo>
                    <a:pt x="1102954" y="1060880"/>
                  </a:lnTo>
                  <a:lnTo>
                    <a:pt x="1113351" y="1092369"/>
                  </a:lnTo>
                  <a:lnTo>
                    <a:pt x="1124144" y="1117565"/>
                  </a:lnTo>
                  <a:lnTo>
                    <a:pt x="1156445" y="1111029"/>
                  </a:lnTo>
                  <a:lnTo>
                    <a:pt x="1199336" y="1125327"/>
                  </a:lnTo>
                  <a:lnTo>
                    <a:pt x="1222413" y="1137807"/>
                  </a:lnTo>
                  <a:lnTo>
                    <a:pt x="1238930" y="1153228"/>
                  </a:lnTo>
                  <a:lnTo>
                    <a:pt x="1267853" y="1162166"/>
                  </a:lnTo>
                  <a:lnTo>
                    <a:pt x="1292306" y="1175778"/>
                  </a:lnTo>
                  <a:lnTo>
                    <a:pt x="1330422" y="1177637"/>
                  </a:lnTo>
                  <a:lnTo>
                    <a:pt x="1355529" y="1180744"/>
                  </a:lnTo>
                  <a:lnTo>
                    <a:pt x="1351758" y="1208429"/>
                  </a:lnTo>
                  <a:lnTo>
                    <a:pt x="1358941" y="1240168"/>
                  </a:lnTo>
                  <a:lnTo>
                    <a:pt x="1375659" y="1275026"/>
                  </a:lnTo>
                  <a:lnTo>
                    <a:pt x="1410003" y="1304220"/>
                  </a:lnTo>
                  <a:lnTo>
                    <a:pt x="1427774" y="1294250"/>
                  </a:lnTo>
                  <a:lnTo>
                    <a:pt x="1440264" y="1262494"/>
                  </a:lnTo>
                  <a:lnTo>
                    <a:pt x="1428208" y="1212900"/>
                  </a:lnTo>
                  <a:lnTo>
                    <a:pt x="1411926" y="1196146"/>
                  </a:lnTo>
                  <a:lnTo>
                    <a:pt x="1448878" y="1181125"/>
                  </a:lnTo>
                  <a:lnTo>
                    <a:pt x="1475034" y="1158483"/>
                  </a:lnTo>
                  <a:lnTo>
                    <a:pt x="1487827" y="1135756"/>
                  </a:lnTo>
                  <a:lnTo>
                    <a:pt x="1485938" y="1113746"/>
                  </a:lnTo>
                  <a:lnTo>
                    <a:pt x="1470263" y="1085467"/>
                  </a:lnTo>
                  <a:lnTo>
                    <a:pt x="1442227" y="1060120"/>
                  </a:lnTo>
                  <a:lnTo>
                    <a:pt x="1469467" y="1024336"/>
                  </a:lnTo>
                  <a:lnTo>
                    <a:pt x="1459404" y="992958"/>
                  </a:lnTo>
                  <a:lnTo>
                    <a:pt x="1451691" y="937749"/>
                  </a:lnTo>
                  <a:lnTo>
                    <a:pt x="1467761" y="929466"/>
                  </a:lnTo>
                  <a:lnTo>
                    <a:pt x="1507335" y="939225"/>
                  </a:lnTo>
                  <a:lnTo>
                    <a:pt x="1531065" y="942703"/>
                  </a:lnTo>
                  <a:lnTo>
                    <a:pt x="1550184" y="933299"/>
                  </a:lnTo>
                  <a:lnTo>
                    <a:pt x="1571682" y="945417"/>
                  </a:lnTo>
                  <a:lnTo>
                    <a:pt x="1600108" y="966002"/>
                  </a:lnTo>
                  <a:lnTo>
                    <a:pt x="1607111" y="979677"/>
                  </a:lnTo>
                  <a:lnTo>
                    <a:pt x="1648273" y="982337"/>
                  </a:lnTo>
                  <a:lnTo>
                    <a:pt x="1647583" y="1011612"/>
                  </a:lnTo>
                  <a:lnTo>
                    <a:pt x="1655256" y="1054939"/>
                  </a:lnTo>
                  <a:lnTo>
                    <a:pt x="1676339" y="1060239"/>
                  </a:lnTo>
                  <a:lnTo>
                    <a:pt x="1693069" y="1080102"/>
                  </a:lnTo>
                  <a:lnTo>
                    <a:pt x="1726492" y="1061382"/>
                  </a:lnTo>
                  <a:lnTo>
                    <a:pt x="1748573" y="1023713"/>
                  </a:lnTo>
                  <a:lnTo>
                    <a:pt x="1763846" y="1007651"/>
                  </a:lnTo>
                  <a:lnTo>
                    <a:pt x="1781822" y="1038403"/>
                  </a:lnTo>
                  <a:lnTo>
                    <a:pt x="1811885" y="1081611"/>
                  </a:lnTo>
                  <a:lnTo>
                    <a:pt x="1837410" y="1121514"/>
                  </a:lnTo>
                  <a:lnTo>
                    <a:pt x="1828128" y="1142131"/>
                  </a:lnTo>
                  <a:lnTo>
                    <a:pt x="1858831" y="1160492"/>
                  </a:lnTo>
                  <a:lnTo>
                    <a:pt x="1879580" y="1178950"/>
                  </a:lnTo>
                  <a:lnTo>
                    <a:pt x="1916386" y="1187256"/>
                  </a:lnTo>
                  <a:lnTo>
                    <a:pt x="1931203" y="1197463"/>
                  </a:lnTo>
                  <a:lnTo>
                    <a:pt x="1940351" y="1224329"/>
                  </a:lnTo>
                  <a:lnTo>
                    <a:pt x="1958327" y="1228520"/>
                  </a:lnTo>
                  <a:lnTo>
                    <a:pt x="1967601" y="1240378"/>
                  </a:lnTo>
                  <a:lnTo>
                    <a:pt x="1969285" y="1275374"/>
                  </a:lnTo>
                  <a:lnTo>
                    <a:pt x="1952532" y="1286973"/>
                  </a:lnTo>
                  <a:lnTo>
                    <a:pt x="1935965" y="1297752"/>
                  </a:lnTo>
                  <a:lnTo>
                    <a:pt x="1897926" y="1308622"/>
                  </a:lnTo>
                  <a:lnTo>
                    <a:pt x="1868882" y="1333569"/>
                  </a:lnTo>
                  <a:lnTo>
                    <a:pt x="1829859" y="1338469"/>
                  </a:lnTo>
                  <a:lnTo>
                    <a:pt x="1780489" y="1332111"/>
                  </a:lnTo>
                  <a:lnTo>
                    <a:pt x="1745846" y="1331893"/>
                  </a:lnTo>
                  <a:lnTo>
                    <a:pt x="1721939" y="1333986"/>
                  </a:lnTo>
                  <a:lnTo>
                    <a:pt x="1702613" y="1355570"/>
                  </a:lnTo>
                  <a:lnTo>
                    <a:pt x="1673186" y="1368816"/>
                  </a:lnTo>
                  <a:lnTo>
                    <a:pt x="1639890" y="1407975"/>
                  </a:lnTo>
                  <a:lnTo>
                    <a:pt x="1613322" y="1434954"/>
                  </a:lnTo>
                  <a:lnTo>
                    <a:pt x="1632928" y="1430170"/>
                  </a:lnTo>
                  <a:lnTo>
                    <a:pt x="1669981" y="1391621"/>
                  </a:lnTo>
                  <a:lnTo>
                    <a:pt x="1718398" y="1366885"/>
                  </a:lnTo>
                  <a:lnTo>
                    <a:pt x="1752934" y="1363910"/>
                  </a:lnTo>
                  <a:lnTo>
                    <a:pt x="1773368" y="1378512"/>
                  </a:lnTo>
                  <a:lnTo>
                    <a:pt x="1751568" y="1398384"/>
                  </a:lnTo>
                  <a:lnTo>
                    <a:pt x="1758883" y="1429969"/>
                  </a:lnTo>
                  <a:lnTo>
                    <a:pt x="1766416" y="1451860"/>
                  </a:lnTo>
                  <a:lnTo>
                    <a:pt x="1796398" y="1466257"/>
                  </a:lnTo>
                  <a:lnTo>
                    <a:pt x="1834544" y="1462093"/>
                  </a:lnTo>
                  <a:lnTo>
                    <a:pt x="1857686" y="1429533"/>
                  </a:lnTo>
                  <a:lnTo>
                    <a:pt x="1859291" y="1450584"/>
                  </a:lnTo>
                  <a:lnTo>
                    <a:pt x="1874196" y="1461038"/>
                  </a:lnTo>
                  <a:lnTo>
                    <a:pt x="1845643" y="1479844"/>
                  </a:lnTo>
                  <a:lnTo>
                    <a:pt x="1794519" y="1496818"/>
                  </a:lnTo>
                  <a:lnTo>
                    <a:pt x="1771624" y="1508301"/>
                  </a:lnTo>
                  <a:lnTo>
                    <a:pt x="1745829" y="1528629"/>
                  </a:lnTo>
                  <a:lnTo>
                    <a:pt x="1728301" y="1526563"/>
                  </a:lnTo>
                  <a:lnTo>
                    <a:pt x="1727417" y="1502642"/>
                  </a:lnTo>
                  <a:lnTo>
                    <a:pt x="1767494" y="1479078"/>
                  </a:lnTo>
                  <a:lnTo>
                    <a:pt x="1730549" y="1480014"/>
                  </a:lnTo>
                  <a:lnTo>
                    <a:pt x="1704895" y="1483495"/>
                  </a:lnTo>
                  <a:lnTo>
                    <a:pt x="1689801" y="1467298"/>
                  </a:lnTo>
                  <a:lnTo>
                    <a:pt x="1689821" y="1427830"/>
                  </a:lnTo>
                  <a:lnTo>
                    <a:pt x="1679573" y="1419406"/>
                  </a:lnTo>
                  <a:lnTo>
                    <a:pt x="1664095" y="1424369"/>
                  </a:lnTo>
                  <a:lnTo>
                    <a:pt x="1656426" y="1416687"/>
                  </a:lnTo>
                  <a:lnTo>
                    <a:pt x="1638820" y="1438692"/>
                  </a:lnTo>
                  <a:lnTo>
                    <a:pt x="1631779" y="1461193"/>
                  </a:lnTo>
                  <a:lnTo>
                    <a:pt x="1623585" y="1474267"/>
                  </a:lnTo>
                  <a:lnTo>
                    <a:pt x="1613778" y="1478700"/>
                  </a:lnTo>
                  <a:lnTo>
                    <a:pt x="1606388" y="1480137"/>
                  </a:lnTo>
                  <a:lnTo>
                    <a:pt x="1604078" y="1487188"/>
                  </a:lnTo>
                  <a:lnTo>
                    <a:pt x="1561542" y="1487212"/>
                  </a:lnTo>
                  <a:lnTo>
                    <a:pt x="1526476" y="1487408"/>
                  </a:lnTo>
                  <a:lnTo>
                    <a:pt x="1516061" y="1492655"/>
                  </a:lnTo>
                  <a:lnTo>
                    <a:pt x="1491667" y="1513089"/>
                  </a:lnTo>
                  <a:lnTo>
                    <a:pt x="1488782" y="1515290"/>
                  </a:lnTo>
                  <a:lnTo>
                    <a:pt x="1481394" y="1526278"/>
                  </a:lnTo>
                  <a:lnTo>
                    <a:pt x="1460208" y="1526271"/>
                  </a:lnTo>
                  <a:lnTo>
                    <a:pt x="1437532" y="1526382"/>
                  </a:lnTo>
                  <a:lnTo>
                    <a:pt x="1427112" y="1530847"/>
                  </a:lnTo>
                  <a:lnTo>
                    <a:pt x="1430844" y="1536359"/>
                  </a:lnTo>
                  <a:lnTo>
                    <a:pt x="1432922" y="1544901"/>
                  </a:lnTo>
                  <a:lnTo>
                    <a:pt x="1432475" y="1547735"/>
                  </a:lnTo>
                  <a:lnTo>
                    <a:pt x="1402281" y="1561599"/>
                  </a:lnTo>
                  <a:lnTo>
                    <a:pt x="1378499" y="1565967"/>
                  </a:lnTo>
                  <a:lnTo>
                    <a:pt x="1351687" y="1580755"/>
                  </a:lnTo>
                  <a:lnTo>
                    <a:pt x="1345898" y="1580755"/>
                  </a:lnTo>
                  <a:lnTo>
                    <a:pt x="1338056" y="1576395"/>
                  </a:lnTo>
                  <a:lnTo>
                    <a:pt x="1335467" y="1572439"/>
                  </a:lnTo>
                  <a:lnTo>
                    <a:pt x="1335974" y="1569547"/>
                  </a:lnTo>
                  <a:lnTo>
                    <a:pt x="1341053" y="1559825"/>
                  </a:lnTo>
                  <a:lnTo>
                    <a:pt x="1351901" y="1544481"/>
                  </a:lnTo>
                  <a:lnTo>
                    <a:pt x="1358650" y="1527902"/>
                  </a:lnTo>
                  <a:lnTo>
                    <a:pt x="1354031" y="1503355"/>
                  </a:lnTo>
                  <a:lnTo>
                    <a:pt x="1349110" y="1477490"/>
                  </a:lnTo>
                  <a:lnTo>
                    <a:pt x="1325060" y="1464017"/>
                  </a:lnTo>
                  <a:lnTo>
                    <a:pt x="1327906" y="1458897"/>
                  </a:lnTo>
                  <a:lnTo>
                    <a:pt x="1324522" y="1455371"/>
                  </a:lnTo>
                  <a:lnTo>
                    <a:pt x="1318183" y="1455371"/>
                  </a:lnTo>
                  <a:lnTo>
                    <a:pt x="1313541" y="1450793"/>
                  </a:lnTo>
                  <a:lnTo>
                    <a:pt x="1312381" y="1443938"/>
                  </a:lnTo>
                  <a:lnTo>
                    <a:pt x="1307890" y="1446935"/>
                  </a:lnTo>
                  <a:lnTo>
                    <a:pt x="1301699" y="1446042"/>
                  </a:lnTo>
                  <a:lnTo>
                    <a:pt x="1303111" y="1443171"/>
                  </a:lnTo>
                  <a:lnTo>
                    <a:pt x="1297675" y="1440317"/>
                  </a:lnTo>
                  <a:lnTo>
                    <a:pt x="1295439" y="1432674"/>
                  </a:lnTo>
                  <a:lnTo>
                    <a:pt x="1277521" y="1423341"/>
                  </a:lnTo>
                  <a:lnTo>
                    <a:pt x="1258832" y="1413595"/>
                  </a:lnTo>
                  <a:lnTo>
                    <a:pt x="1236262" y="1402238"/>
                  </a:lnTo>
                  <a:lnTo>
                    <a:pt x="1214603" y="1391534"/>
                  </a:lnTo>
                  <a:lnTo>
                    <a:pt x="1193949" y="1399888"/>
                  </a:lnTo>
                  <a:lnTo>
                    <a:pt x="1186399" y="1400177"/>
                  </a:lnTo>
                  <a:lnTo>
                    <a:pt x="1158007" y="1392507"/>
                  </a:lnTo>
                  <a:lnTo>
                    <a:pt x="1139310" y="1396345"/>
                  </a:lnTo>
                  <a:lnTo>
                    <a:pt x="1116920" y="1387184"/>
                  </a:lnTo>
                  <a:lnTo>
                    <a:pt x="1093356" y="1382466"/>
                  </a:lnTo>
                  <a:lnTo>
                    <a:pt x="1077238" y="1380642"/>
                  </a:lnTo>
                  <a:lnTo>
                    <a:pt x="1070062" y="1375614"/>
                  </a:lnTo>
                  <a:lnTo>
                    <a:pt x="1065963" y="1359239"/>
                  </a:lnTo>
                  <a:lnTo>
                    <a:pt x="1058149" y="1359382"/>
                  </a:lnTo>
                  <a:lnTo>
                    <a:pt x="1058081" y="1370853"/>
                  </a:lnTo>
                  <a:lnTo>
                    <a:pt x="1010307" y="1370832"/>
                  </a:lnTo>
                  <a:lnTo>
                    <a:pt x="931335" y="1370853"/>
                  </a:lnTo>
                  <a:lnTo>
                    <a:pt x="852894" y="1370857"/>
                  </a:lnTo>
                  <a:lnTo>
                    <a:pt x="783606" y="1370853"/>
                  </a:lnTo>
                  <a:lnTo>
                    <a:pt x="714358" y="1370853"/>
                  </a:lnTo>
                  <a:lnTo>
                    <a:pt x="646264" y="1370853"/>
                  </a:lnTo>
                  <a:lnTo>
                    <a:pt x="575904" y="1370853"/>
                  </a:lnTo>
                  <a:lnTo>
                    <a:pt x="553213" y="1370853"/>
                  </a:lnTo>
                  <a:lnTo>
                    <a:pt x="484685" y="1370853"/>
                  </a:lnTo>
                  <a:lnTo>
                    <a:pt x="419131" y="1370853"/>
                  </a:lnTo>
                  <a:lnTo>
                    <a:pt x="416033" y="1370777"/>
                  </a:lnTo>
                  <a:lnTo>
                    <a:pt x="371344" y="1341360"/>
                  </a:lnTo>
                  <a:lnTo>
                    <a:pt x="354854" y="1328312"/>
                  </a:lnTo>
                  <a:lnTo>
                    <a:pt x="313052" y="1315743"/>
                  </a:lnTo>
                  <a:lnTo>
                    <a:pt x="300191" y="1288661"/>
                  </a:lnTo>
                  <a:lnTo>
                    <a:pt x="303479" y="1269710"/>
                  </a:lnTo>
                  <a:lnTo>
                    <a:pt x="273945" y="1256478"/>
                  </a:lnTo>
                  <a:lnTo>
                    <a:pt x="269896" y="1231226"/>
                  </a:lnTo>
                  <a:lnTo>
                    <a:pt x="241972" y="1208260"/>
                  </a:lnTo>
                  <a:lnTo>
                    <a:pt x="241484" y="1191828"/>
                  </a:lnTo>
                  <a:lnTo>
                    <a:pt x="254320" y="1176345"/>
                  </a:lnTo>
                  <a:lnTo>
                    <a:pt x="253679" y="1155936"/>
                  </a:lnTo>
                  <a:lnTo>
                    <a:pt x="214438" y="1135170"/>
                  </a:lnTo>
                  <a:lnTo>
                    <a:pt x="190833" y="1097467"/>
                  </a:lnTo>
                  <a:lnTo>
                    <a:pt x="176403" y="1073437"/>
                  </a:lnTo>
                  <a:lnTo>
                    <a:pt x="155270" y="1058204"/>
                  </a:lnTo>
                  <a:lnTo>
                    <a:pt x="139715" y="1044280"/>
                  </a:lnTo>
                  <a:lnTo>
                    <a:pt x="127462" y="1026566"/>
                  </a:lnTo>
                  <a:lnTo>
                    <a:pt x="104289" y="1037675"/>
                  </a:lnTo>
                  <a:lnTo>
                    <a:pt x="81835" y="1056715"/>
                  </a:lnTo>
                  <a:lnTo>
                    <a:pt x="61328" y="1034312"/>
                  </a:lnTo>
                  <a:lnTo>
                    <a:pt x="45214" y="1019257"/>
                  </a:lnTo>
                  <a:lnTo>
                    <a:pt x="22732" y="1009687"/>
                  </a:lnTo>
                  <a:lnTo>
                    <a:pt x="0" y="1008663"/>
                  </a:lnTo>
                  <a:lnTo>
                    <a:pt x="122" y="801732"/>
                  </a:lnTo>
                  <a:lnTo>
                    <a:pt x="273" y="654875"/>
                  </a:lnTo>
                  <a:lnTo>
                    <a:pt x="43333" y="664738"/>
                  </a:lnTo>
                  <a:lnTo>
                    <a:pt x="79669" y="684284"/>
                  </a:lnTo>
                  <a:lnTo>
                    <a:pt x="103738" y="687999"/>
                  </a:lnTo>
                  <a:lnTo>
                    <a:pt x="124001" y="671094"/>
                  </a:lnTo>
                  <a:lnTo>
                    <a:pt x="151957" y="658342"/>
                  </a:lnTo>
                  <a:lnTo>
                    <a:pt x="186244" y="663337"/>
                  </a:lnTo>
                  <a:lnTo>
                    <a:pt x="220819" y="645311"/>
                  </a:lnTo>
                  <a:lnTo>
                    <a:pt x="258597" y="635010"/>
                  </a:lnTo>
                  <a:lnTo>
                    <a:pt x="274455" y="652112"/>
                  </a:lnTo>
                  <a:lnTo>
                    <a:pt x="291678" y="642491"/>
                  </a:lnTo>
                  <a:lnTo>
                    <a:pt x="296835" y="622948"/>
                  </a:lnTo>
                  <a:lnTo>
                    <a:pt x="312786" y="627390"/>
                  </a:lnTo>
                  <a:lnTo>
                    <a:pt x="351814" y="664348"/>
                  </a:lnTo>
                  <a:lnTo>
                    <a:pt x="382548" y="636472"/>
                  </a:lnTo>
                  <a:lnTo>
                    <a:pt x="385668" y="667649"/>
                  </a:lnTo>
                  <a:lnTo>
                    <a:pt x="414028" y="660950"/>
                  </a:lnTo>
                  <a:lnTo>
                    <a:pt x="422743" y="648976"/>
                  </a:lnTo>
                  <a:lnTo>
                    <a:pt x="450702" y="651351"/>
                  </a:lnTo>
                  <a:lnTo>
                    <a:pt x="486004" y="668539"/>
                  </a:lnTo>
                  <a:lnTo>
                    <a:pt x="540022" y="683424"/>
                  </a:lnTo>
                  <a:lnTo>
                    <a:pt x="571789" y="690280"/>
                  </a:lnTo>
                  <a:lnTo>
                    <a:pt x="594400" y="687682"/>
                  </a:lnTo>
                  <a:lnTo>
                    <a:pt x="625537" y="708046"/>
                  </a:lnTo>
                  <a:lnTo>
                    <a:pt x="593061" y="727784"/>
                  </a:lnTo>
                  <a:lnTo>
                    <a:pt x="634786" y="736254"/>
                  </a:lnTo>
                  <a:lnTo>
                    <a:pt x="697092" y="731599"/>
                  </a:lnTo>
                  <a:lnTo>
                    <a:pt x="716754" y="724677"/>
                  </a:lnTo>
                  <a:lnTo>
                    <a:pt x="741360" y="748307"/>
                  </a:lnTo>
                  <a:lnTo>
                    <a:pt x="766470" y="728387"/>
                  </a:lnTo>
                  <a:lnTo>
                    <a:pt x="742912" y="711531"/>
                  </a:lnTo>
                  <a:lnTo>
                    <a:pt x="757818" y="697829"/>
                  </a:lnTo>
                  <a:lnTo>
                    <a:pt x="785914" y="695977"/>
                  </a:lnTo>
                  <a:lnTo>
                    <a:pt x="804381" y="691953"/>
                  </a:lnTo>
                  <a:lnTo>
                    <a:pt x="823012" y="701549"/>
                  </a:lnTo>
                  <a:lnTo>
                    <a:pt x="846208" y="723212"/>
                  </a:lnTo>
                  <a:lnTo>
                    <a:pt x="871986" y="720046"/>
                  </a:lnTo>
                  <a:lnTo>
                    <a:pt x="912769" y="737880"/>
                  </a:lnTo>
                  <a:lnTo>
                    <a:pt x="948602" y="731617"/>
                  </a:lnTo>
                  <a:lnTo>
                    <a:pt x="982274" y="732566"/>
                  </a:lnTo>
                  <a:lnTo>
                    <a:pt x="979610" y="707845"/>
                  </a:lnTo>
                  <a:lnTo>
                    <a:pt x="1000133" y="700850"/>
                  </a:lnTo>
                  <a:lnTo>
                    <a:pt x="1035902" y="714411"/>
                  </a:lnTo>
                  <a:lnTo>
                    <a:pt x="1035764" y="751754"/>
                  </a:lnTo>
                  <a:lnTo>
                    <a:pt x="1050455" y="720326"/>
                  </a:lnTo>
                  <a:lnTo>
                    <a:pt x="1069023" y="721393"/>
                  </a:lnTo>
                  <a:lnTo>
                    <a:pt x="1079461" y="681086"/>
                  </a:lnTo>
                  <a:lnTo>
                    <a:pt x="1054733" y="655953"/>
                  </a:lnTo>
                  <a:lnTo>
                    <a:pt x="1027790" y="639313"/>
                  </a:lnTo>
                  <a:lnTo>
                    <a:pt x="1029641" y="593079"/>
                  </a:lnTo>
                  <a:close/>
                  <a:moveTo>
                    <a:pt x="595734" y="501226"/>
                  </a:moveTo>
                  <a:lnTo>
                    <a:pt x="619323" y="509777"/>
                  </a:lnTo>
                  <a:lnTo>
                    <a:pt x="607800" y="530371"/>
                  </a:lnTo>
                  <a:lnTo>
                    <a:pt x="659167" y="517098"/>
                  </a:lnTo>
                  <a:lnTo>
                    <a:pt x="691266" y="539196"/>
                  </a:lnTo>
                  <a:lnTo>
                    <a:pt x="717351" y="516846"/>
                  </a:lnTo>
                  <a:lnTo>
                    <a:pt x="738444" y="531220"/>
                  </a:lnTo>
                  <a:lnTo>
                    <a:pt x="757330" y="573677"/>
                  </a:lnTo>
                  <a:lnTo>
                    <a:pt x="768926" y="555872"/>
                  </a:lnTo>
                  <a:lnTo>
                    <a:pt x="752528" y="511186"/>
                  </a:lnTo>
                  <a:lnTo>
                    <a:pt x="772839" y="504711"/>
                  </a:lnTo>
                  <a:lnTo>
                    <a:pt x="795780" y="511783"/>
                  </a:lnTo>
                  <a:lnTo>
                    <a:pt x="821636" y="529504"/>
                  </a:lnTo>
                  <a:lnTo>
                    <a:pt x="836123" y="571645"/>
                  </a:lnTo>
                  <a:lnTo>
                    <a:pt x="843280" y="601605"/>
                  </a:lnTo>
                  <a:lnTo>
                    <a:pt x="882045" y="622368"/>
                  </a:lnTo>
                  <a:lnTo>
                    <a:pt x="923700" y="642017"/>
                  </a:lnTo>
                  <a:lnTo>
                    <a:pt x="921195" y="660101"/>
                  </a:lnTo>
                  <a:lnTo>
                    <a:pt x="883296" y="663391"/>
                  </a:lnTo>
                  <a:lnTo>
                    <a:pt x="898020" y="679036"/>
                  </a:lnTo>
                  <a:lnTo>
                    <a:pt x="890243" y="693852"/>
                  </a:lnTo>
                  <a:lnTo>
                    <a:pt x="848468" y="687517"/>
                  </a:lnTo>
                  <a:lnTo>
                    <a:pt x="808766" y="676587"/>
                  </a:lnTo>
                  <a:lnTo>
                    <a:pt x="781932" y="679053"/>
                  </a:lnTo>
                  <a:lnTo>
                    <a:pt x="738595" y="692758"/>
                  </a:lnTo>
                  <a:lnTo>
                    <a:pt x="680100" y="698787"/>
                  </a:lnTo>
                  <a:lnTo>
                    <a:pt x="639035" y="702578"/>
                  </a:lnTo>
                  <a:lnTo>
                    <a:pt x="626529" y="683579"/>
                  </a:lnTo>
                  <a:lnTo>
                    <a:pt x="595020" y="672523"/>
                  </a:lnTo>
                  <a:lnTo>
                    <a:pt x="574524" y="677065"/>
                  </a:lnTo>
                  <a:lnTo>
                    <a:pt x="546085" y="644672"/>
                  </a:lnTo>
                  <a:lnTo>
                    <a:pt x="561442" y="640273"/>
                  </a:lnTo>
                  <a:lnTo>
                    <a:pt x="597072" y="633202"/>
                  </a:lnTo>
                  <a:lnTo>
                    <a:pt x="629612" y="635065"/>
                  </a:lnTo>
                  <a:lnTo>
                    <a:pt x="659742" y="627840"/>
                  </a:lnTo>
                  <a:lnTo>
                    <a:pt x="615103" y="618099"/>
                  </a:lnTo>
                  <a:lnTo>
                    <a:pt x="565778" y="621422"/>
                  </a:lnTo>
                  <a:lnTo>
                    <a:pt x="533048" y="620582"/>
                  </a:lnTo>
                  <a:lnTo>
                    <a:pt x="520870" y="605132"/>
                  </a:lnTo>
                  <a:lnTo>
                    <a:pt x="574405" y="588232"/>
                  </a:lnTo>
                  <a:lnTo>
                    <a:pt x="538799" y="588825"/>
                  </a:lnTo>
                  <a:lnTo>
                    <a:pt x="498489" y="577619"/>
                  </a:lnTo>
                  <a:lnTo>
                    <a:pt x="517863" y="545388"/>
                  </a:lnTo>
                  <a:lnTo>
                    <a:pt x="533934" y="528045"/>
                  </a:lnTo>
                  <a:close/>
                  <a:moveTo>
                    <a:pt x="824924" y="486734"/>
                  </a:moveTo>
                  <a:lnTo>
                    <a:pt x="842467" y="496544"/>
                  </a:lnTo>
                  <a:lnTo>
                    <a:pt x="822154" y="525678"/>
                  </a:lnTo>
                  <a:lnTo>
                    <a:pt x="786145" y="494764"/>
                  </a:lnTo>
                  <a:lnTo>
                    <a:pt x="793993" y="488521"/>
                  </a:lnTo>
                  <a:close/>
                  <a:moveTo>
                    <a:pt x="1399843" y="481375"/>
                  </a:moveTo>
                  <a:lnTo>
                    <a:pt x="1452670" y="486201"/>
                  </a:lnTo>
                  <a:lnTo>
                    <a:pt x="1492475" y="510606"/>
                  </a:lnTo>
                  <a:lnTo>
                    <a:pt x="1494520" y="522768"/>
                  </a:lnTo>
                  <a:lnTo>
                    <a:pt x="1469982" y="521488"/>
                  </a:lnTo>
                  <a:lnTo>
                    <a:pt x="1445117" y="520560"/>
                  </a:lnTo>
                  <a:lnTo>
                    <a:pt x="1419851" y="526458"/>
                  </a:lnTo>
                  <a:lnTo>
                    <a:pt x="1413167" y="523798"/>
                  </a:lnTo>
                  <a:lnTo>
                    <a:pt x="1387770" y="500401"/>
                  </a:lnTo>
                  <a:lnTo>
                    <a:pt x="1388744" y="484355"/>
                  </a:lnTo>
                  <a:close/>
                  <a:moveTo>
                    <a:pt x="1273509" y="479397"/>
                  </a:moveTo>
                  <a:lnTo>
                    <a:pt x="1256520" y="508186"/>
                  </a:lnTo>
                  <a:lnTo>
                    <a:pt x="1274705" y="535549"/>
                  </a:lnTo>
                  <a:lnTo>
                    <a:pt x="1296039" y="500086"/>
                  </a:lnTo>
                  <a:lnTo>
                    <a:pt x="1354542" y="481767"/>
                  </a:lnTo>
                  <a:lnTo>
                    <a:pt x="1394141" y="527581"/>
                  </a:lnTo>
                  <a:lnTo>
                    <a:pt x="1390705" y="556027"/>
                  </a:lnTo>
                  <a:lnTo>
                    <a:pt x="1436369" y="543465"/>
                  </a:lnTo>
                  <a:lnTo>
                    <a:pt x="1458206" y="526133"/>
                  </a:lnTo>
                  <a:lnTo>
                    <a:pt x="1509421" y="548170"/>
                  </a:lnTo>
                  <a:lnTo>
                    <a:pt x="1541211" y="568701"/>
                  </a:lnTo>
                  <a:lnTo>
                    <a:pt x="1544200" y="587312"/>
                  </a:lnTo>
                  <a:lnTo>
                    <a:pt x="1587063" y="577690"/>
                  </a:lnTo>
                  <a:lnTo>
                    <a:pt x="1611120" y="604677"/>
                  </a:lnTo>
                  <a:lnTo>
                    <a:pt x="1666840" y="621230"/>
                  </a:lnTo>
                  <a:lnTo>
                    <a:pt x="1686947" y="637981"/>
                  </a:lnTo>
                  <a:lnTo>
                    <a:pt x="1708782" y="676340"/>
                  </a:lnTo>
                  <a:lnTo>
                    <a:pt x="1666400" y="695165"/>
                  </a:lnTo>
                  <a:lnTo>
                    <a:pt x="1720766" y="721261"/>
                  </a:lnTo>
                  <a:lnTo>
                    <a:pt x="1757411" y="729962"/>
                  </a:lnTo>
                  <a:lnTo>
                    <a:pt x="1790589" y="765978"/>
                  </a:lnTo>
                  <a:lnTo>
                    <a:pt x="1826897" y="768554"/>
                  </a:lnTo>
                  <a:lnTo>
                    <a:pt x="1819714" y="795606"/>
                  </a:lnTo>
                  <a:lnTo>
                    <a:pt x="1779198" y="839616"/>
                  </a:lnTo>
                  <a:lnTo>
                    <a:pt x="1750797" y="823532"/>
                  </a:lnTo>
                  <a:lnTo>
                    <a:pt x="1714502" y="786865"/>
                  </a:lnTo>
                  <a:lnTo>
                    <a:pt x="1684638" y="791678"/>
                  </a:lnTo>
                  <a:lnTo>
                    <a:pt x="1681723" y="813543"/>
                  </a:lnTo>
                  <a:lnTo>
                    <a:pt x="1705998" y="835496"/>
                  </a:lnTo>
                  <a:lnTo>
                    <a:pt x="1737334" y="852707"/>
                  </a:lnTo>
                  <a:lnTo>
                    <a:pt x="1746842" y="862582"/>
                  </a:lnTo>
                  <a:lnTo>
                    <a:pt x="1761864" y="898975"/>
                  </a:lnTo>
                  <a:lnTo>
                    <a:pt x="1753914" y="925017"/>
                  </a:lnTo>
                  <a:lnTo>
                    <a:pt x="1724801" y="915238"/>
                  </a:lnTo>
                  <a:lnTo>
                    <a:pt x="1666906" y="886077"/>
                  </a:lnTo>
                  <a:lnTo>
                    <a:pt x="1699534" y="917449"/>
                  </a:lnTo>
                  <a:lnTo>
                    <a:pt x="1723572" y="939165"/>
                  </a:lnTo>
                  <a:lnTo>
                    <a:pt x="1727328" y="951622"/>
                  </a:lnTo>
                  <a:lnTo>
                    <a:pt x="1664733" y="937372"/>
                  </a:lnTo>
                  <a:lnTo>
                    <a:pt x="1615196" y="916482"/>
                  </a:lnTo>
                  <a:lnTo>
                    <a:pt x="1587221" y="898796"/>
                  </a:lnTo>
                  <a:lnTo>
                    <a:pt x="1595279" y="888484"/>
                  </a:lnTo>
                  <a:lnTo>
                    <a:pt x="1560839" y="869571"/>
                  </a:lnTo>
                  <a:lnTo>
                    <a:pt x="1527228" y="851564"/>
                  </a:lnTo>
                  <a:lnTo>
                    <a:pt x="1527595" y="862346"/>
                  </a:lnTo>
                  <a:lnTo>
                    <a:pt x="1460852" y="868256"/>
                  </a:lnTo>
                  <a:lnTo>
                    <a:pt x="1441325" y="855518"/>
                  </a:lnTo>
                  <a:lnTo>
                    <a:pt x="1456529" y="827942"/>
                  </a:lnTo>
                  <a:lnTo>
                    <a:pt x="1499901" y="827271"/>
                  </a:lnTo>
                  <a:lnTo>
                    <a:pt x="1547417" y="822446"/>
                  </a:lnTo>
                  <a:lnTo>
                    <a:pt x="1539705" y="808907"/>
                  </a:lnTo>
                  <a:lnTo>
                    <a:pt x="1547760" y="789842"/>
                  </a:lnTo>
                  <a:lnTo>
                    <a:pt x="1577623" y="752098"/>
                  </a:lnTo>
                  <a:lnTo>
                    <a:pt x="1571278" y="734725"/>
                  </a:lnTo>
                  <a:lnTo>
                    <a:pt x="1562378" y="721171"/>
                  </a:lnTo>
                  <a:lnTo>
                    <a:pt x="1527023" y="701813"/>
                  </a:lnTo>
                  <a:lnTo>
                    <a:pt x="1480262" y="688133"/>
                  </a:lnTo>
                  <a:lnTo>
                    <a:pt x="1495045" y="677895"/>
                  </a:lnTo>
                  <a:lnTo>
                    <a:pt x="1470607" y="652512"/>
                  </a:lnTo>
                  <a:lnTo>
                    <a:pt x="1450265" y="650171"/>
                  </a:lnTo>
                  <a:lnTo>
                    <a:pt x="1432062" y="636121"/>
                  </a:lnTo>
                  <a:lnTo>
                    <a:pt x="1419708" y="648306"/>
                  </a:lnTo>
                  <a:lnTo>
                    <a:pt x="1377859" y="653594"/>
                  </a:lnTo>
                  <a:lnTo>
                    <a:pt x="1293855" y="644398"/>
                  </a:lnTo>
                  <a:lnTo>
                    <a:pt x="1245029" y="632260"/>
                  </a:lnTo>
                  <a:lnTo>
                    <a:pt x="1207595" y="625994"/>
                  </a:lnTo>
                  <a:lnTo>
                    <a:pt x="1188397" y="611314"/>
                  </a:lnTo>
                  <a:lnTo>
                    <a:pt x="1212535" y="592089"/>
                  </a:lnTo>
                  <a:lnTo>
                    <a:pt x="1179747" y="591904"/>
                  </a:lnTo>
                  <a:lnTo>
                    <a:pt x="1172430" y="548542"/>
                  </a:lnTo>
                  <a:lnTo>
                    <a:pt x="1190171" y="509423"/>
                  </a:lnTo>
                  <a:lnTo>
                    <a:pt x="1213908" y="491293"/>
                  </a:lnTo>
                  <a:close/>
                  <a:moveTo>
                    <a:pt x="938112" y="477598"/>
                  </a:moveTo>
                  <a:lnTo>
                    <a:pt x="965639" y="487029"/>
                  </a:lnTo>
                  <a:lnTo>
                    <a:pt x="1006816" y="481362"/>
                  </a:lnTo>
                  <a:lnTo>
                    <a:pt x="1012817" y="494318"/>
                  </a:lnTo>
                  <a:lnTo>
                    <a:pt x="991267" y="515552"/>
                  </a:lnTo>
                  <a:lnTo>
                    <a:pt x="1026205" y="534421"/>
                  </a:lnTo>
                  <a:lnTo>
                    <a:pt x="1022050" y="573287"/>
                  </a:lnTo>
                  <a:lnTo>
                    <a:pt x="984202" y="589773"/>
                  </a:lnTo>
                  <a:lnTo>
                    <a:pt x="961969" y="586227"/>
                  </a:lnTo>
                  <a:lnTo>
                    <a:pt x="945997" y="569938"/>
                  </a:lnTo>
                  <a:lnTo>
                    <a:pt x="888632" y="536601"/>
                  </a:lnTo>
                  <a:lnTo>
                    <a:pt x="889094" y="522609"/>
                  </a:lnTo>
                  <a:lnTo>
                    <a:pt x="936220" y="528048"/>
                  </a:lnTo>
                  <a:lnTo>
                    <a:pt x="910791" y="499210"/>
                  </a:lnTo>
                  <a:close/>
                  <a:moveTo>
                    <a:pt x="1073209" y="464482"/>
                  </a:moveTo>
                  <a:lnTo>
                    <a:pt x="1121305" y="466059"/>
                  </a:lnTo>
                  <a:lnTo>
                    <a:pt x="1165398" y="477021"/>
                  </a:lnTo>
                  <a:lnTo>
                    <a:pt x="1130909" y="516621"/>
                  </a:lnTo>
                  <a:lnTo>
                    <a:pt x="1103386" y="525153"/>
                  </a:lnTo>
                  <a:lnTo>
                    <a:pt x="1078625" y="557636"/>
                  </a:lnTo>
                  <a:lnTo>
                    <a:pt x="1052292" y="556028"/>
                  </a:lnTo>
                  <a:lnTo>
                    <a:pt x="1037891" y="517764"/>
                  </a:lnTo>
                  <a:lnTo>
                    <a:pt x="1038248" y="495768"/>
                  </a:lnTo>
                  <a:lnTo>
                    <a:pt x="1050308" y="476765"/>
                  </a:lnTo>
                  <a:close/>
                  <a:moveTo>
                    <a:pt x="449187" y="450229"/>
                  </a:moveTo>
                  <a:lnTo>
                    <a:pt x="482151" y="459662"/>
                  </a:lnTo>
                  <a:lnTo>
                    <a:pt x="541108" y="462181"/>
                  </a:lnTo>
                  <a:lnTo>
                    <a:pt x="563526" y="475253"/>
                  </a:lnTo>
                  <a:lnTo>
                    <a:pt x="588308" y="494087"/>
                  </a:lnTo>
                  <a:lnTo>
                    <a:pt x="559290" y="505289"/>
                  </a:lnTo>
                  <a:lnTo>
                    <a:pt x="502690" y="536166"/>
                  </a:lnTo>
                  <a:lnTo>
                    <a:pt x="474067" y="566434"/>
                  </a:lnTo>
                  <a:lnTo>
                    <a:pt x="474067" y="585071"/>
                  </a:lnTo>
                  <a:lnTo>
                    <a:pt x="413309" y="605450"/>
                  </a:lnTo>
                  <a:lnTo>
                    <a:pt x="401126" y="586923"/>
                  </a:lnTo>
                  <a:lnTo>
                    <a:pt x="347829" y="564344"/>
                  </a:lnTo>
                  <a:lnTo>
                    <a:pt x="357731" y="546065"/>
                  </a:lnTo>
                  <a:lnTo>
                    <a:pt x="373720" y="514140"/>
                  </a:lnTo>
                  <a:lnTo>
                    <a:pt x="393740" y="484945"/>
                  </a:lnTo>
                  <a:lnTo>
                    <a:pt x="371170" y="457331"/>
                  </a:lnTo>
                  <a:close/>
                  <a:moveTo>
                    <a:pt x="1065196" y="394840"/>
                  </a:moveTo>
                  <a:lnTo>
                    <a:pt x="1085349" y="411219"/>
                  </a:lnTo>
                  <a:lnTo>
                    <a:pt x="1093774" y="425879"/>
                  </a:lnTo>
                  <a:lnTo>
                    <a:pt x="1081213" y="443683"/>
                  </a:lnTo>
                  <a:lnTo>
                    <a:pt x="1047702" y="440274"/>
                  </a:lnTo>
                  <a:lnTo>
                    <a:pt x="1019720" y="428294"/>
                  </a:lnTo>
                  <a:lnTo>
                    <a:pt x="1032008" y="407433"/>
                  </a:lnTo>
                  <a:close/>
                  <a:moveTo>
                    <a:pt x="980963" y="343845"/>
                  </a:moveTo>
                  <a:lnTo>
                    <a:pt x="998608" y="366044"/>
                  </a:lnTo>
                  <a:lnTo>
                    <a:pt x="999327" y="390322"/>
                  </a:lnTo>
                  <a:lnTo>
                    <a:pt x="988811" y="424956"/>
                  </a:lnTo>
                  <a:lnTo>
                    <a:pt x="950754" y="429685"/>
                  </a:lnTo>
                  <a:lnTo>
                    <a:pt x="925942" y="422306"/>
                  </a:lnTo>
                  <a:lnTo>
                    <a:pt x="926420" y="395144"/>
                  </a:lnTo>
                  <a:lnTo>
                    <a:pt x="888584" y="398749"/>
                  </a:lnTo>
                  <a:lnTo>
                    <a:pt x="887120" y="362228"/>
                  </a:lnTo>
                  <a:lnTo>
                    <a:pt x="911952" y="363718"/>
                  </a:lnTo>
                  <a:lnTo>
                    <a:pt x="946720" y="347391"/>
                  </a:lnTo>
                  <a:lnTo>
                    <a:pt x="979186" y="350166"/>
                  </a:lnTo>
                  <a:close/>
                  <a:moveTo>
                    <a:pt x="725181" y="340268"/>
                  </a:moveTo>
                  <a:lnTo>
                    <a:pt x="749015" y="345852"/>
                  </a:lnTo>
                  <a:lnTo>
                    <a:pt x="756798" y="368655"/>
                  </a:lnTo>
                  <a:lnTo>
                    <a:pt x="765846" y="385517"/>
                  </a:lnTo>
                  <a:lnTo>
                    <a:pt x="786401" y="377615"/>
                  </a:lnTo>
                  <a:lnTo>
                    <a:pt x="810590" y="379669"/>
                  </a:lnTo>
                  <a:lnTo>
                    <a:pt x="814653" y="402690"/>
                  </a:lnTo>
                  <a:lnTo>
                    <a:pt x="800607" y="424712"/>
                  </a:lnTo>
                  <a:lnTo>
                    <a:pt x="722437" y="431868"/>
                  </a:lnTo>
                  <a:lnTo>
                    <a:pt x="664198" y="451684"/>
                  </a:lnTo>
                  <a:lnTo>
                    <a:pt x="629095" y="452717"/>
                  </a:lnTo>
                  <a:lnTo>
                    <a:pt x="626151" y="437825"/>
                  </a:lnTo>
                  <a:lnTo>
                    <a:pt x="674097" y="417439"/>
                  </a:lnTo>
                  <a:lnTo>
                    <a:pt x="569810" y="422950"/>
                  </a:lnTo>
                  <a:lnTo>
                    <a:pt x="537535" y="414670"/>
                  </a:lnTo>
                  <a:lnTo>
                    <a:pt x="569029" y="368781"/>
                  </a:lnTo>
                  <a:lnTo>
                    <a:pt x="590753" y="355428"/>
                  </a:lnTo>
                  <a:lnTo>
                    <a:pt x="655715" y="371522"/>
                  </a:lnTo>
                  <a:lnTo>
                    <a:pt x="696718" y="399432"/>
                  </a:lnTo>
                  <a:lnTo>
                    <a:pt x="737046" y="402984"/>
                  </a:lnTo>
                  <a:lnTo>
                    <a:pt x="704034" y="357775"/>
                  </a:lnTo>
                  <a:close/>
                  <a:moveTo>
                    <a:pt x="1021470" y="322456"/>
                  </a:moveTo>
                  <a:lnTo>
                    <a:pt x="1069044" y="325549"/>
                  </a:lnTo>
                  <a:lnTo>
                    <a:pt x="1094670" y="341130"/>
                  </a:lnTo>
                  <a:lnTo>
                    <a:pt x="1140117" y="341023"/>
                  </a:lnTo>
                  <a:lnTo>
                    <a:pt x="1160042" y="356829"/>
                  </a:lnTo>
                  <a:lnTo>
                    <a:pt x="1154783" y="374716"/>
                  </a:lnTo>
                  <a:lnTo>
                    <a:pt x="1181269" y="385410"/>
                  </a:lnTo>
                  <a:lnTo>
                    <a:pt x="1195930" y="396577"/>
                  </a:lnTo>
                  <a:lnTo>
                    <a:pt x="1227064" y="398637"/>
                  </a:lnTo>
                  <a:lnTo>
                    <a:pt x="1260744" y="402554"/>
                  </a:lnTo>
                  <a:lnTo>
                    <a:pt x="1297435" y="392400"/>
                  </a:lnTo>
                  <a:lnTo>
                    <a:pt x="1344436" y="388399"/>
                  </a:lnTo>
                  <a:lnTo>
                    <a:pt x="1381943" y="391706"/>
                  </a:lnTo>
                  <a:lnTo>
                    <a:pt x="1406665" y="409341"/>
                  </a:lnTo>
                  <a:lnTo>
                    <a:pt x="1411826" y="428502"/>
                  </a:lnTo>
                  <a:lnTo>
                    <a:pt x="1397426" y="440711"/>
                  </a:lnTo>
                  <a:lnTo>
                    <a:pt x="1363008" y="450523"/>
                  </a:lnTo>
                  <a:lnTo>
                    <a:pt x="1333461" y="444977"/>
                  </a:lnTo>
                  <a:lnTo>
                    <a:pt x="1267247" y="452000"/>
                  </a:lnTo>
                  <a:lnTo>
                    <a:pt x="1219860" y="452807"/>
                  </a:lnTo>
                  <a:lnTo>
                    <a:pt x="1182596" y="447191"/>
                  </a:lnTo>
                  <a:lnTo>
                    <a:pt x="1121249" y="432431"/>
                  </a:lnTo>
                  <a:lnTo>
                    <a:pt x="1113266" y="407014"/>
                  </a:lnTo>
                  <a:lnTo>
                    <a:pt x="1110459" y="383766"/>
                  </a:lnTo>
                  <a:lnTo>
                    <a:pt x="1087286" y="363056"/>
                  </a:lnTo>
                  <a:lnTo>
                    <a:pt x="1039536" y="357222"/>
                  </a:lnTo>
                  <a:lnTo>
                    <a:pt x="1012785" y="342347"/>
                  </a:lnTo>
                  <a:close/>
                  <a:moveTo>
                    <a:pt x="572432" y="298724"/>
                  </a:moveTo>
                  <a:lnTo>
                    <a:pt x="569265" y="336266"/>
                  </a:lnTo>
                  <a:lnTo>
                    <a:pt x="551485" y="352976"/>
                  </a:lnTo>
                  <a:lnTo>
                    <a:pt x="529918" y="355317"/>
                  </a:lnTo>
                  <a:lnTo>
                    <a:pt x="487009" y="375702"/>
                  </a:lnTo>
                  <a:lnTo>
                    <a:pt x="450061" y="382946"/>
                  </a:lnTo>
                  <a:lnTo>
                    <a:pt x="418786" y="372699"/>
                  </a:lnTo>
                  <a:lnTo>
                    <a:pt x="457966" y="336869"/>
                  </a:lnTo>
                  <a:lnTo>
                    <a:pt x="505369" y="305280"/>
                  </a:lnTo>
                  <a:lnTo>
                    <a:pt x="540773" y="305963"/>
                  </a:lnTo>
                  <a:close/>
                  <a:moveTo>
                    <a:pt x="1028599" y="289355"/>
                  </a:moveTo>
                  <a:lnTo>
                    <a:pt x="1075081" y="290080"/>
                  </a:lnTo>
                  <a:lnTo>
                    <a:pt x="1091283" y="299264"/>
                  </a:lnTo>
                  <a:lnTo>
                    <a:pt x="1088528" y="304897"/>
                  </a:lnTo>
                  <a:lnTo>
                    <a:pt x="1078011" y="306307"/>
                  </a:lnTo>
                  <a:lnTo>
                    <a:pt x="1034753" y="303169"/>
                  </a:lnTo>
                  <a:close/>
                  <a:moveTo>
                    <a:pt x="686325" y="273498"/>
                  </a:moveTo>
                  <a:lnTo>
                    <a:pt x="718872" y="281317"/>
                  </a:lnTo>
                  <a:lnTo>
                    <a:pt x="711197" y="296169"/>
                  </a:lnTo>
                  <a:lnTo>
                    <a:pt x="668165" y="310339"/>
                  </a:lnTo>
                  <a:lnTo>
                    <a:pt x="633931" y="294429"/>
                  </a:lnTo>
                  <a:lnTo>
                    <a:pt x="652621" y="278589"/>
                  </a:lnTo>
                  <a:close/>
                  <a:moveTo>
                    <a:pt x="680888" y="238296"/>
                  </a:moveTo>
                  <a:lnTo>
                    <a:pt x="693268" y="240617"/>
                  </a:lnTo>
                  <a:lnTo>
                    <a:pt x="723288" y="250898"/>
                  </a:lnTo>
                  <a:lnTo>
                    <a:pt x="695169" y="260749"/>
                  </a:lnTo>
                  <a:lnTo>
                    <a:pt x="656834" y="260700"/>
                  </a:lnTo>
                  <a:lnTo>
                    <a:pt x="657208" y="253500"/>
                  </a:lnTo>
                  <a:close/>
                  <a:moveTo>
                    <a:pt x="977916" y="237177"/>
                  </a:moveTo>
                  <a:lnTo>
                    <a:pt x="1007803" y="239214"/>
                  </a:lnTo>
                  <a:lnTo>
                    <a:pt x="1021256" y="242583"/>
                  </a:lnTo>
                  <a:lnTo>
                    <a:pt x="1048843" y="260175"/>
                  </a:lnTo>
                  <a:lnTo>
                    <a:pt x="1042587" y="278295"/>
                  </a:lnTo>
                  <a:lnTo>
                    <a:pt x="1008435" y="288563"/>
                  </a:lnTo>
                  <a:lnTo>
                    <a:pt x="989635" y="277002"/>
                  </a:lnTo>
                  <a:lnTo>
                    <a:pt x="979743" y="258169"/>
                  </a:lnTo>
                  <a:close/>
                  <a:moveTo>
                    <a:pt x="819562" y="215127"/>
                  </a:moveTo>
                  <a:lnTo>
                    <a:pt x="864874" y="222148"/>
                  </a:lnTo>
                  <a:lnTo>
                    <a:pt x="927292" y="240820"/>
                  </a:lnTo>
                  <a:lnTo>
                    <a:pt x="944950" y="264883"/>
                  </a:lnTo>
                  <a:lnTo>
                    <a:pt x="953935" y="285735"/>
                  </a:lnTo>
                  <a:lnTo>
                    <a:pt x="916241" y="280188"/>
                  </a:lnTo>
                  <a:lnTo>
                    <a:pt x="878249" y="263954"/>
                  </a:lnTo>
                  <a:lnTo>
                    <a:pt x="826860" y="262088"/>
                  </a:lnTo>
                  <a:lnTo>
                    <a:pt x="849151" y="247074"/>
                  </a:lnTo>
                  <a:lnTo>
                    <a:pt x="821241" y="234808"/>
                  </a:lnTo>
                  <a:close/>
                  <a:moveTo>
                    <a:pt x="1121540" y="111281"/>
                  </a:moveTo>
                  <a:lnTo>
                    <a:pt x="1151015" y="140220"/>
                  </a:lnTo>
                  <a:lnTo>
                    <a:pt x="1189861" y="151698"/>
                  </a:lnTo>
                  <a:lnTo>
                    <a:pt x="1227717" y="161787"/>
                  </a:lnTo>
                  <a:lnTo>
                    <a:pt x="1245952" y="196531"/>
                  </a:lnTo>
                  <a:lnTo>
                    <a:pt x="1273782" y="213304"/>
                  </a:lnTo>
                  <a:lnTo>
                    <a:pt x="1242084" y="228619"/>
                  </a:lnTo>
                  <a:lnTo>
                    <a:pt x="1199432" y="266768"/>
                  </a:lnTo>
                  <a:lnTo>
                    <a:pt x="1158599" y="270375"/>
                  </a:lnTo>
                  <a:lnTo>
                    <a:pt x="1110764" y="263949"/>
                  </a:lnTo>
                  <a:lnTo>
                    <a:pt x="1085962" y="243337"/>
                  </a:lnTo>
                  <a:lnTo>
                    <a:pt x="1086318" y="224801"/>
                  </a:lnTo>
                  <a:lnTo>
                    <a:pt x="1104565" y="211070"/>
                  </a:lnTo>
                  <a:lnTo>
                    <a:pt x="1062352" y="211464"/>
                  </a:lnTo>
                  <a:lnTo>
                    <a:pt x="1036912" y="194182"/>
                  </a:lnTo>
                  <a:lnTo>
                    <a:pt x="1022288" y="170389"/>
                  </a:lnTo>
                  <a:lnTo>
                    <a:pt x="1038290" y="146722"/>
                  </a:lnTo>
                  <a:lnTo>
                    <a:pt x="1054286" y="130308"/>
                  </a:lnTo>
                  <a:lnTo>
                    <a:pt x="1077946" y="126521"/>
                  </a:lnTo>
                  <a:lnTo>
                    <a:pt x="1067859" y="114062"/>
                  </a:lnTo>
                  <a:close/>
                  <a:moveTo>
                    <a:pt x="1573460" y="0"/>
                  </a:moveTo>
                  <a:lnTo>
                    <a:pt x="1623451" y="3682"/>
                  </a:lnTo>
                  <a:lnTo>
                    <a:pt x="1673443" y="7357"/>
                  </a:lnTo>
                  <a:lnTo>
                    <a:pt x="1735135" y="11882"/>
                  </a:lnTo>
                  <a:lnTo>
                    <a:pt x="1784702" y="19254"/>
                  </a:lnTo>
                  <a:lnTo>
                    <a:pt x="1826943" y="34785"/>
                  </a:lnTo>
                  <a:lnTo>
                    <a:pt x="1825930" y="49933"/>
                  </a:lnTo>
                  <a:lnTo>
                    <a:pt x="1769606" y="74286"/>
                  </a:lnTo>
                  <a:lnTo>
                    <a:pt x="1713759" y="85540"/>
                  </a:lnTo>
                  <a:lnTo>
                    <a:pt x="1692889" y="97902"/>
                  </a:lnTo>
                  <a:lnTo>
                    <a:pt x="1743146" y="97618"/>
                  </a:lnTo>
                  <a:lnTo>
                    <a:pt x="1688678" y="130702"/>
                  </a:lnTo>
                  <a:lnTo>
                    <a:pt x="1651060" y="145945"/>
                  </a:lnTo>
                  <a:lnTo>
                    <a:pt x="1611581" y="189216"/>
                  </a:lnTo>
                  <a:lnTo>
                    <a:pt x="1563967" y="197879"/>
                  </a:lnTo>
                  <a:lnTo>
                    <a:pt x="1549259" y="208478"/>
                  </a:lnTo>
                  <a:lnTo>
                    <a:pt x="1479370" y="214017"/>
                  </a:lnTo>
                  <a:lnTo>
                    <a:pt x="1511190" y="220485"/>
                  </a:lnTo>
                  <a:lnTo>
                    <a:pt x="1495234" y="229656"/>
                  </a:lnTo>
                  <a:lnTo>
                    <a:pt x="1514324" y="254751"/>
                  </a:lnTo>
                  <a:lnTo>
                    <a:pt x="1492393" y="271996"/>
                  </a:lnTo>
                  <a:lnTo>
                    <a:pt x="1456731" y="286114"/>
                  </a:lnTo>
                  <a:lnTo>
                    <a:pt x="1445786" y="305458"/>
                  </a:lnTo>
                  <a:lnTo>
                    <a:pt x="1413544" y="320101"/>
                  </a:lnTo>
                  <a:lnTo>
                    <a:pt x="1416772" y="331112"/>
                  </a:lnTo>
                  <a:lnTo>
                    <a:pt x="1456215" y="329235"/>
                  </a:lnTo>
                  <a:lnTo>
                    <a:pt x="1456717" y="341050"/>
                  </a:lnTo>
                  <a:lnTo>
                    <a:pt x="1395037" y="369775"/>
                  </a:lnTo>
                  <a:lnTo>
                    <a:pt x="1334719" y="356616"/>
                  </a:lnTo>
                  <a:lnTo>
                    <a:pt x="1266915" y="364021"/>
                  </a:lnTo>
                  <a:lnTo>
                    <a:pt x="1232564" y="358245"/>
                  </a:lnTo>
                  <a:lnTo>
                    <a:pt x="1188922" y="355738"/>
                  </a:lnTo>
                  <a:lnTo>
                    <a:pt x="1186027" y="332626"/>
                  </a:lnTo>
                  <a:lnTo>
                    <a:pt x="1228700" y="321630"/>
                  </a:lnTo>
                  <a:lnTo>
                    <a:pt x="1217329" y="286110"/>
                  </a:lnTo>
                  <a:lnTo>
                    <a:pt x="1231410" y="282617"/>
                  </a:lnTo>
                  <a:lnTo>
                    <a:pt x="1293125" y="303976"/>
                  </a:lnTo>
                  <a:lnTo>
                    <a:pt x="1261648" y="272144"/>
                  </a:lnTo>
                  <a:lnTo>
                    <a:pt x="1224210" y="262517"/>
                  </a:lnTo>
                  <a:lnTo>
                    <a:pt x="1242906" y="242946"/>
                  </a:lnTo>
                  <a:lnTo>
                    <a:pt x="1283838" y="230791"/>
                  </a:lnTo>
                  <a:lnTo>
                    <a:pt x="1290387" y="212863"/>
                  </a:lnTo>
                  <a:lnTo>
                    <a:pt x="1257786" y="192551"/>
                  </a:lnTo>
                  <a:lnTo>
                    <a:pt x="1247988" y="165427"/>
                  </a:lnTo>
                  <a:lnTo>
                    <a:pt x="1311081" y="167711"/>
                  </a:lnTo>
                  <a:lnTo>
                    <a:pt x="1329310" y="173442"/>
                  </a:lnTo>
                  <a:lnTo>
                    <a:pt x="1365330" y="154096"/>
                  </a:lnTo>
                  <a:lnTo>
                    <a:pt x="1313354" y="147918"/>
                  </a:lnTo>
                  <a:lnTo>
                    <a:pt x="1232588" y="151327"/>
                  </a:lnTo>
                  <a:lnTo>
                    <a:pt x="1191785" y="133096"/>
                  </a:lnTo>
                  <a:lnTo>
                    <a:pt x="1172549" y="111139"/>
                  </a:lnTo>
                  <a:lnTo>
                    <a:pt x="1145592" y="95055"/>
                  </a:lnTo>
                  <a:lnTo>
                    <a:pt x="1140533" y="76151"/>
                  </a:lnTo>
                  <a:lnTo>
                    <a:pt x="1174858" y="65498"/>
                  </a:lnTo>
                  <a:lnTo>
                    <a:pt x="1201812" y="63676"/>
                  </a:lnTo>
                  <a:lnTo>
                    <a:pt x="1247101" y="54563"/>
                  </a:lnTo>
                  <a:lnTo>
                    <a:pt x="1281038" y="33436"/>
                  </a:lnTo>
                  <a:lnTo>
                    <a:pt x="1309660" y="36414"/>
                  </a:lnTo>
                  <a:lnTo>
                    <a:pt x="1334590" y="52285"/>
                  </a:lnTo>
                  <a:lnTo>
                    <a:pt x="1352132" y="21552"/>
                  </a:lnTo>
                  <a:lnTo>
                    <a:pt x="1382601" y="12345"/>
                  </a:lnTo>
                  <a:lnTo>
                    <a:pt x="1423997" y="5954"/>
                  </a:lnTo>
                  <a:lnTo>
                    <a:pt x="1494553" y="3550"/>
                  </a:lnTo>
                  <a:lnTo>
                    <a:pt x="1506814" y="98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5" name="Freeform 9">
              <a:extLst>
                <a:ext uri="{FF2B5EF4-FFF2-40B4-BE49-F238E27FC236}">
                  <a16:creationId xmlns:a16="http://schemas.microsoft.com/office/drawing/2014/main" id="{FD72C1DD-B8AC-403B-8E0E-E3E3533D8DE8}"/>
                </a:ext>
              </a:extLst>
            </p:cNvPr>
            <p:cNvSpPr>
              <a:spLocks noChangeAspect="1"/>
            </p:cNvSpPr>
            <p:nvPr>
              <p:custDataLst>
                <p:tags r:id="rId15"/>
              </p:custDataLst>
            </p:nvPr>
          </p:nvSpPr>
          <p:spPr>
            <a:xfrm>
              <a:off x="2614611" y="4937902"/>
              <a:ext cx="200460" cy="1026393"/>
            </a:xfrm>
            <a:custGeom>
              <a:avLst/>
              <a:gdLst/>
              <a:ahLst/>
              <a:cxnLst/>
              <a:rect l="l" t="t" r="r" b="b"/>
              <a:pathLst>
                <a:path w="200460" h="1026393">
                  <a:moveTo>
                    <a:pt x="145391" y="928332"/>
                  </a:moveTo>
                  <a:lnTo>
                    <a:pt x="161818" y="932003"/>
                  </a:lnTo>
                  <a:lnTo>
                    <a:pt x="161833" y="1002494"/>
                  </a:lnTo>
                  <a:lnTo>
                    <a:pt x="186552" y="1002511"/>
                  </a:lnTo>
                  <a:lnTo>
                    <a:pt x="200460" y="1003369"/>
                  </a:lnTo>
                  <a:lnTo>
                    <a:pt x="192817" y="1016364"/>
                  </a:lnTo>
                  <a:lnTo>
                    <a:pt x="173022" y="1026393"/>
                  </a:lnTo>
                  <a:lnTo>
                    <a:pt x="161680" y="1025364"/>
                  </a:lnTo>
                  <a:lnTo>
                    <a:pt x="148012" y="1022747"/>
                  </a:lnTo>
                  <a:lnTo>
                    <a:pt x="131255" y="1013055"/>
                  </a:lnTo>
                  <a:lnTo>
                    <a:pt x="107073" y="1008406"/>
                  </a:lnTo>
                  <a:lnTo>
                    <a:pt x="78030" y="990533"/>
                  </a:lnTo>
                  <a:lnTo>
                    <a:pt x="54456" y="973458"/>
                  </a:lnTo>
                  <a:lnTo>
                    <a:pt x="22664" y="938269"/>
                  </a:lnTo>
                  <a:lnTo>
                    <a:pt x="41694" y="944826"/>
                  </a:lnTo>
                  <a:lnTo>
                    <a:pt x="74100" y="965808"/>
                  </a:lnTo>
                  <a:lnTo>
                    <a:pt x="104718" y="977158"/>
                  </a:lnTo>
                  <a:lnTo>
                    <a:pt x="116627" y="962669"/>
                  </a:lnTo>
                  <a:lnTo>
                    <a:pt x="124113" y="941194"/>
                  </a:lnTo>
                  <a:close/>
                  <a:moveTo>
                    <a:pt x="139741" y="0"/>
                  </a:moveTo>
                  <a:lnTo>
                    <a:pt x="151056" y="16203"/>
                  </a:lnTo>
                  <a:lnTo>
                    <a:pt x="154136" y="33438"/>
                  </a:lnTo>
                  <a:lnTo>
                    <a:pt x="166245" y="43573"/>
                  </a:lnTo>
                  <a:lnTo>
                    <a:pt x="158975" y="66797"/>
                  </a:lnTo>
                  <a:lnTo>
                    <a:pt x="171376" y="93836"/>
                  </a:lnTo>
                  <a:lnTo>
                    <a:pt x="180419" y="127248"/>
                  </a:lnTo>
                  <a:lnTo>
                    <a:pt x="197073" y="123918"/>
                  </a:lnTo>
                  <a:lnTo>
                    <a:pt x="199876" y="130006"/>
                  </a:lnTo>
                  <a:lnTo>
                    <a:pt x="191954" y="155341"/>
                  </a:lnTo>
                  <a:lnTo>
                    <a:pt x="166812" y="167413"/>
                  </a:lnTo>
                  <a:lnTo>
                    <a:pt x="167543" y="208423"/>
                  </a:lnTo>
                  <a:lnTo>
                    <a:pt x="162723" y="216386"/>
                  </a:lnTo>
                  <a:lnTo>
                    <a:pt x="169631" y="226112"/>
                  </a:lnTo>
                  <a:lnTo>
                    <a:pt x="153341" y="241569"/>
                  </a:lnTo>
                  <a:lnTo>
                    <a:pt x="138225" y="264985"/>
                  </a:lnTo>
                  <a:lnTo>
                    <a:pt x="129974" y="287796"/>
                  </a:lnTo>
                  <a:lnTo>
                    <a:pt x="132157" y="312243"/>
                  </a:lnTo>
                  <a:lnTo>
                    <a:pt x="117936" y="338375"/>
                  </a:lnTo>
                  <a:lnTo>
                    <a:pt x="128570" y="382627"/>
                  </a:lnTo>
                  <a:lnTo>
                    <a:pt x="134563" y="387340"/>
                  </a:lnTo>
                  <a:lnTo>
                    <a:pt x="134504" y="411163"/>
                  </a:lnTo>
                  <a:lnTo>
                    <a:pt x="121330" y="436622"/>
                  </a:lnTo>
                  <a:lnTo>
                    <a:pt x="121867" y="458559"/>
                  </a:lnTo>
                  <a:lnTo>
                    <a:pt x="104391" y="475804"/>
                  </a:lnTo>
                  <a:lnTo>
                    <a:pt x="104466" y="500216"/>
                  </a:lnTo>
                  <a:lnTo>
                    <a:pt x="111482" y="526354"/>
                  </a:lnTo>
                  <a:lnTo>
                    <a:pt x="97659" y="536129"/>
                  </a:lnTo>
                  <a:lnTo>
                    <a:pt x="91491" y="560279"/>
                  </a:lnTo>
                  <a:lnTo>
                    <a:pt x="86067" y="588234"/>
                  </a:lnTo>
                  <a:lnTo>
                    <a:pt x="89966" y="621845"/>
                  </a:lnTo>
                  <a:lnTo>
                    <a:pt x="80685" y="627493"/>
                  </a:lnTo>
                  <a:lnTo>
                    <a:pt x="86074" y="659716"/>
                  </a:lnTo>
                  <a:lnTo>
                    <a:pt x="96493" y="670382"/>
                  </a:lnTo>
                  <a:lnTo>
                    <a:pt x="88885" y="682233"/>
                  </a:lnTo>
                  <a:lnTo>
                    <a:pt x="99592" y="687910"/>
                  </a:lnTo>
                  <a:lnTo>
                    <a:pt x="102062" y="698615"/>
                  </a:lnTo>
                  <a:lnTo>
                    <a:pt x="91986" y="704013"/>
                  </a:lnTo>
                  <a:lnTo>
                    <a:pt x="94463" y="720808"/>
                  </a:lnTo>
                  <a:lnTo>
                    <a:pt x="86032" y="759069"/>
                  </a:lnTo>
                  <a:lnTo>
                    <a:pt x="73796" y="784025"/>
                  </a:lnTo>
                  <a:lnTo>
                    <a:pt x="76478" y="798918"/>
                  </a:lnTo>
                  <a:lnTo>
                    <a:pt x="69158" y="817721"/>
                  </a:lnTo>
                  <a:lnTo>
                    <a:pt x="51450" y="830836"/>
                  </a:lnTo>
                  <a:lnTo>
                    <a:pt x="53467" y="862731"/>
                  </a:lnTo>
                  <a:lnTo>
                    <a:pt x="61599" y="873731"/>
                  </a:lnTo>
                  <a:lnTo>
                    <a:pt x="76967" y="871773"/>
                  </a:lnTo>
                  <a:lnTo>
                    <a:pt x="76518" y="894625"/>
                  </a:lnTo>
                  <a:lnTo>
                    <a:pt x="86088" y="912560"/>
                  </a:lnTo>
                  <a:lnTo>
                    <a:pt x="141866" y="916692"/>
                  </a:lnTo>
                  <a:lnTo>
                    <a:pt x="163260" y="921542"/>
                  </a:lnTo>
                  <a:lnTo>
                    <a:pt x="142722" y="921310"/>
                  </a:lnTo>
                  <a:lnTo>
                    <a:pt x="131608" y="928942"/>
                  </a:lnTo>
                  <a:lnTo>
                    <a:pt x="110780" y="940194"/>
                  </a:lnTo>
                  <a:lnTo>
                    <a:pt x="107058" y="969529"/>
                  </a:lnTo>
                  <a:lnTo>
                    <a:pt x="97284" y="970262"/>
                  </a:lnTo>
                  <a:lnTo>
                    <a:pt x="71243" y="960010"/>
                  </a:lnTo>
                  <a:lnTo>
                    <a:pt x="44818" y="938193"/>
                  </a:lnTo>
                  <a:lnTo>
                    <a:pt x="16103" y="920406"/>
                  </a:lnTo>
                  <a:lnTo>
                    <a:pt x="8872" y="900867"/>
                  </a:lnTo>
                  <a:lnTo>
                    <a:pt x="15413" y="882926"/>
                  </a:lnTo>
                  <a:lnTo>
                    <a:pt x="3800" y="862718"/>
                  </a:lnTo>
                  <a:lnTo>
                    <a:pt x="839" y="811635"/>
                  </a:lnTo>
                  <a:lnTo>
                    <a:pt x="10655" y="783243"/>
                  </a:lnTo>
                  <a:lnTo>
                    <a:pt x="35035" y="760652"/>
                  </a:lnTo>
                  <a:lnTo>
                    <a:pt x="0" y="752175"/>
                  </a:lnTo>
                  <a:lnTo>
                    <a:pt x="21980" y="726647"/>
                  </a:lnTo>
                  <a:lnTo>
                    <a:pt x="29838" y="679287"/>
                  </a:lnTo>
                  <a:lnTo>
                    <a:pt x="55491" y="689256"/>
                  </a:lnTo>
                  <a:lnTo>
                    <a:pt x="67553" y="631064"/>
                  </a:lnTo>
                  <a:lnTo>
                    <a:pt x="52062" y="623680"/>
                  </a:lnTo>
                  <a:lnTo>
                    <a:pt x="44850" y="658515"/>
                  </a:lnTo>
                  <a:lnTo>
                    <a:pt x="30294" y="654564"/>
                  </a:lnTo>
                  <a:lnTo>
                    <a:pt x="37542" y="614740"/>
                  </a:lnTo>
                  <a:lnTo>
                    <a:pt x="45410" y="563924"/>
                  </a:lnTo>
                  <a:lnTo>
                    <a:pt x="56016" y="545383"/>
                  </a:lnTo>
                  <a:lnTo>
                    <a:pt x="49369" y="519101"/>
                  </a:lnTo>
                  <a:lnTo>
                    <a:pt x="47465" y="489019"/>
                  </a:lnTo>
                  <a:lnTo>
                    <a:pt x="57191" y="488155"/>
                  </a:lnTo>
                  <a:lnTo>
                    <a:pt x="71354" y="445511"/>
                  </a:lnTo>
                  <a:lnTo>
                    <a:pt x="87313" y="403778"/>
                  </a:lnTo>
                  <a:lnTo>
                    <a:pt x="97084" y="365330"/>
                  </a:lnTo>
                  <a:lnTo>
                    <a:pt x="91769" y="327065"/>
                  </a:lnTo>
                  <a:lnTo>
                    <a:pt x="98662" y="306154"/>
                  </a:lnTo>
                  <a:lnTo>
                    <a:pt x="95897" y="275067"/>
                  </a:lnTo>
                  <a:lnTo>
                    <a:pt x="109394" y="244537"/>
                  </a:lnTo>
                  <a:lnTo>
                    <a:pt x="113553" y="196597"/>
                  </a:lnTo>
                  <a:lnTo>
                    <a:pt x="120962" y="145662"/>
                  </a:lnTo>
                  <a:lnTo>
                    <a:pt x="128181" y="91395"/>
                  </a:lnTo>
                  <a:lnTo>
                    <a:pt x="126492" y="51997"/>
                  </a:lnTo>
                  <a:lnTo>
                    <a:pt x="121687" y="18299"/>
                  </a:lnTo>
                  <a:lnTo>
                    <a:pt x="133555" y="12211"/>
                  </a:lnTo>
                  <a:close/>
                </a:path>
              </a:pathLst>
            </a:custGeom>
            <a:solidFill>
              <a:schemeClr val="accent3"/>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6" name="Freeform 10">
              <a:extLst>
                <a:ext uri="{FF2B5EF4-FFF2-40B4-BE49-F238E27FC236}">
                  <a16:creationId xmlns:a16="http://schemas.microsoft.com/office/drawing/2014/main" id="{223E3F9C-876E-4F3E-B18E-528960B07021}"/>
                </a:ext>
              </a:extLst>
            </p:cNvPr>
            <p:cNvSpPr>
              <a:spLocks noChangeAspect="1"/>
            </p:cNvSpPr>
            <p:nvPr>
              <p:custDataLst>
                <p:tags r:id="rId16"/>
              </p:custDataLst>
            </p:nvPr>
          </p:nvSpPr>
          <p:spPr>
            <a:xfrm>
              <a:off x="2537364" y="4239430"/>
              <a:ext cx="279639" cy="387815"/>
            </a:xfrm>
            <a:custGeom>
              <a:avLst/>
              <a:gdLst/>
              <a:ahLst/>
              <a:cxnLst/>
              <a:rect l="0" t="0" r="0" b="0"/>
              <a:pathLst>
                <a:path w="279639" h="387815">
                  <a:moveTo>
                    <a:pt x="83507" y="292050"/>
                  </a:moveTo>
                  <a:lnTo>
                    <a:pt x="73622" y="286583"/>
                  </a:lnTo>
                  <a:lnTo>
                    <a:pt x="62292" y="278937"/>
                  </a:lnTo>
                  <a:lnTo>
                    <a:pt x="55735" y="282610"/>
                  </a:lnTo>
                  <a:lnTo>
                    <a:pt x="36147" y="279407"/>
                  </a:lnTo>
                  <a:lnTo>
                    <a:pt x="30523" y="269476"/>
                  </a:lnTo>
                  <a:lnTo>
                    <a:pt x="26219" y="269845"/>
                  </a:lnTo>
                  <a:lnTo>
                    <a:pt x="3132" y="256663"/>
                  </a:lnTo>
                  <a:lnTo>
                    <a:pt x="0" y="249496"/>
                  </a:lnTo>
                  <a:lnTo>
                    <a:pt x="8613" y="247763"/>
                  </a:lnTo>
                  <a:lnTo>
                    <a:pt x="7590" y="236195"/>
                  </a:lnTo>
                  <a:lnTo>
                    <a:pt x="13003" y="227830"/>
                  </a:lnTo>
                  <a:lnTo>
                    <a:pt x="24454" y="226281"/>
                  </a:lnTo>
                  <a:lnTo>
                    <a:pt x="34174" y="211763"/>
                  </a:lnTo>
                  <a:lnTo>
                    <a:pt x="43009" y="199638"/>
                  </a:lnTo>
                  <a:lnTo>
                    <a:pt x="34501" y="194137"/>
                  </a:lnTo>
                  <a:lnTo>
                    <a:pt x="38856" y="180715"/>
                  </a:lnTo>
                  <a:lnTo>
                    <a:pt x="33648" y="159544"/>
                  </a:lnTo>
                  <a:lnTo>
                    <a:pt x="38597" y="153464"/>
                  </a:lnTo>
                  <a:lnTo>
                    <a:pt x="34954" y="133867"/>
                  </a:lnTo>
                  <a:lnTo>
                    <a:pt x="25607" y="121513"/>
                  </a:lnTo>
                  <a:lnTo>
                    <a:pt x="28566" y="110232"/>
                  </a:lnTo>
                  <a:lnTo>
                    <a:pt x="36005" y="111899"/>
                  </a:lnTo>
                  <a:lnTo>
                    <a:pt x="40357" y="104997"/>
                  </a:lnTo>
                  <a:lnTo>
                    <a:pt x="34998" y="91311"/>
                  </a:lnTo>
                  <a:lnTo>
                    <a:pt x="37800" y="87911"/>
                  </a:lnTo>
                  <a:lnTo>
                    <a:pt x="49726" y="88650"/>
                  </a:lnTo>
                  <a:lnTo>
                    <a:pt x="67045" y="72409"/>
                  </a:lnTo>
                  <a:lnTo>
                    <a:pt x="76550" y="69931"/>
                  </a:lnTo>
                  <a:lnTo>
                    <a:pt x="76779" y="62227"/>
                  </a:lnTo>
                  <a:lnTo>
                    <a:pt x="81032" y="42523"/>
                  </a:lnTo>
                  <a:lnTo>
                    <a:pt x="94271" y="31687"/>
                  </a:lnTo>
                  <a:lnTo>
                    <a:pt x="108816" y="31243"/>
                  </a:lnTo>
                  <a:lnTo>
                    <a:pt x="110652" y="26372"/>
                  </a:lnTo>
                  <a:lnTo>
                    <a:pt x="128713" y="28323"/>
                  </a:lnTo>
                  <a:lnTo>
                    <a:pt x="146878" y="16516"/>
                  </a:lnTo>
                  <a:lnTo>
                    <a:pt x="155872" y="11284"/>
                  </a:lnTo>
                  <a:lnTo>
                    <a:pt x="167046" y="0"/>
                  </a:lnTo>
                  <a:lnTo>
                    <a:pt x="175223" y="1436"/>
                  </a:lnTo>
                  <a:lnTo>
                    <a:pt x="181280" y="7598"/>
                  </a:lnTo>
                  <a:lnTo>
                    <a:pt x="176799" y="15479"/>
                  </a:lnTo>
                  <a:lnTo>
                    <a:pt x="161972" y="19400"/>
                  </a:lnTo>
                  <a:lnTo>
                    <a:pt x="156117" y="31088"/>
                  </a:lnTo>
                  <a:lnTo>
                    <a:pt x="147182" y="37785"/>
                  </a:lnTo>
                  <a:lnTo>
                    <a:pt x="140473" y="46458"/>
                  </a:lnTo>
                  <a:lnTo>
                    <a:pt x="137650" y="63094"/>
                  </a:lnTo>
                  <a:lnTo>
                    <a:pt x="131248" y="76711"/>
                  </a:lnTo>
                  <a:lnTo>
                    <a:pt x="143164" y="78269"/>
                  </a:lnTo>
                  <a:lnTo>
                    <a:pt x="146124" y="88963"/>
                  </a:lnTo>
                  <a:lnTo>
                    <a:pt x="151216" y="94078"/>
                  </a:lnTo>
                  <a:lnTo>
                    <a:pt x="153039" y="103433"/>
                  </a:lnTo>
                  <a:lnTo>
                    <a:pt x="150298" y="112028"/>
                  </a:lnTo>
                  <a:lnTo>
                    <a:pt x="151110" y="116872"/>
                  </a:lnTo>
                  <a:lnTo>
                    <a:pt x="156791" y="118806"/>
                  </a:lnTo>
                  <a:lnTo>
                    <a:pt x="162289" y="126898"/>
                  </a:lnTo>
                  <a:lnTo>
                    <a:pt x="191972" y="124668"/>
                  </a:lnTo>
                  <a:lnTo>
                    <a:pt x="205381" y="127623"/>
                  </a:lnTo>
                  <a:lnTo>
                    <a:pt x="221627" y="147569"/>
                  </a:lnTo>
                  <a:lnTo>
                    <a:pt x="230957" y="145091"/>
                  </a:lnTo>
                  <a:lnTo>
                    <a:pt x="247582" y="146332"/>
                  </a:lnTo>
                  <a:lnTo>
                    <a:pt x="260739" y="143689"/>
                  </a:lnTo>
                  <a:lnTo>
                    <a:pt x="268902" y="147671"/>
                  </a:lnTo>
                  <a:lnTo>
                    <a:pt x="264745" y="160144"/>
                  </a:lnTo>
                  <a:lnTo>
                    <a:pt x="259594" y="167916"/>
                  </a:lnTo>
                  <a:lnTo>
                    <a:pt x="257786" y="184509"/>
                  </a:lnTo>
                  <a:lnTo>
                    <a:pt x="262429" y="199873"/>
                  </a:lnTo>
                  <a:lnTo>
                    <a:pt x="268991" y="206740"/>
                  </a:lnTo>
                  <a:lnTo>
                    <a:pt x="269785" y="211914"/>
                  </a:lnTo>
                  <a:lnTo>
                    <a:pt x="258088" y="223415"/>
                  </a:lnTo>
                  <a:lnTo>
                    <a:pt x="266463" y="228506"/>
                  </a:lnTo>
                  <a:lnTo>
                    <a:pt x="272598" y="236581"/>
                  </a:lnTo>
                  <a:lnTo>
                    <a:pt x="279638" y="259608"/>
                  </a:lnTo>
                  <a:lnTo>
                    <a:pt x="275282" y="262453"/>
                  </a:lnTo>
                  <a:lnTo>
                    <a:pt x="270782" y="248834"/>
                  </a:lnTo>
                  <a:lnTo>
                    <a:pt x="264369" y="241511"/>
                  </a:lnTo>
                  <a:lnTo>
                    <a:pt x="256734" y="249470"/>
                  </a:lnTo>
                  <a:lnTo>
                    <a:pt x="211760" y="248955"/>
                  </a:lnTo>
                  <a:lnTo>
                    <a:pt x="212046" y="263401"/>
                  </a:lnTo>
                  <a:lnTo>
                    <a:pt x="225571" y="265788"/>
                  </a:lnTo>
                  <a:lnTo>
                    <a:pt x="224791" y="274630"/>
                  </a:lnTo>
                  <a:lnTo>
                    <a:pt x="220175" y="272240"/>
                  </a:lnTo>
                  <a:lnTo>
                    <a:pt x="207176" y="276043"/>
                  </a:lnTo>
                  <a:lnTo>
                    <a:pt x="207058" y="292815"/>
                  </a:lnTo>
                  <a:lnTo>
                    <a:pt x="217298" y="301236"/>
                  </a:lnTo>
                  <a:lnTo>
                    <a:pt x="220912" y="314455"/>
                  </a:lnTo>
                  <a:lnTo>
                    <a:pt x="220367" y="324467"/>
                  </a:lnTo>
                  <a:lnTo>
                    <a:pt x="209990" y="387814"/>
                  </a:lnTo>
                  <a:lnTo>
                    <a:pt x="198440" y="375524"/>
                  </a:lnTo>
                  <a:lnTo>
                    <a:pt x="191546" y="374976"/>
                  </a:lnTo>
                  <a:lnTo>
                    <a:pt x="206434" y="351460"/>
                  </a:lnTo>
                  <a:lnTo>
                    <a:pt x="188758" y="340644"/>
                  </a:lnTo>
                  <a:lnTo>
                    <a:pt x="174905" y="342628"/>
                  </a:lnTo>
                  <a:lnTo>
                    <a:pt x="166569" y="338633"/>
                  </a:lnTo>
                  <a:lnTo>
                    <a:pt x="153850" y="344740"/>
                  </a:lnTo>
                  <a:lnTo>
                    <a:pt x="136662" y="341847"/>
                  </a:lnTo>
                  <a:lnTo>
                    <a:pt x="123064" y="317638"/>
                  </a:lnTo>
                  <a:lnTo>
                    <a:pt x="112379" y="311689"/>
                  </a:lnTo>
                  <a:lnTo>
                    <a:pt x="105011" y="300793"/>
                  </a:lnTo>
                  <a:lnTo>
                    <a:pt x="89661" y="2898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7" name="Freeform 11">
              <a:extLst>
                <a:ext uri="{FF2B5EF4-FFF2-40B4-BE49-F238E27FC236}">
                  <a16:creationId xmlns:a16="http://schemas.microsoft.com/office/drawing/2014/main" id="{2062E834-37CC-49E0-B08E-86CD41BB48A4}"/>
                </a:ext>
              </a:extLst>
            </p:cNvPr>
            <p:cNvSpPr>
              <a:spLocks noChangeAspect="1"/>
            </p:cNvSpPr>
            <p:nvPr>
              <p:custDataLst>
                <p:tags r:id="rId17"/>
              </p:custDataLst>
            </p:nvPr>
          </p:nvSpPr>
          <p:spPr>
            <a:xfrm>
              <a:off x="2376921" y="4267984"/>
              <a:ext cx="78379" cy="69713"/>
            </a:xfrm>
            <a:custGeom>
              <a:avLst/>
              <a:gdLst/>
              <a:ahLst/>
              <a:cxnLst/>
              <a:rect l="0" t="0" r="0" b="0"/>
              <a:pathLst>
                <a:path w="78379" h="69713">
                  <a:moveTo>
                    <a:pt x="68693" y="69712"/>
                  </a:moveTo>
                  <a:lnTo>
                    <a:pt x="56167" y="64555"/>
                  </a:lnTo>
                  <a:lnTo>
                    <a:pt x="51481" y="59675"/>
                  </a:lnTo>
                  <a:lnTo>
                    <a:pt x="54139" y="55638"/>
                  </a:lnTo>
                  <a:lnTo>
                    <a:pt x="53300" y="50498"/>
                  </a:lnTo>
                  <a:lnTo>
                    <a:pt x="46901" y="44926"/>
                  </a:lnTo>
                  <a:lnTo>
                    <a:pt x="37817" y="40350"/>
                  </a:lnTo>
                  <a:lnTo>
                    <a:pt x="29871" y="37364"/>
                  </a:lnTo>
                  <a:lnTo>
                    <a:pt x="28355" y="30549"/>
                  </a:lnTo>
                  <a:lnTo>
                    <a:pt x="22300" y="26384"/>
                  </a:lnTo>
                  <a:lnTo>
                    <a:pt x="23784" y="33160"/>
                  </a:lnTo>
                  <a:lnTo>
                    <a:pt x="19178" y="38727"/>
                  </a:lnTo>
                  <a:lnTo>
                    <a:pt x="13902" y="32262"/>
                  </a:lnTo>
                  <a:lnTo>
                    <a:pt x="6485" y="29960"/>
                  </a:lnTo>
                  <a:lnTo>
                    <a:pt x="3331" y="25262"/>
                  </a:lnTo>
                  <a:lnTo>
                    <a:pt x="3463" y="18161"/>
                  </a:lnTo>
                  <a:lnTo>
                    <a:pt x="6519" y="10810"/>
                  </a:lnTo>
                  <a:lnTo>
                    <a:pt x="0" y="7519"/>
                  </a:lnTo>
                  <a:lnTo>
                    <a:pt x="5291" y="3007"/>
                  </a:lnTo>
                  <a:lnTo>
                    <a:pt x="8769" y="0"/>
                  </a:lnTo>
                  <a:lnTo>
                    <a:pt x="23977" y="6187"/>
                  </a:lnTo>
                  <a:lnTo>
                    <a:pt x="29284" y="3142"/>
                  </a:lnTo>
                  <a:lnTo>
                    <a:pt x="36605" y="5091"/>
                  </a:lnTo>
                  <a:lnTo>
                    <a:pt x="40431" y="9896"/>
                  </a:lnTo>
                  <a:lnTo>
                    <a:pt x="47243" y="11451"/>
                  </a:lnTo>
                  <a:lnTo>
                    <a:pt x="52770" y="6503"/>
                  </a:lnTo>
                  <a:lnTo>
                    <a:pt x="58617" y="19185"/>
                  </a:lnTo>
                  <a:lnTo>
                    <a:pt x="67541" y="28570"/>
                  </a:lnTo>
                  <a:lnTo>
                    <a:pt x="78378" y="38515"/>
                  </a:lnTo>
                  <a:lnTo>
                    <a:pt x="69452" y="40595"/>
                  </a:lnTo>
                  <a:lnTo>
                    <a:pt x="69585" y="49964"/>
                  </a:lnTo>
                  <a:lnTo>
                    <a:pt x="74385" y="53422"/>
                  </a:lnTo>
                  <a:lnTo>
                    <a:pt x="70935" y="56177"/>
                  </a:lnTo>
                  <a:lnTo>
                    <a:pt x="71833" y="60386"/>
                  </a:lnTo>
                  <a:lnTo>
                    <a:pt x="69908" y="6510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8" name="Freeform 12">
              <a:extLst>
                <a:ext uri="{FF2B5EF4-FFF2-40B4-BE49-F238E27FC236}">
                  <a16:creationId xmlns:a16="http://schemas.microsoft.com/office/drawing/2014/main" id="{883BF7AE-B44D-4DDB-B462-ABCEF7FEFFFE}"/>
                </a:ext>
              </a:extLst>
            </p:cNvPr>
            <p:cNvSpPr>
              <a:spLocks noChangeAspect="1"/>
            </p:cNvSpPr>
            <p:nvPr>
              <p:custDataLst>
                <p:tags r:id="rId18"/>
              </p:custDataLst>
            </p:nvPr>
          </p:nvSpPr>
          <p:spPr>
            <a:xfrm>
              <a:off x="2399238" y="3983111"/>
              <a:ext cx="249222" cy="80557"/>
            </a:xfrm>
            <a:custGeom>
              <a:avLst/>
              <a:gdLst/>
              <a:ahLst/>
              <a:cxnLst/>
              <a:rect l="0" t="0" r="0" b="0"/>
              <a:pathLst>
                <a:path w="249222" h="80557">
                  <a:moveTo>
                    <a:pt x="62479" y="0"/>
                  </a:moveTo>
                  <a:lnTo>
                    <a:pt x="82416" y="1736"/>
                  </a:lnTo>
                  <a:lnTo>
                    <a:pt x="100552" y="2011"/>
                  </a:lnTo>
                  <a:lnTo>
                    <a:pt x="122232" y="10296"/>
                  </a:lnTo>
                  <a:lnTo>
                    <a:pt x="131420" y="19185"/>
                  </a:lnTo>
                  <a:lnTo>
                    <a:pt x="152980" y="16444"/>
                  </a:lnTo>
                  <a:lnTo>
                    <a:pt x="161155" y="22144"/>
                  </a:lnTo>
                  <a:lnTo>
                    <a:pt x="180703" y="37140"/>
                  </a:lnTo>
                  <a:lnTo>
                    <a:pt x="195074" y="48036"/>
                  </a:lnTo>
                  <a:lnTo>
                    <a:pt x="202673" y="47704"/>
                  </a:lnTo>
                  <a:lnTo>
                    <a:pt x="216439" y="52624"/>
                  </a:lnTo>
                  <a:lnTo>
                    <a:pt x="214758" y="59408"/>
                  </a:lnTo>
                  <a:lnTo>
                    <a:pt x="231774" y="60400"/>
                  </a:lnTo>
                  <a:lnTo>
                    <a:pt x="249221" y="70248"/>
                  </a:lnTo>
                  <a:lnTo>
                    <a:pt x="246483" y="75877"/>
                  </a:lnTo>
                  <a:lnTo>
                    <a:pt x="231134" y="78924"/>
                  </a:lnTo>
                  <a:lnTo>
                    <a:pt x="215598" y="80117"/>
                  </a:lnTo>
                  <a:lnTo>
                    <a:pt x="199694" y="78217"/>
                  </a:lnTo>
                  <a:lnTo>
                    <a:pt x="166644" y="80556"/>
                  </a:lnTo>
                  <a:lnTo>
                    <a:pt x="182118" y="67152"/>
                  </a:lnTo>
                  <a:lnTo>
                    <a:pt x="172711" y="60901"/>
                  </a:lnTo>
                  <a:lnTo>
                    <a:pt x="157831" y="59291"/>
                  </a:lnTo>
                  <a:lnTo>
                    <a:pt x="149855" y="52335"/>
                  </a:lnTo>
                  <a:lnTo>
                    <a:pt x="144383" y="38584"/>
                  </a:lnTo>
                  <a:lnTo>
                    <a:pt x="131338" y="39526"/>
                  </a:lnTo>
                  <a:lnTo>
                    <a:pt x="109814" y="33041"/>
                  </a:lnTo>
                  <a:lnTo>
                    <a:pt x="102888" y="27963"/>
                  </a:lnTo>
                  <a:lnTo>
                    <a:pt x="72802" y="24208"/>
                  </a:lnTo>
                  <a:lnTo>
                    <a:pt x="64745" y="19478"/>
                  </a:lnTo>
                  <a:lnTo>
                    <a:pt x="73401" y="13414"/>
                  </a:lnTo>
                  <a:lnTo>
                    <a:pt x="50759" y="12171"/>
                  </a:lnTo>
                  <a:lnTo>
                    <a:pt x="34173" y="24778"/>
                  </a:lnTo>
                  <a:lnTo>
                    <a:pt x="24609" y="25116"/>
                  </a:lnTo>
                  <a:lnTo>
                    <a:pt x="21300" y="31026"/>
                  </a:lnTo>
                  <a:lnTo>
                    <a:pt x="9877" y="33672"/>
                  </a:lnTo>
                  <a:lnTo>
                    <a:pt x="0" y="31378"/>
                  </a:lnTo>
                  <a:lnTo>
                    <a:pt x="12184" y="23896"/>
                  </a:lnTo>
                  <a:lnTo>
                    <a:pt x="17186" y="15143"/>
                  </a:lnTo>
                  <a:lnTo>
                    <a:pt x="27623" y="9742"/>
                  </a:lnTo>
                  <a:lnTo>
                    <a:pt x="39411" y="5003"/>
                  </a:lnTo>
                  <a:lnTo>
                    <a:pt x="56887" y="26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9" name="Freeform 13">
              <a:extLst>
                <a:ext uri="{FF2B5EF4-FFF2-40B4-BE49-F238E27FC236}">
                  <a16:creationId xmlns:a16="http://schemas.microsoft.com/office/drawing/2014/main" id="{8ABA9AC3-7FA1-4045-8874-05D4C74ABA1E}"/>
                </a:ext>
              </a:extLst>
            </p:cNvPr>
            <p:cNvSpPr>
              <a:spLocks noChangeAspect="1"/>
            </p:cNvSpPr>
            <p:nvPr>
              <p:custDataLst>
                <p:tags r:id="rId19"/>
              </p:custDataLst>
            </p:nvPr>
          </p:nvSpPr>
          <p:spPr>
            <a:xfrm>
              <a:off x="2700001" y="4062960"/>
              <a:ext cx="83726" cy="54639"/>
            </a:xfrm>
            <a:custGeom>
              <a:avLst/>
              <a:gdLst/>
              <a:ahLst/>
              <a:cxnLst/>
              <a:rect l="0" t="0" r="0" b="0"/>
              <a:pathLst>
                <a:path w="83726" h="54639">
                  <a:moveTo>
                    <a:pt x="5372" y="4090"/>
                  </a:moveTo>
                  <a:lnTo>
                    <a:pt x="8259" y="0"/>
                  </a:lnTo>
                  <a:lnTo>
                    <a:pt x="26277" y="111"/>
                  </a:lnTo>
                  <a:lnTo>
                    <a:pt x="39950" y="6286"/>
                  </a:lnTo>
                  <a:lnTo>
                    <a:pt x="46034" y="5684"/>
                  </a:lnTo>
                  <a:lnTo>
                    <a:pt x="50225" y="14184"/>
                  </a:lnTo>
                  <a:lnTo>
                    <a:pt x="62854" y="13707"/>
                  </a:lnTo>
                  <a:lnTo>
                    <a:pt x="62110" y="20840"/>
                  </a:lnTo>
                  <a:lnTo>
                    <a:pt x="72380" y="21703"/>
                  </a:lnTo>
                  <a:lnTo>
                    <a:pt x="83725" y="30472"/>
                  </a:lnTo>
                  <a:lnTo>
                    <a:pt x="75152" y="40187"/>
                  </a:lnTo>
                  <a:lnTo>
                    <a:pt x="64173" y="34998"/>
                  </a:lnTo>
                  <a:lnTo>
                    <a:pt x="53578" y="35999"/>
                  </a:lnTo>
                  <a:lnTo>
                    <a:pt x="45984" y="34863"/>
                  </a:lnTo>
                  <a:lnTo>
                    <a:pt x="41823" y="39215"/>
                  </a:lnTo>
                  <a:lnTo>
                    <a:pt x="32961" y="40684"/>
                  </a:lnTo>
                  <a:lnTo>
                    <a:pt x="29449" y="34897"/>
                  </a:lnTo>
                  <a:lnTo>
                    <a:pt x="21817" y="38322"/>
                  </a:lnTo>
                  <a:lnTo>
                    <a:pt x="12578" y="54638"/>
                  </a:lnTo>
                  <a:lnTo>
                    <a:pt x="6635" y="50853"/>
                  </a:lnTo>
                  <a:lnTo>
                    <a:pt x="5466" y="44006"/>
                  </a:lnTo>
                  <a:lnTo>
                    <a:pt x="5941" y="37527"/>
                  </a:lnTo>
                  <a:lnTo>
                    <a:pt x="0" y="30360"/>
                  </a:lnTo>
                  <a:lnTo>
                    <a:pt x="5627" y="26333"/>
                  </a:lnTo>
                  <a:lnTo>
                    <a:pt x="7392" y="171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0" name="Freeform 14">
              <a:extLst>
                <a:ext uri="{FF2B5EF4-FFF2-40B4-BE49-F238E27FC236}">
                  <a16:creationId xmlns:a16="http://schemas.microsoft.com/office/drawing/2014/main" id="{BD1A8FA4-A3DD-4523-85BA-1924013B7B15}"/>
                </a:ext>
              </a:extLst>
            </p:cNvPr>
            <p:cNvSpPr>
              <a:spLocks noChangeAspect="1"/>
            </p:cNvSpPr>
            <p:nvPr>
              <p:custDataLst>
                <p:tags r:id="rId20"/>
              </p:custDataLst>
            </p:nvPr>
          </p:nvSpPr>
          <p:spPr>
            <a:xfrm>
              <a:off x="2491734" y="4496093"/>
              <a:ext cx="132358" cy="146440"/>
            </a:xfrm>
            <a:custGeom>
              <a:avLst/>
              <a:gdLst/>
              <a:ahLst/>
              <a:cxnLst/>
              <a:rect l="0" t="0" r="0" b="0"/>
              <a:pathLst>
                <a:path w="132358" h="146440">
                  <a:moveTo>
                    <a:pt x="15354" y="110500"/>
                  </a:moveTo>
                  <a:lnTo>
                    <a:pt x="27641" y="93234"/>
                  </a:lnTo>
                  <a:lnTo>
                    <a:pt x="22649" y="83148"/>
                  </a:lnTo>
                  <a:lnTo>
                    <a:pt x="13826" y="93873"/>
                  </a:lnTo>
                  <a:lnTo>
                    <a:pt x="0" y="83751"/>
                  </a:lnTo>
                  <a:lnTo>
                    <a:pt x="4685" y="77242"/>
                  </a:lnTo>
                  <a:lnTo>
                    <a:pt x="787" y="56287"/>
                  </a:lnTo>
                  <a:lnTo>
                    <a:pt x="8873" y="52806"/>
                  </a:lnTo>
                  <a:lnTo>
                    <a:pt x="13121" y="38426"/>
                  </a:lnTo>
                  <a:lnTo>
                    <a:pt x="21856" y="23560"/>
                  </a:lnTo>
                  <a:lnTo>
                    <a:pt x="20247" y="14140"/>
                  </a:lnTo>
                  <a:lnTo>
                    <a:pt x="32893" y="9188"/>
                  </a:lnTo>
                  <a:lnTo>
                    <a:pt x="48762" y="0"/>
                  </a:lnTo>
                  <a:lnTo>
                    <a:pt x="71849" y="13182"/>
                  </a:lnTo>
                  <a:lnTo>
                    <a:pt x="76153" y="12813"/>
                  </a:lnTo>
                  <a:lnTo>
                    <a:pt x="81777" y="22744"/>
                  </a:lnTo>
                  <a:lnTo>
                    <a:pt x="101365" y="25947"/>
                  </a:lnTo>
                  <a:lnTo>
                    <a:pt x="107922" y="22274"/>
                  </a:lnTo>
                  <a:lnTo>
                    <a:pt x="119252" y="29920"/>
                  </a:lnTo>
                  <a:lnTo>
                    <a:pt x="129137" y="35387"/>
                  </a:lnTo>
                  <a:lnTo>
                    <a:pt x="132357" y="52916"/>
                  </a:lnTo>
                  <a:lnTo>
                    <a:pt x="125172" y="67926"/>
                  </a:lnTo>
                  <a:lnTo>
                    <a:pt x="100003" y="92106"/>
                  </a:lnTo>
                  <a:lnTo>
                    <a:pt x="72245" y="101216"/>
                  </a:lnTo>
                  <a:lnTo>
                    <a:pt x="58101" y="121322"/>
                  </a:lnTo>
                  <a:lnTo>
                    <a:pt x="53733" y="136923"/>
                  </a:lnTo>
                  <a:lnTo>
                    <a:pt x="40682" y="146439"/>
                  </a:lnTo>
                  <a:lnTo>
                    <a:pt x="30995" y="134759"/>
                  </a:lnTo>
                  <a:lnTo>
                    <a:pt x="21671" y="132259"/>
                  </a:lnTo>
                  <a:lnTo>
                    <a:pt x="12130" y="134100"/>
                  </a:lnTo>
                  <a:lnTo>
                    <a:pt x="11506" y="125627"/>
                  </a:lnTo>
                  <a:lnTo>
                    <a:pt x="18091" y="1201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1" name="Freeform 15">
              <a:extLst>
                <a:ext uri="{FF2B5EF4-FFF2-40B4-BE49-F238E27FC236}">
                  <a16:creationId xmlns:a16="http://schemas.microsoft.com/office/drawing/2014/main" id="{090DAFD1-73EE-4A63-850C-62B7F3ED0C5F}"/>
                </a:ext>
              </a:extLst>
            </p:cNvPr>
            <p:cNvSpPr>
              <a:spLocks noChangeAspect="1"/>
            </p:cNvSpPr>
            <p:nvPr>
              <p:custDataLst>
                <p:tags r:id="rId21"/>
              </p:custDataLst>
            </p:nvPr>
          </p:nvSpPr>
          <p:spPr>
            <a:xfrm>
              <a:off x="2231789" y="4112342"/>
              <a:ext cx="92429" cy="96620"/>
            </a:xfrm>
            <a:custGeom>
              <a:avLst/>
              <a:gdLst/>
              <a:ahLst/>
              <a:cxnLst/>
              <a:rect l="0" t="0" r="0" b="0"/>
              <a:pathLst>
                <a:path w="92429" h="96620">
                  <a:moveTo>
                    <a:pt x="49251" y="96619"/>
                  </a:moveTo>
                  <a:lnTo>
                    <a:pt x="37408" y="92516"/>
                  </a:lnTo>
                  <a:lnTo>
                    <a:pt x="23009" y="92091"/>
                  </a:lnTo>
                  <a:lnTo>
                    <a:pt x="12453" y="87423"/>
                  </a:lnTo>
                  <a:lnTo>
                    <a:pt x="34" y="77705"/>
                  </a:lnTo>
                  <a:lnTo>
                    <a:pt x="600" y="70837"/>
                  </a:lnTo>
                  <a:lnTo>
                    <a:pt x="3278" y="65305"/>
                  </a:lnTo>
                  <a:lnTo>
                    <a:pt x="0" y="60893"/>
                  </a:lnTo>
                  <a:lnTo>
                    <a:pt x="11109" y="41619"/>
                  </a:lnTo>
                  <a:lnTo>
                    <a:pt x="40735" y="41548"/>
                  </a:lnTo>
                  <a:lnTo>
                    <a:pt x="41327" y="33481"/>
                  </a:lnTo>
                  <a:lnTo>
                    <a:pt x="37587" y="32043"/>
                  </a:lnTo>
                  <a:lnTo>
                    <a:pt x="35026" y="26903"/>
                  </a:lnTo>
                  <a:lnTo>
                    <a:pt x="26489" y="21421"/>
                  </a:lnTo>
                  <a:lnTo>
                    <a:pt x="17896" y="13494"/>
                  </a:lnTo>
                  <a:lnTo>
                    <a:pt x="28322" y="13435"/>
                  </a:lnTo>
                  <a:lnTo>
                    <a:pt x="28339" y="41"/>
                  </a:lnTo>
                  <a:lnTo>
                    <a:pt x="49889" y="0"/>
                  </a:lnTo>
                  <a:lnTo>
                    <a:pt x="71237" y="262"/>
                  </a:lnTo>
                  <a:lnTo>
                    <a:pt x="71058" y="19116"/>
                  </a:lnTo>
                  <a:lnTo>
                    <a:pt x="69251" y="45870"/>
                  </a:lnTo>
                  <a:lnTo>
                    <a:pt x="76141" y="45863"/>
                  </a:lnTo>
                  <a:lnTo>
                    <a:pt x="83667" y="50142"/>
                  </a:lnTo>
                  <a:lnTo>
                    <a:pt x="85657" y="46617"/>
                  </a:lnTo>
                  <a:lnTo>
                    <a:pt x="92428" y="49637"/>
                  </a:lnTo>
                  <a:lnTo>
                    <a:pt x="81910" y="58654"/>
                  </a:lnTo>
                  <a:lnTo>
                    <a:pt x="70966" y="65262"/>
                  </a:lnTo>
                  <a:lnTo>
                    <a:pt x="69341" y="69795"/>
                  </a:lnTo>
                  <a:lnTo>
                    <a:pt x="71180" y="74424"/>
                  </a:lnTo>
                  <a:lnTo>
                    <a:pt x="66384" y="80407"/>
                  </a:lnTo>
                  <a:lnTo>
                    <a:pt x="60982" y="81857"/>
                  </a:lnTo>
                  <a:lnTo>
                    <a:pt x="62208" y="84631"/>
                  </a:lnTo>
                  <a:lnTo>
                    <a:pt x="57875" y="87234"/>
                  </a:lnTo>
                  <a:lnTo>
                    <a:pt x="49964" y="931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2" name="Freeform 16">
              <a:extLst>
                <a:ext uri="{FF2B5EF4-FFF2-40B4-BE49-F238E27FC236}">
                  <a16:creationId xmlns:a16="http://schemas.microsoft.com/office/drawing/2014/main" id="{CE013337-26BC-4F23-8CE5-19AD5FFEEADE}"/>
                </a:ext>
              </a:extLst>
            </p:cNvPr>
            <p:cNvSpPr>
              <a:spLocks noChangeAspect="1"/>
            </p:cNvSpPr>
            <p:nvPr>
              <p:custDataLst>
                <p:tags r:id="rId22"/>
              </p:custDataLst>
            </p:nvPr>
          </p:nvSpPr>
          <p:spPr>
            <a:xfrm>
              <a:off x="2943172" y="4334396"/>
              <a:ext cx="112435" cy="164303"/>
            </a:xfrm>
            <a:custGeom>
              <a:avLst/>
              <a:gdLst/>
              <a:ahLst/>
              <a:cxnLst/>
              <a:rect l="0" t="0" r="0" b="0"/>
              <a:pathLst>
                <a:path w="112435" h="164303">
                  <a:moveTo>
                    <a:pt x="38133" y="0"/>
                  </a:moveTo>
                  <a:lnTo>
                    <a:pt x="53289" y="8547"/>
                  </a:lnTo>
                  <a:lnTo>
                    <a:pt x="67571" y="23672"/>
                  </a:lnTo>
                  <a:lnTo>
                    <a:pt x="68220" y="35616"/>
                  </a:lnTo>
                  <a:lnTo>
                    <a:pt x="76917" y="36165"/>
                  </a:lnTo>
                  <a:lnTo>
                    <a:pt x="89286" y="47473"/>
                  </a:lnTo>
                  <a:lnTo>
                    <a:pt x="98399" y="55538"/>
                  </a:lnTo>
                  <a:lnTo>
                    <a:pt x="94710" y="76365"/>
                  </a:lnTo>
                  <a:lnTo>
                    <a:pt x="80698" y="82403"/>
                  </a:lnTo>
                  <a:lnTo>
                    <a:pt x="81946" y="87858"/>
                  </a:lnTo>
                  <a:lnTo>
                    <a:pt x="77688" y="99789"/>
                  </a:lnTo>
                  <a:lnTo>
                    <a:pt x="87916" y="116574"/>
                  </a:lnTo>
                  <a:lnTo>
                    <a:pt x="95306" y="116601"/>
                  </a:lnTo>
                  <a:lnTo>
                    <a:pt x="98337" y="129644"/>
                  </a:lnTo>
                  <a:lnTo>
                    <a:pt x="112434" y="149723"/>
                  </a:lnTo>
                  <a:lnTo>
                    <a:pt x="106818" y="150550"/>
                  </a:lnTo>
                  <a:lnTo>
                    <a:pt x="94050" y="148592"/>
                  </a:lnTo>
                  <a:lnTo>
                    <a:pt x="86545" y="154732"/>
                  </a:lnTo>
                  <a:lnTo>
                    <a:pt x="76100" y="158782"/>
                  </a:lnTo>
                  <a:lnTo>
                    <a:pt x="68806" y="159780"/>
                  </a:lnTo>
                  <a:lnTo>
                    <a:pt x="66254" y="164302"/>
                  </a:lnTo>
                  <a:lnTo>
                    <a:pt x="54924" y="163157"/>
                  </a:lnTo>
                  <a:lnTo>
                    <a:pt x="40724" y="152324"/>
                  </a:lnTo>
                  <a:lnTo>
                    <a:pt x="39051" y="141639"/>
                  </a:lnTo>
                  <a:lnTo>
                    <a:pt x="33142" y="129961"/>
                  </a:lnTo>
                  <a:lnTo>
                    <a:pt x="36815" y="110292"/>
                  </a:lnTo>
                  <a:lnTo>
                    <a:pt x="43217" y="102148"/>
                  </a:lnTo>
                  <a:lnTo>
                    <a:pt x="37923" y="91403"/>
                  </a:lnTo>
                  <a:lnTo>
                    <a:pt x="29992" y="87900"/>
                  </a:lnTo>
                  <a:lnTo>
                    <a:pt x="32993" y="77742"/>
                  </a:lnTo>
                  <a:lnTo>
                    <a:pt x="27621" y="72409"/>
                  </a:lnTo>
                  <a:lnTo>
                    <a:pt x="15621" y="73433"/>
                  </a:lnTo>
                  <a:lnTo>
                    <a:pt x="0" y="55864"/>
                  </a:lnTo>
                  <a:lnTo>
                    <a:pt x="6253" y="49488"/>
                  </a:lnTo>
                  <a:lnTo>
                    <a:pt x="5793" y="38786"/>
                  </a:lnTo>
                  <a:lnTo>
                    <a:pt x="19997" y="35064"/>
                  </a:lnTo>
                  <a:lnTo>
                    <a:pt x="25729" y="30719"/>
                  </a:lnTo>
                  <a:lnTo>
                    <a:pt x="17828" y="22110"/>
                  </a:lnTo>
                  <a:lnTo>
                    <a:pt x="19845" y="136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3" name="Freeform 17">
              <a:extLst>
                <a:ext uri="{FF2B5EF4-FFF2-40B4-BE49-F238E27FC236}">
                  <a16:creationId xmlns:a16="http://schemas.microsoft.com/office/drawing/2014/main" id="{F56F32A3-A2AB-46FB-AE84-5D79D08901ED}"/>
                </a:ext>
              </a:extLst>
            </p:cNvPr>
            <p:cNvSpPr>
              <a:spLocks noChangeAspect="1"/>
            </p:cNvSpPr>
            <p:nvPr>
              <p:custDataLst>
                <p:tags r:id="rId23"/>
              </p:custDataLst>
            </p:nvPr>
          </p:nvSpPr>
          <p:spPr>
            <a:xfrm>
              <a:off x="2298173" y="4155409"/>
              <a:ext cx="143254" cy="71186"/>
            </a:xfrm>
            <a:custGeom>
              <a:avLst/>
              <a:gdLst/>
              <a:ahLst/>
              <a:cxnLst/>
              <a:rect l="0" t="0" r="0" b="0"/>
              <a:pathLst>
                <a:path w="143254" h="71186">
                  <a:moveTo>
                    <a:pt x="47011" y="71185"/>
                  </a:moveTo>
                  <a:lnTo>
                    <a:pt x="43024" y="63840"/>
                  </a:lnTo>
                  <a:lnTo>
                    <a:pt x="36013" y="61798"/>
                  </a:lnTo>
                  <a:lnTo>
                    <a:pt x="37620" y="52383"/>
                  </a:lnTo>
                  <a:lnTo>
                    <a:pt x="34481" y="49836"/>
                  </a:lnTo>
                  <a:lnTo>
                    <a:pt x="29730" y="48158"/>
                  </a:lnTo>
                  <a:lnTo>
                    <a:pt x="19604" y="50961"/>
                  </a:lnTo>
                  <a:lnTo>
                    <a:pt x="18745" y="47793"/>
                  </a:lnTo>
                  <a:lnTo>
                    <a:pt x="11778" y="44019"/>
                  </a:lnTo>
                  <a:lnTo>
                    <a:pt x="6805" y="39321"/>
                  </a:lnTo>
                  <a:lnTo>
                    <a:pt x="0" y="37340"/>
                  </a:lnTo>
                  <a:lnTo>
                    <a:pt x="4796" y="31357"/>
                  </a:lnTo>
                  <a:lnTo>
                    <a:pt x="2957" y="26728"/>
                  </a:lnTo>
                  <a:lnTo>
                    <a:pt x="4582" y="22195"/>
                  </a:lnTo>
                  <a:lnTo>
                    <a:pt x="15526" y="15587"/>
                  </a:lnTo>
                  <a:lnTo>
                    <a:pt x="26044" y="6570"/>
                  </a:lnTo>
                  <a:lnTo>
                    <a:pt x="28441" y="7494"/>
                  </a:lnTo>
                  <a:lnTo>
                    <a:pt x="33504" y="3336"/>
                  </a:lnTo>
                  <a:lnTo>
                    <a:pt x="40109" y="2996"/>
                  </a:lnTo>
                  <a:lnTo>
                    <a:pt x="42250" y="4925"/>
                  </a:lnTo>
                  <a:lnTo>
                    <a:pt x="45832" y="3750"/>
                  </a:lnTo>
                  <a:lnTo>
                    <a:pt x="56555" y="5884"/>
                  </a:lnTo>
                  <a:lnTo>
                    <a:pt x="67225" y="5266"/>
                  </a:lnTo>
                  <a:lnTo>
                    <a:pt x="74651" y="2650"/>
                  </a:lnTo>
                  <a:lnTo>
                    <a:pt x="77358" y="0"/>
                  </a:lnTo>
                  <a:lnTo>
                    <a:pt x="84713" y="1225"/>
                  </a:lnTo>
                  <a:lnTo>
                    <a:pt x="90237" y="2832"/>
                  </a:lnTo>
                  <a:lnTo>
                    <a:pt x="96275" y="2278"/>
                  </a:lnTo>
                  <a:lnTo>
                    <a:pt x="100862" y="224"/>
                  </a:lnTo>
                  <a:lnTo>
                    <a:pt x="111405" y="3507"/>
                  </a:lnTo>
                  <a:lnTo>
                    <a:pt x="115068" y="4029"/>
                  </a:lnTo>
                  <a:lnTo>
                    <a:pt x="122113" y="8450"/>
                  </a:lnTo>
                  <a:lnTo>
                    <a:pt x="128786" y="13748"/>
                  </a:lnTo>
                  <a:lnTo>
                    <a:pt x="137179" y="17367"/>
                  </a:lnTo>
                  <a:lnTo>
                    <a:pt x="143253" y="23860"/>
                  </a:lnTo>
                  <a:lnTo>
                    <a:pt x="135341" y="23378"/>
                  </a:lnTo>
                  <a:lnTo>
                    <a:pt x="132142" y="26592"/>
                  </a:lnTo>
                  <a:lnTo>
                    <a:pt x="124129" y="29673"/>
                  </a:lnTo>
                  <a:lnTo>
                    <a:pt x="118298" y="29689"/>
                  </a:lnTo>
                  <a:lnTo>
                    <a:pt x="113197" y="32687"/>
                  </a:lnTo>
                  <a:lnTo>
                    <a:pt x="108575" y="31621"/>
                  </a:lnTo>
                  <a:lnTo>
                    <a:pt x="104640" y="28018"/>
                  </a:lnTo>
                  <a:lnTo>
                    <a:pt x="102229" y="28705"/>
                  </a:lnTo>
                  <a:lnTo>
                    <a:pt x="99267" y="34338"/>
                  </a:lnTo>
                  <a:lnTo>
                    <a:pt x="97053" y="34134"/>
                  </a:lnTo>
                  <a:lnTo>
                    <a:pt x="96669" y="38983"/>
                  </a:lnTo>
                  <a:lnTo>
                    <a:pt x="88612" y="45467"/>
                  </a:lnTo>
                  <a:lnTo>
                    <a:pt x="84359" y="48265"/>
                  </a:lnTo>
                  <a:lnTo>
                    <a:pt x="81990" y="51183"/>
                  </a:lnTo>
                  <a:lnTo>
                    <a:pt x="75181" y="46428"/>
                  </a:lnTo>
                  <a:lnTo>
                    <a:pt x="70198" y="52705"/>
                  </a:lnTo>
                  <a:lnTo>
                    <a:pt x="65384" y="52537"/>
                  </a:lnTo>
                  <a:lnTo>
                    <a:pt x="59974" y="53093"/>
                  </a:lnTo>
                  <a:lnTo>
                    <a:pt x="60465" y="64649"/>
                  </a:lnTo>
                  <a:lnTo>
                    <a:pt x="57078" y="64858"/>
                  </a:lnTo>
                  <a:lnTo>
                    <a:pt x="54187" y="702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4" name="Freeform 18">
              <a:extLst>
                <a:ext uri="{FF2B5EF4-FFF2-40B4-BE49-F238E27FC236}">
                  <a16:creationId xmlns:a16="http://schemas.microsoft.com/office/drawing/2014/main" id="{4A5C3F22-7A9B-41AD-8C8F-A9415AAC138F}"/>
                </a:ext>
              </a:extLst>
            </p:cNvPr>
            <p:cNvSpPr>
              <a:spLocks noChangeAspect="1"/>
            </p:cNvSpPr>
            <p:nvPr>
              <p:custDataLst>
                <p:tags r:id="rId24"/>
              </p:custDataLst>
            </p:nvPr>
          </p:nvSpPr>
          <p:spPr>
            <a:xfrm>
              <a:off x="2641996" y="4062221"/>
              <a:ext cx="65398" cy="45079"/>
            </a:xfrm>
            <a:custGeom>
              <a:avLst/>
              <a:gdLst/>
              <a:ahLst/>
              <a:cxnLst/>
              <a:rect l="0" t="0" r="0" b="0"/>
              <a:pathLst>
                <a:path w="65398" h="45079">
                  <a:moveTo>
                    <a:pt x="29274" y="0"/>
                  </a:moveTo>
                  <a:lnTo>
                    <a:pt x="43357" y="1061"/>
                  </a:lnTo>
                  <a:lnTo>
                    <a:pt x="63377" y="4829"/>
                  </a:lnTo>
                  <a:lnTo>
                    <a:pt x="65397" y="17878"/>
                  </a:lnTo>
                  <a:lnTo>
                    <a:pt x="63632" y="27072"/>
                  </a:lnTo>
                  <a:lnTo>
                    <a:pt x="58005" y="31099"/>
                  </a:lnTo>
                  <a:lnTo>
                    <a:pt x="63946" y="38266"/>
                  </a:lnTo>
                  <a:lnTo>
                    <a:pt x="63471" y="44745"/>
                  </a:lnTo>
                  <a:lnTo>
                    <a:pt x="48140" y="40692"/>
                  </a:lnTo>
                  <a:lnTo>
                    <a:pt x="37246" y="42346"/>
                  </a:lnTo>
                  <a:lnTo>
                    <a:pt x="23163" y="40622"/>
                  </a:lnTo>
                  <a:lnTo>
                    <a:pt x="12363" y="45078"/>
                  </a:lnTo>
                  <a:lnTo>
                    <a:pt x="0" y="37649"/>
                  </a:lnTo>
                  <a:lnTo>
                    <a:pt x="2034" y="29952"/>
                  </a:lnTo>
                  <a:lnTo>
                    <a:pt x="23279" y="33269"/>
                  </a:lnTo>
                  <a:lnTo>
                    <a:pt x="40697" y="35184"/>
                  </a:lnTo>
                  <a:lnTo>
                    <a:pt x="49008" y="29868"/>
                  </a:lnTo>
                  <a:lnTo>
                    <a:pt x="38464" y="19511"/>
                  </a:lnTo>
                  <a:lnTo>
                    <a:pt x="38639" y="10364"/>
                  </a:lnTo>
                  <a:lnTo>
                    <a:pt x="24075" y="66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5" name="Freeform 19">
              <a:extLst>
                <a:ext uri="{FF2B5EF4-FFF2-40B4-BE49-F238E27FC236}">
                  <a16:creationId xmlns:a16="http://schemas.microsoft.com/office/drawing/2014/main" id="{ADE8164D-3131-49C8-B2E8-353171B8A4C6}"/>
                </a:ext>
              </a:extLst>
            </p:cNvPr>
            <p:cNvSpPr>
              <a:spLocks noChangeAspect="1"/>
            </p:cNvSpPr>
            <p:nvPr>
              <p:custDataLst>
                <p:tags r:id="rId25"/>
              </p:custDataLst>
            </p:nvPr>
          </p:nvSpPr>
          <p:spPr>
            <a:xfrm>
              <a:off x="2552442" y="4095533"/>
              <a:ext cx="49353" cy="19625"/>
            </a:xfrm>
            <a:custGeom>
              <a:avLst/>
              <a:gdLst/>
              <a:ahLst/>
              <a:cxnLst/>
              <a:rect l="0" t="0" r="0" b="0"/>
              <a:pathLst>
                <a:path w="49353" h="19625">
                  <a:moveTo>
                    <a:pt x="17730" y="805"/>
                  </a:moveTo>
                  <a:lnTo>
                    <a:pt x="33265" y="2945"/>
                  </a:lnTo>
                  <a:lnTo>
                    <a:pt x="45528" y="8674"/>
                  </a:lnTo>
                  <a:lnTo>
                    <a:pt x="49352" y="15201"/>
                  </a:lnTo>
                  <a:lnTo>
                    <a:pt x="33127" y="15644"/>
                  </a:lnTo>
                  <a:lnTo>
                    <a:pt x="26115" y="19624"/>
                  </a:lnTo>
                  <a:lnTo>
                    <a:pt x="13197" y="15802"/>
                  </a:lnTo>
                  <a:lnTo>
                    <a:pt x="0" y="7118"/>
                  </a:lnTo>
                  <a:lnTo>
                    <a:pt x="2770" y="1664"/>
                  </a:lnTo>
                  <a:lnTo>
                    <a:pt x="1247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6" name="Freeform 20">
              <a:extLst>
                <a:ext uri="{FF2B5EF4-FFF2-40B4-BE49-F238E27FC236}">
                  <a16:creationId xmlns:a16="http://schemas.microsoft.com/office/drawing/2014/main" id="{2A447F89-67F3-44A2-9B11-0C756EF86FD6}"/>
                </a:ext>
              </a:extLst>
            </p:cNvPr>
            <p:cNvSpPr>
              <a:spLocks noChangeAspect="1"/>
            </p:cNvSpPr>
            <p:nvPr>
              <p:custDataLst>
                <p:tags r:id="rId26"/>
              </p:custDataLst>
            </p:nvPr>
          </p:nvSpPr>
          <p:spPr>
            <a:xfrm>
              <a:off x="1657064" y="3744951"/>
              <a:ext cx="699770" cy="445097"/>
            </a:xfrm>
            <a:custGeom>
              <a:avLst/>
              <a:gdLst/>
              <a:ahLst/>
              <a:cxnLst/>
              <a:rect l="0" t="0" r="0" b="0"/>
              <a:pathLst>
                <a:path w="699770" h="445097">
                  <a:moveTo>
                    <a:pt x="461371" y="172445"/>
                  </a:moveTo>
                  <a:lnTo>
                    <a:pt x="452414" y="194057"/>
                  </a:lnTo>
                  <a:lnTo>
                    <a:pt x="448377" y="211705"/>
                  </a:lnTo>
                  <a:lnTo>
                    <a:pt x="446690" y="244390"/>
                  </a:lnTo>
                  <a:lnTo>
                    <a:pt x="444466" y="256253"/>
                  </a:lnTo>
                  <a:lnTo>
                    <a:pt x="448467" y="269474"/>
                  </a:lnTo>
                  <a:lnTo>
                    <a:pt x="455625" y="281265"/>
                  </a:lnTo>
                  <a:lnTo>
                    <a:pt x="460233" y="299968"/>
                  </a:lnTo>
                  <a:lnTo>
                    <a:pt x="475554" y="317865"/>
                  </a:lnTo>
                  <a:lnTo>
                    <a:pt x="480943" y="331544"/>
                  </a:lnTo>
                  <a:lnTo>
                    <a:pt x="489973" y="343324"/>
                  </a:lnTo>
                  <a:lnTo>
                    <a:pt x="514483" y="349663"/>
                  </a:lnTo>
                  <a:lnTo>
                    <a:pt x="524024" y="359645"/>
                  </a:lnTo>
                  <a:lnTo>
                    <a:pt x="544269" y="352979"/>
                  </a:lnTo>
                  <a:lnTo>
                    <a:pt x="561871" y="350567"/>
                  </a:lnTo>
                  <a:lnTo>
                    <a:pt x="579154" y="346274"/>
                  </a:lnTo>
                  <a:lnTo>
                    <a:pt x="593684" y="342175"/>
                  </a:lnTo>
                  <a:lnTo>
                    <a:pt x="608365" y="332412"/>
                  </a:lnTo>
                  <a:lnTo>
                    <a:pt x="613865" y="318429"/>
                  </a:lnTo>
                  <a:lnTo>
                    <a:pt x="615760" y="298232"/>
                  </a:lnTo>
                  <a:lnTo>
                    <a:pt x="619750" y="291188"/>
                  </a:lnTo>
                  <a:lnTo>
                    <a:pt x="635384" y="284870"/>
                  </a:lnTo>
                  <a:lnTo>
                    <a:pt x="659793" y="279268"/>
                  </a:lnTo>
                  <a:lnTo>
                    <a:pt x="680232" y="280110"/>
                  </a:lnTo>
                  <a:lnTo>
                    <a:pt x="694232" y="278064"/>
                  </a:lnTo>
                  <a:lnTo>
                    <a:pt x="699769" y="283185"/>
                  </a:lnTo>
                  <a:lnTo>
                    <a:pt x="698986" y="294803"/>
                  </a:lnTo>
                  <a:lnTo>
                    <a:pt x="686582" y="309110"/>
                  </a:lnTo>
                  <a:lnTo>
                    <a:pt x="681094" y="323727"/>
                  </a:lnTo>
                  <a:lnTo>
                    <a:pt x="685348" y="327902"/>
                  </a:lnTo>
                  <a:lnTo>
                    <a:pt x="681890" y="338252"/>
                  </a:lnTo>
                  <a:lnTo>
                    <a:pt x="676105" y="356892"/>
                  </a:lnTo>
                  <a:lnTo>
                    <a:pt x="670254" y="350763"/>
                  </a:lnTo>
                  <a:lnTo>
                    <a:pt x="665421" y="351161"/>
                  </a:lnTo>
                  <a:lnTo>
                    <a:pt x="661034" y="351475"/>
                  </a:lnTo>
                  <a:lnTo>
                    <a:pt x="652765" y="365870"/>
                  </a:lnTo>
                  <a:lnTo>
                    <a:pt x="648575" y="363051"/>
                  </a:lnTo>
                  <a:lnTo>
                    <a:pt x="645781" y="364148"/>
                  </a:lnTo>
                  <a:lnTo>
                    <a:pt x="645962" y="367653"/>
                  </a:lnTo>
                  <a:lnTo>
                    <a:pt x="624614" y="367391"/>
                  </a:lnTo>
                  <a:lnTo>
                    <a:pt x="603064" y="367432"/>
                  </a:lnTo>
                  <a:lnTo>
                    <a:pt x="603047" y="380826"/>
                  </a:lnTo>
                  <a:lnTo>
                    <a:pt x="592621" y="380885"/>
                  </a:lnTo>
                  <a:lnTo>
                    <a:pt x="601214" y="388812"/>
                  </a:lnTo>
                  <a:lnTo>
                    <a:pt x="609751" y="394294"/>
                  </a:lnTo>
                  <a:lnTo>
                    <a:pt x="612312" y="399434"/>
                  </a:lnTo>
                  <a:lnTo>
                    <a:pt x="616052" y="400872"/>
                  </a:lnTo>
                  <a:lnTo>
                    <a:pt x="615460" y="408939"/>
                  </a:lnTo>
                  <a:lnTo>
                    <a:pt x="585834" y="409010"/>
                  </a:lnTo>
                  <a:lnTo>
                    <a:pt x="574725" y="428284"/>
                  </a:lnTo>
                  <a:lnTo>
                    <a:pt x="578003" y="432696"/>
                  </a:lnTo>
                  <a:lnTo>
                    <a:pt x="575325" y="438228"/>
                  </a:lnTo>
                  <a:lnTo>
                    <a:pt x="574759" y="445096"/>
                  </a:lnTo>
                  <a:lnTo>
                    <a:pt x="548636" y="419684"/>
                  </a:lnTo>
                  <a:lnTo>
                    <a:pt x="536733" y="412002"/>
                  </a:lnTo>
                  <a:lnTo>
                    <a:pt x="517886" y="405827"/>
                  </a:lnTo>
                  <a:lnTo>
                    <a:pt x="504992" y="407548"/>
                  </a:lnTo>
                  <a:lnTo>
                    <a:pt x="486453" y="416452"/>
                  </a:lnTo>
                  <a:lnTo>
                    <a:pt x="474818" y="418783"/>
                  </a:lnTo>
                  <a:lnTo>
                    <a:pt x="458518" y="412549"/>
                  </a:lnTo>
                  <a:lnTo>
                    <a:pt x="441219" y="408045"/>
                  </a:lnTo>
                  <a:lnTo>
                    <a:pt x="419645" y="397175"/>
                  </a:lnTo>
                  <a:lnTo>
                    <a:pt x="402340" y="393851"/>
                  </a:lnTo>
                  <a:lnTo>
                    <a:pt x="376208" y="382813"/>
                  </a:lnTo>
                  <a:lnTo>
                    <a:pt x="356897" y="371446"/>
                  </a:lnTo>
                  <a:lnTo>
                    <a:pt x="351070" y="365087"/>
                  </a:lnTo>
                  <a:lnTo>
                    <a:pt x="338153" y="363665"/>
                  </a:lnTo>
                  <a:lnTo>
                    <a:pt x="314543" y="356118"/>
                  </a:lnTo>
                  <a:lnTo>
                    <a:pt x="304928" y="345223"/>
                  </a:lnTo>
                  <a:lnTo>
                    <a:pt x="280126" y="331646"/>
                  </a:lnTo>
                  <a:lnTo>
                    <a:pt x="268561" y="316524"/>
                  </a:lnTo>
                  <a:lnTo>
                    <a:pt x="263059" y="304813"/>
                  </a:lnTo>
                  <a:lnTo>
                    <a:pt x="270760" y="302464"/>
                  </a:lnTo>
                  <a:lnTo>
                    <a:pt x="268385" y="295598"/>
                  </a:lnTo>
                  <a:lnTo>
                    <a:pt x="273692" y="289345"/>
                  </a:lnTo>
                  <a:lnTo>
                    <a:pt x="273806" y="280997"/>
                  </a:lnTo>
                  <a:lnTo>
                    <a:pt x="266019" y="270140"/>
                  </a:lnTo>
                  <a:lnTo>
                    <a:pt x="263936" y="260501"/>
                  </a:lnTo>
                  <a:lnTo>
                    <a:pt x="256196" y="248251"/>
                  </a:lnTo>
                  <a:lnTo>
                    <a:pt x="235854" y="224039"/>
                  </a:lnTo>
                  <a:lnTo>
                    <a:pt x="212645" y="204932"/>
                  </a:lnTo>
                  <a:lnTo>
                    <a:pt x="201417" y="189629"/>
                  </a:lnTo>
                  <a:lnTo>
                    <a:pt x="181605" y="179580"/>
                  </a:lnTo>
                  <a:lnTo>
                    <a:pt x="177360" y="173558"/>
                  </a:lnTo>
                  <a:lnTo>
                    <a:pt x="180879" y="158286"/>
                  </a:lnTo>
                  <a:lnTo>
                    <a:pt x="169111" y="152510"/>
                  </a:lnTo>
                  <a:lnTo>
                    <a:pt x="155486" y="140451"/>
                  </a:lnTo>
                  <a:lnTo>
                    <a:pt x="149732" y="123079"/>
                  </a:lnTo>
                  <a:lnTo>
                    <a:pt x="137316" y="121049"/>
                  </a:lnTo>
                  <a:lnTo>
                    <a:pt x="123912" y="107883"/>
                  </a:lnTo>
                  <a:lnTo>
                    <a:pt x="113095" y="95687"/>
                  </a:lnTo>
                  <a:lnTo>
                    <a:pt x="112088" y="87836"/>
                  </a:lnTo>
                  <a:lnTo>
                    <a:pt x="99675" y="68819"/>
                  </a:lnTo>
                  <a:lnTo>
                    <a:pt x="91499" y="49421"/>
                  </a:lnTo>
                  <a:lnTo>
                    <a:pt x="91848" y="39656"/>
                  </a:lnTo>
                  <a:lnTo>
                    <a:pt x="75155" y="29546"/>
                  </a:lnTo>
                  <a:lnTo>
                    <a:pt x="67449" y="30658"/>
                  </a:lnTo>
                  <a:lnTo>
                    <a:pt x="54275" y="23622"/>
                  </a:lnTo>
                  <a:lnTo>
                    <a:pt x="50576" y="33988"/>
                  </a:lnTo>
                  <a:lnTo>
                    <a:pt x="54395" y="46202"/>
                  </a:lnTo>
                  <a:lnTo>
                    <a:pt x="56642" y="65240"/>
                  </a:lnTo>
                  <a:lnTo>
                    <a:pt x="64558" y="75654"/>
                  </a:lnTo>
                  <a:lnTo>
                    <a:pt x="81687" y="92995"/>
                  </a:lnTo>
                  <a:lnTo>
                    <a:pt x="85492" y="98905"/>
                  </a:lnTo>
                  <a:lnTo>
                    <a:pt x="89002" y="100696"/>
                  </a:lnTo>
                  <a:lnTo>
                    <a:pt x="92048" y="109301"/>
                  </a:lnTo>
                  <a:lnTo>
                    <a:pt x="96150" y="108953"/>
                  </a:lnTo>
                  <a:lnTo>
                    <a:pt x="100783" y="125065"/>
                  </a:lnTo>
                  <a:lnTo>
                    <a:pt x="107793" y="131405"/>
                  </a:lnTo>
                  <a:lnTo>
                    <a:pt x="112709" y="140212"/>
                  </a:lnTo>
                  <a:lnTo>
                    <a:pt x="127215" y="152841"/>
                  </a:lnTo>
                  <a:lnTo>
                    <a:pt x="134874" y="175834"/>
                  </a:lnTo>
                  <a:lnTo>
                    <a:pt x="141727" y="186621"/>
                  </a:lnTo>
                  <a:lnTo>
                    <a:pt x="148139" y="198136"/>
                  </a:lnTo>
                  <a:lnTo>
                    <a:pt x="149408" y="211063"/>
                  </a:lnTo>
                  <a:lnTo>
                    <a:pt x="160538" y="211871"/>
                  </a:lnTo>
                  <a:lnTo>
                    <a:pt x="169794" y="222979"/>
                  </a:lnTo>
                  <a:lnTo>
                    <a:pt x="178168" y="233871"/>
                  </a:lnTo>
                  <a:lnTo>
                    <a:pt x="177607" y="238233"/>
                  </a:lnTo>
                  <a:lnTo>
                    <a:pt x="167893" y="247169"/>
                  </a:lnTo>
                  <a:lnTo>
                    <a:pt x="163803" y="247052"/>
                  </a:lnTo>
                  <a:lnTo>
                    <a:pt x="157717" y="232255"/>
                  </a:lnTo>
                  <a:lnTo>
                    <a:pt x="142611" y="218343"/>
                  </a:lnTo>
                  <a:lnTo>
                    <a:pt x="125967" y="206512"/>
                  </a:lnTo>
                  <a:lnTo>
                    <a:pt x="114161" y="200285"/>
                  </a:lnTo>
                  <a:lnTo>
                    <a:pt x="114924" y="182302"/>
                  </a:lnTo>
                  <a:lnTo>
                    <a:pt x="111421" y="168940"/>
                  </a:lnTo>
                  <a:lnTo>
                    <a:pt x="100421" y="161280"/>
                  </a:lnTo>
                  <a:lnTo>
                    <a:pt x="84554" y="150229"/>
                  </a:lnTo>
                  <a:lnTo>
                    <a:pt x="81506" y="153420"/>
                  </a:lnTo>
                  <a:lnTo>
                    <a:pt x="75684" y="146958"/>
                  </a:lnTo>
                  <a:lnTo>
                    <a:pt x="61447" y="140949"/>
                  </a:lnTo>
                  <a:lnTo>
                    <a:pt x="47842" y="126499"/>
                  </a:lnTo>
                  <a:lnTo>
                    <a:pt x="49524" y="124617"/>
                  </a:lnTo>
                  <a:lnTo>
                    <a:pt x="59032" y="126031"/>
                  </a:lnTo>
                  <a:lnTo>
                    <a:pt x="67596" y="116710"/>
                  </a:lnTo>
                  <a:lnTo>
                    <a:pt x="68458" y="105425"/>
                  </a:lnTo>
                  <a:lnTo>
                    <a:pt x="50688" y="87518"/>
                  </a:lnTo>
                  <a:lnTo>
                    <a:pt x="37143" y="80547"/>
                  </a:lnTo>
                  <a:lnTo>
                    <a:pt x="28632" y="64782"/>
                  </a:lnTo>
                  <a:lnTo>
                    <a:pt x="20069" y="48162"/>
                  </a:lnTo>
                  <a:lnTo>
                    <a:pt x="9377" y="27807"/>
                  </a:lnTo>
                  <a:lnTo>
                    <a:pt x="0" y="4768"/>
                  </a:lnTo>
                  <a:lnTo>
                    <a:pt x="26232" y="2788"/>
                  </a:lnTo>
                  <a:lnTo>
                    <a:pt x="55546" y="0"/>
                  </a:lnTo>
                  <a:lnTo>
                    <a:pt x="53385" y="5027"/>
                  </a:lnTo>
                  <a:lnTo>
                    <a:pt x="88240" y="17493"/>
                  </a:lnTo>
                  <a:lnTo>
                    <a:pt x="140900" y="35485"/>
                  </a:lnTo>
                  <a:lnTo>
                    <a:pt x="186803" y="35302"/>
                  </a:lnTo>
                  <a:lnTo>
                    <a:pt x="205109" y="35294"/>
                  </a:lnTo>
                  <a:lnTo>
                    <a:pt x="205154" y="24764"/>
                  </a:lnTo>
                  <a:lnTo>
                    <a:pt x="245142" y="24773"/>
                  </a:lnTo>
                  <a:lnTo>
                    <a:pt x="253560" y="33823"/>
                  </a:lnTo>
                  <a:lnTo>
                    <a:pt x="265363" y="41874"/>
                  </a:lnTo>
                  <a:lnTo>
                    <a:pt x="279079" y="53047"/>
                  </a:lnTo>
                  <a:lnTo>
                    <a:pt x="286734" y="66276"/>
                  </a:lnTo>
                  <a:lnTo>
                    <a:pt x="292476" y="80154"/>
                  </a:lnTo>
                  <a:lnTo>
                    <a:pt x="304409" y="87756"/>
                  </a:lnTo>
                  <a:lnTo>
                    <a:pt x="323568" y="95296"/>
                  </a:lnTo>
                  <a:lnTo>
                    <a:pt x="338110" y="75412"/>
                  </a:lnTo>
                  <a:lnTo>
                    <a:pt x="356982" y="74926"/>
                  </a:lnTo>
                  <a:lnTo>
                    <a:pt x="373251" y="84971"/>
                  </a:lnTo>
                  <a:lnTo>
                    <a:pt x="384833" y="102167"/>
                  </a:lnTo>
                  <a:lnTo>
                    <a:pt x="392816" y="116835"/>
                  </a:lnTo>
                  <a:lnTo>
                    <a:pt x="406435" y="131051"/>
                  </a:lnTo>
                  <a:lnTo>
                    <a:pt x="411513" y="148448"/>
                  </a:lnTo>
                  <a:lnTo>
                    <a:pt x="417976" y="160091"/>
                  </a:lnTo>
                  <a:lnTo>
                    <a:pt x="435981" y="167754"/>
                  </a:lnTo>
                  <a:lnTo>
                    <a:pt x="452369" y="1731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7" name="Freeform 21">
              <a:extLst>
                <a:ext uri="{FF2B5EF4-FFF2-40B4-BE49-F238E27FC236}">
                  <a16:creationId xmlns:a16="http://schemas.microsoft.com/office/drawing/2014/main" id="{F96E13F8-24FE-4647-BCBE-11328DBF5E4C}"/>
                </a:ext>
              </a:extLst>
            </p:cNvPr>
            <p:cNvSpPr>
              <a:spLocks noChangeAspect="1"/>
            </p:cNvSpPr>
            <p:nvPr>
              <p:custDataLst>
                <p:tags r:id="rId27"/>
              </p:custDataLst>
            </p:nvPr>
          </p:nvSpPr>
          <p:spPr>
            <a:xfrm>
              <a:off x="2337063" y="4178787"/>
              <a:ext cx="104364" cy="100649"/>
            </a:xfrm>
            <a:custGeom>
              <a:avLst/>
              <a:gdLst/>
              <a:ahLst/>
              <a:cxnLst/>
              <a:rect l="0" t="0" r="0" b="0"/>
              <a:pathLst>
                <a:path w="104364" h="100649">
                  <a:moveTo>
                    <a:pt x="45149" y="92204"/>
                  </a:moveTo>
                  <a:lnTo>
                    <a:pt x="37163" y="84842"/>
                  </a:lnTo>
                  <a:lnTo>
                    <a:pt x="26375" y="75406"/>
                  </a:lnTo>
                  <a:lnTo>
                    <a:pt x="21294" y="67515"/>
                  </a:lnTo>
                  <a:lnTo>
                    <a:pt x="11564" y="60152"/>
                  </a:lnTo>
                  <a:lnTo>
                    <a:pt x="0" y="49561"/>
                  </a:lnTo>
                  <a:lnTo>
                    <a:pt x="2563" y="45932"/>
                  </a:lnTo>
                  <a:lnTo>
                    <a:pt x="6373" y="49465"/>
                  </a:lnTo>
                  <a:lnTo>
                    <a:pt x="8121" y="47807"/>
                  </a:lnTo>
                  <a:lnTo>
                    <a:pt x="15297" y="46842"/>
                  </a:lnTo>
                  <a:lnTo>
                    <a:pt x="18188" y="41480"/>
                  </a:lnTo>
                  <a:lnTo>
                    <a:pt x="21575" y="41271"/>
                  </a:lnTo>
                  <a:lnTo>
                    <a:pt x="21084" y="29715"/>
                  </a:lnTo>
                  <a:lnTo>
                    <a:pt x="26494" y="29159"/>
                  </a:lnTo>
                  <a:lnTo>
                    <a:pt x="31308" y="29327"/>
                  </a:lnTo>
                  <a:lnTo>
                    <a:pt x="36291" y="23050"/>
                  </a:lnTo>
                  <a:lnTo>
                    <a:pt x="43100" y="27805"/>
                  </a:lnTo>
                  <a:lnTo>
                    <a:pt x="45469" y="24887"/>
                  </a:lnTo>
                  <a:lnTo>
                    <a:pt x="49722" y="22089"/>
                  </a:lnTo>
                  <a:lnTo>
                    <a:pt x="57779" y="15605"/>
                  </a:lnTo>
                  <a:lnTo>
                    <a:pt x="58163" y="10756"/>
                  </a:lnTo>
                  <a:lnTo>
                    <a:pt x="60377" y="10960"/>
                  </a:lnTo>
                  <a:lnTo>
                    <a:pt x="63339" y="5327"/>
                  </a:lnTo>
                  <a:lnTo>
                    <a:pt x="65750" y="4640"/>
                  </a:lnTo>
                  <a:lnTo>
                    <a:pt x="69685" y="8243"/>
                  </a:lnTo>
                  <a:lnTo>
                    <a:pt x="74307" y="9309"/>
                  </a:lnTo>
                  <a:lnTo>
                    <a:pt x="79408" y="6311"/>
                  </a:lnTo>
                  <a:lnTo>
                    <a:pt x="85239" y="6295"/>
                  </a:lnTo>
                  <a:lnTo>
                    <a:pt x="93252" y="3214"/>
                  </a:lnTo>
                  <a:lnTo>
                    <a:pt x="96451" y="0"/>
                  </a:lnTo>
                  <a:lnTo>
                    <a:pt x="104363" y="482"/>
                  </a:lnTo>
                  <a:lnTo>
                    <a:pt x="102378" y="2747"/>
                  </a:lnTo>
                  <a:lnTo>
                    <a:pt x="101202" y="8012"/>
                  </a:lnTo>
                  <a:lnTo>
                    <a:pt x="103557" y="16634"/>
                  </a:lnTo>
                  <a:lnTo>
                    <a:pt x="98240" y="24652"/>
                  </a:lnTo>
                  <a:lnTo>
                    <a:pt x="95762" y="34115"/>
                  </a:lnTo>
                  <a:lnTo>
                    <a:pt x="95015" y="44465"/>
                  </a:lnTo>
                  <a:lnTo>
                    <a:pt x="96254" y="50514"/>
                  </a:lnTo>
                  <a:lnTo>
                    <a:pt x="96836" y="61070"/>
                  </a:lnTo>
                  <a:lnTo>
                    <a:pt x="93309" y="63372"/>
                  </a:lnTo>
                  <a:lnTo>
                    <a:pt x="91151" y="73388"/>
                  </a:lnTo>
                  <a:lnTo>
                    <a:pt x="92738" y="79567"/>
                  </a:lnTo>
                  <a:lnTo>
                    <a:pt x="88015" y="85547"/>
                  </a:lnTo>
                  <a:lnTo>
                    <a:pt x="89089" y="91863"/>
                  </a:lnTo>
                  <a:lnTo>
                    <a:pt x="92628" y="95700"/>
                  </a:lnTo>
                  <a:lnTo>
                    <a:pt x="87101" y="100648"/>
                  </a:lnTo>
                  <a:lnTo>
                    <a:pt x="80289" y="99093"/>
                  </a:lnTo>
                  <a:lnTo>
                    <a:pt x="76463" y="94288"/>
                  </a:lnTo>
                  <a:lnTo>
                    <a:pt x="69142" y="92339"/>
                  </a:lnTo>
                  <a:lnTo>
                    <a:pt x="63835" y="95384"/>
                  </a:lnTo>
                  <a:lnTo>
                    <a:pt x="48627" y="891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8" name="Freeform 22">
              <a:extLst>
                <a:ext uri="{FF2B5EF4-FFF2-40B4-BE49-F238E27FC236}">
                  <a16:creationId xmlns:a16="http://schemas.microsoft.com/office/drawing/2014/main" id="{B2C6EC37-7955-47A4-8C71-53B98F937851}"/>
                </a:ext>
              </a:extLst>
            </p:cNvPr>
            <p:cNvSpPr>
              <a:spLocks noChangeAspect="1"/>
            </p:cNvSpPr>
            <p:nvPr>
              <p:custDataLst>
                <p:tags r:id="rId28"/>
              </p:custDataLst>
            </p:nvPr>
          </p:nvSpPr>
          <p:spPr>
            <a:xfrm>
              <a:off x="2445614" y="4305440"/>
              <a:ext cx="132108" cy="55579"/>
            </a:xfrm>
            <a:custGeom>
              <a:avLst/>
              <a:gdLst/>
              <a:ahLst/>
              <a:cxnLst/>
              <a:rect l="0" t="0" r="0" b="0"/>
              <a:pathLst>
                <a:path w="132108" h="55579">
                  <a:moveTo>
                    <a:pt x="117357" y="55503"/>
                  </a:moveTo>
                  <a:lnTo>
                    <a:pt x="109662" y="48809"/>
                  </a:lnTo>
                  <a:lnTo>
                    <a:pt x="104718" y="36275"/>
                  </a:lnTo>
                  <a:lnTo>
                    <a:pt x="110420" y="30068"/>
                  </a:lnTo>
                  <a:lnTo>
                    <a:pt x="104572" y="28476"/>
                  </a:lnTo>
                  <a:lnTo>
                    <a:pt x="100264" y="20794"/>
                  </a:lnTo>
                  <a:lnTo>
                    <a:pt x="88764" y="14328"/>
                  </a:lnTo>
                  <a:lnTo>
                    <a:pt x="78664" y="15811"/>
                  </a:lnTo>
                  <a:lnTo>
                    <a:pt x="73985" y="23901"/>
                  </a:lnTo>
                  <a:lnTo>
                    <a:pt x="64662" y="29740"/>
                  </a:lnTo>
                  <a:lnTo>
                    <a:pt x="59626" y="30551"/>
                  </a:lnTo>
                  <a:lnTo>
                    <a:pt x="57363" y="35386"/>
                  </a:lnTo>
                  <a:lnTo>
                    <a:pt x="68373" y="47990"/>
                  </a:lnTo>
                  <a:lnTo>
                    <a:pt x="62072" y="50956"/>
                  </a:lnTo>
                  <a:lnTo>
                    <a:pt x="58737" y="54394"/>
                  </a:lnTo>
                  <a:lnTo>
                    <a:pt x="47998" y="55578"/>
                  </a:lnTo>
                  <a:lnTo>
                    <a:pt x="44001" y="41712"/>
                  </a:lnTo>
                  <a:lnTo>
                    <a:pt x="40997" y="45660"/>
                  </a:lnTo>
                  <a:lnTo>
                    <a:pt x="33384" y="44297"/>
                  </a:lnTo>
                  <a:lnTo>
                    <a:pt x="28726" y="34953"/>
                  </a:lnTo>
                  <a:lnTo>
                    <a:pt x="19259" y="33410"/>
                  </a:lnTo>
                  <a:lnTo>
                    <a:pt x="13269" y="30691"/>
                  </a:lnTo>
                  <a:lnTo>
                    <a:pt x="3363" y="30726"/>
                  </a:lnTo>
                  <a:lnTo>
                    <a:pt x="2651" y="35769"/>
                  </a:lnTo>
                  <a:lnTo>
                    <a:pt x="0" y="32256"/>
                  </a:lnTo>
                  <a:lnTo>
                    <a:pt x="1215" y="27644"/>
                  </a:lnTo>
                  <a:lnTo>
                    <a:pt x="3140" y="22930"/>
                  </a:lnTo>
                  <a:lnTo>
                    <a:pt x="2242" y="18721"/>
                  </a:lnTo>
                  <a:lnTo>
                    <a:pt x="5692" y="15966"/>
                  </a:lnTo>
                  <a:lnTo>
                    <a:pt x="892" y="12508"/>
                  </a:lnTo>
                  <a:lnTo>
                    <a:pt x="759" y="3139"/>
                  </a:lnTo>
                  <a:lnTo>
                    <a:pt x="9685" y="1059"/>
                  </a:lnTo>
                  <a:lnTo>
                    <a:pt x="17974" y="9410"/>
                  </a:lnTo>
                  <a:lnTo>
                    <a:pt x="17501" y="14341"/>
                  </a:lnTo>
                  <a:lnTo>
                    <a:pt x="26712" y="15387"/>
                  </a:lnTo>
                  <a:lnTo>
                    <a:pt x="28891" y="13494"/>
                  </a:lnTo>
                  <a:lnTo>
                    <a:pt x="35236" y="19210"/>
                  </a:lnTo>
                  <a:lnTo>
                    <a:pt x="46592" y="17529"/>
                  </a:lnTo>
                  <a:lnTo>
                    <a:pt x="56411" y="11653"/>
                  </a:lnTo>
                  <a:lnTo>
                    <a:pt x="70430" y="6959"/>
                  </a:lnTo>
                  <a:lnTo>
                    <a:pt x="78308" y="0"/>
                  </a:lnTo>
                  <a:lnTo>
                    <a:pt x="91052" y="1366"/>
                  </a:lnTo>
                  <a:lnTo>
                    <a:pt x="90192" y="3657"/>
                  </a:lnTo>
                  <a:lnTo>
                    <a:pt x="103062" y="4452"/>
                  </a:lnTo>
                  <a:lnTo>
                    <a:pt x="113333" y="8473"/>
                  </a:lnTo>
                  <a:lnTo>
                    <a:pt x="120867" y="15474"/>
                  </a:lnTo>
                  <a:lnTo>
                    <a:pt x="129550" y="21901"/>
                  </a:lnTo>
                  <a:lnTo>
                    <a:pt x="126748" y="25301"/>
                  </a:lnTo>
                  <a:lnTo>
                    <a:pt x="132107" y="38987"/>
                  </a:lnTo>
                  <a:lnTo>
                    <a:pt x="127755" y="45889"/>
                  </a:lnTo>
                  <a:lnTo>
                    <a:pt x="120316" y="442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9" name="Freeform 23">
              <a:extLst>
                <a:ext uri="{FF2B5EF4-FFF2-40B4-BE49-F238E27FC236}">
                  <a16:creationId xmlns:a16="http://schemas.microsoft.com/office/drawing/2014/main" id="{7BA49C69-866A-4FBE-B610-AA8011D743FD}"/>
                </a:ext>
              </a:extLst>
            </p:cNvPr>
            <p:cNvSpPr>
              <a:spLocks noChangeAspect="1"/>
            </p:cNvSpPr>
            <p:nvPr>
              <p:custDataLst>
                <p:tags r:id="rId29"/>
              </p:custDataLst>
            </p:nvPr>
          </p:nvSpPr>
          <p:spPr>
            <a:xfrm>
              <a:off x="2481504" y="4529291"/>
              <a:ext cx="294210" cy="426911"/>
            </a:xfrm>
            <a:custGeom>
              <a:avLst/>
              <a:gdLst/>
              <a:ahLst/>
              <a:cxnLst/>
              <a:rect l="0" t="0" r="0" b="0"/>
              <a:pathLst>
                <a:path w="294210" h="426911">
                  <a:moveTo>
                    <a:pt x="272849" y="408611"/>
                  </a:moveTo>
                  <a:lnTo>
                    <a:pt x="266663" y="420822"/>
                  </a:lnTo>
                  <a:lnTo>
                    <a:pt x="254795" y="426910"/>
                  </a:lnTo>
                  <a:lnTo>
                    <a:pt x="231651" y="413224"/>
                  </a:lnTo>
                  <a:lnTo>
                    <a:pt x="229647" y="403460"/>
                  </a:lnTo>
                  <a:lnTo>
                    <a:pt x="183886" y="379625"/>
                  </a:lnTo>
                  <a:lnTo>
                    <a:pt x="142491" y="353751"/>
                  </a:lnTo>
                  <a:lnTo>
                    <a:pt x="124687" y="339207"/>
                  </a:lnTo>
                  <a:lnTo>
                    <a:pt x="115124" y="319755"/>
                  </a:lnTo>
                  <a:lnTo>
                    <a:pt x="118915" y="312981"/>
                  </a:lnTo>
                  <a:lnTo>
                    <a:pt x="99365" y="282192"/>
                  </a:lnTo>
                  <a:lnTo>
                    <a:pt x="76607" y="239068"/>
                  </a:lnTo>
                  <a:lnTo>
                    <a:pt x="54798" y="192708"/>
                  </a:lnTo>
                  <a:lnTo>
                    <a:pt x="45358" y="182120"/>
                  </a:lnTo>
                  <a:lnTo>
                    <a:pt x="38095" y="165024"/>
                  </a:lnTo>
                  <a:lnTo>
                    <a:pt x="20162" y="149889"/>
                  </a:lnTo>
                  <a:lnTo>
                    <a:pt x="3715" y="140508"/>
                  </a:lnTo>
                  <a:lnTo>
                    <a:pt x="11186" y="130171"/>
                  </a:lnTo>
                  <a:lnTo>
                    <a:pt x="0" y="108096"/>
                  </a:lnTo>
                  <a:lnTo>
                    <a:pt x="7185" y="91900"/>
                  </a:lnTo>
                  <a:lnTo>
                    <a:pt x="25584" y="77302"/>
                  </a:lnTo>
                  <a:lnTo>
                    <a:pt x="28321" y="86924"/>
                  </a:lnTo>
                  <a:lnTo>
                    <a:pt x="21736" y="92429"/>
                  </a:lnTo>
                  <a:lnTo>
                    <a:pt x="22360" y="100902"/>
                  </a:lnTo>
                  <a:lnTo>
                    <a:pt x="31901" y="99061"/>
                  </a:lnTo>
                  <a:lnTo>
                    <a:pt x="41225" y="101561"/>
                  </a:lnTo>
                  <a:lnTo>
                    <a:pt x="50912" y="113241"/>
                  </a:lnTo>
                  <a:lnTo>
                    <a:pt x="63963" y="103725"/>
                  </a:lnTo>
                  <a:lnTo>
                    <a:pt x="68331" y="88124"/>
                  </a:lnTo>
                  <a:lnTo>
                    <a:pt x="82475" y="68018"/>
                  </a:lnTo>
                  <a:lnTo>
                    <a:pt x="110233" y="58908"/>
                  </a:lnTo>
                  <a:lnTo>
                    <a:pt x="135402" y="34728"/>
                  </a:lnTo>
                  <a:lnTo>
                    <a:pt x="142587" y="19718"/>
                  </a:lnTo>
                  <a:lnTo>
                    <a:pt x="139367" y="2189"/>
                  </a:lnTo>
                  <a:lnTo>
                    <a:pt x="145521" y="0"/>
                  </a:lnTo>
                  <a:lnTo>
                    <a:pt x="160871" y="10932"/>
                  </a:lnTo>
                  <a:lnTo>
                    <a:pt x="168239" y="21828"/>
                  </a:lnTo>
                  <a:lnTo>
                    <a:pt x="178924" y="27777"/>
                  </a:lnTo>
                  <a:lnTo>
                    <a:pt x="192522" y="51986"/>
                  </a:lnTo>
                  <a:lnTo>
                    <a:pt x="209710" y="54879"/>
                  </a:lnTo>
                  <a:lnTo>
                    <a:pt x="222429" y="48772"/>
                  </a:lnTo>
                  <a:lnTo>
                    <a:pt x="230765" y="52767"/>
                  </a:lnTo>
                  <a:lnTo>
                    <a:pt x="244618" y="50783"/>
                  </a:lnTo>
                  <a:lnTo>
                    <a:pt x="262294" y="61599"/>
                  </a:lnTo>
                  <a:lnTo>
                    <a:pt x="247406" y="85115"/>
                  </a:lnTo>
                  <a:lnTo>
                    <a:pt x="254300" y="85663"/>
                  </a:lnTo>
                  <a:lnTo>
                    <a:pt x="265850" y="97953"/>
                  </a:lnTo>
                  <a:lnTo>
                    <a:pt x="245050" y="96868"/>
                  </a:lnTo>
                  <a:lnTo>
                    <a:pt x="241955" y="100344"/>
                  </a:lnTo>
                  <a:lnTo>
                    <a:pt x="223037" y="104794"/>
                  </a:lnTo>
                  <a:lnTo>
                    <a:pt x="196642" y="120541"/>
                  </a:lnTo>
                  <a:lnTo>
                    <a:pt x="194966" y="131345"/>
                  </a:lnTo>
                  <a:lnTo>
                    <a:pt x="189076" y="139404"/>
                  </a:lnTo>
                  <a:lnTo>
                    <a:pt x="191377" y="151935"/>
                  </a:lnTo>
                  <a:lnTo>
                    <a:pt x="177424" y="158628"/>
                  </a:lnTo>
                  <a:lnTo>
                    <a:pt x="177449" y="168427"/>
                  </a:lnTo>
                  <a:lnTo>
                    <a:pt x="171359" y="172670"/>
                  </a:lnTo>
                  <a:lnTo>
                    <a:pt x="180965" y="193589"/>
                  </a:lnTo>
                  <a:lnTo>
                    <a:pt x="193792" y="207737"/>
                  </a:lnTo>
                  <a:lnTo>
                    <a:pt x="188914" y="217731"/>
                  </a:lnTo>
                  <a:lnTo>
                    <a:pt x="204233" y="219081"/>
                  </a:lnTo>
                  <a:lnTo>
                    <a:pt x="212962" y="231509"/>
                  </a:lnTo>
                  <a:lnTo>
                    <a:pt x="233332" y="232112"/>
                  </a:lnTo>
                  <a:lnTo>
                    <a:pt x="252272" y="218381"/>
                  </a:lnTo>
                  <a:lnTo>
                    <a:pt x="250730" y="253807"/>
                  </a:lnTo>
                  <a:lnTo>
                    <a:pt x="261231" y="256489"/>
                  </a:lnTo>
                  <a:lnTo>
                    <a:pt x="274251" y="252466"/>
                  </a:lnTo>
                  <a:lnTo>
                    <a:pt x="294209" y="290126"/>
                  </a:lnTo>
                  <a:lnTo>
                    <a:pt x="289246" y="298063"/>
                  </a:lnTo>
                  <a:lnTo>
                    <a:pt x="288111" y="314571"/>
                  </a:lnTo>
                  <a:lnTo>
                    <a:pt x="287658" y="334596"/>
                  </a:lnTo>
                  <a:lnTo>
                    <a:pt x="278641" y="346375"/>
                  </a:lnTo>
                  <a:lnTo>
                    <a:pt x="282777" y="355128"/>
                  </a:lnTo>
                  <a:lnTo>
                    <a:pt x="277481" y="363073"/>
                  </a:lnTo>
                  <a:lnTo>
                    <a:pt x="287410" y="38297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0" name="Freeform 24">
              <a:extLst>
                <a:ext uri="{FF2B5EF4-FFF2-40B4-BE49-F238E27FC236}">
                  <a16:creationId xmlns:a16="http://schemas.microsoft.com/office/drawing/2014/main" id="{83EC9D8F-8F4A-4AE9-9240-15947313D705}"/>
                </a:ext>
              </a:extLst>
            </p:cNvPr>
            <p:cNvSpPr>
              <a:spLocks noChangeAspect="1"/>
            </p:cNvSpPr>
            <p:nvPr>
              <p:custDataLst>
                <p:tags r:id="rId30"/>
              </p:custDataLst>
            </p:nvPr>
          </p:nvSpPr>
          <p:spPr>
            <a:xfrm>
              <a:off x="2913748" y="4979982"/>
              <a:ext cx="193713" cy="200169"/>
            </a:xfrm>
            <a:custGeom>
              <a:avLst/>
              <a:gdLst/>
              <a:ahLst/>
              <a:cxnLst/>
              <a:rect l="0" t="0" r="0" b="0"/>
              <a:pathLst>
                <a:path w="193713" h="200169">
                  <a:moveTo>
                    <a:pt x="0" y="70021"/>
                  </a:moveTo>
                  <a:lnTo>
                    <a:pt x="9091" y="41069"/>
                  </a:lnTo>
                  <a:lnTo>
                    <a:pt x="9674" y="28111"/>
                  </a:lnTo>
                  <a:lnTo>
                    <a:pt x="20745" y="6973"/>
                  </a:lnTo>
                  <a:lnTo>
                    <a:pt x="60972" y="0"/>
                  </a:lnTo>
                  <a:lnTo>
                    <a:pt x="82405" y="339"/>
                  </a:lnTo>
                  <a:lnTo>
                    <a:pt x="103908" y="12603"/>
                  </a:lnTo>
                  <a:lnTo>
                    <a:pt x="104302" y="20007"/>
                  </a:lnTo>
                  <a:lnTo>
                    <a:pt x="111128" y="33382"/>
                  </a:lnTo>
                  <a:lnTo>
                    <a:pt x="109594" y="66172"/>
                  </a:lnTo>
                  <a:lnTo>
                    <a:pt x="133961" y="70824"/>
                  </a:lnTo>
                  <a:lnTo>
                    <a:pt x="143383" y="66077"/>
                  </a:lnTo>
                  <a:lnTo>
                    <a:pt x="158972" y="72638"/>
                  </a:lnTo>
                  <a:lnTo>
                    <a:pt x="163295" y="79887"/>
                  </a:lnTo>
                  <a:lnTo>
                    <a:pt x="165443" y="102192"/>
                  </a:lnTo>
                  <a:lnTo>
                    <a:pt x="168141" y="111589"/>
                  </a:lnTo>
                  <a:lnTo>
                    <a:pt x="176747" y="112673"/>
                  </a:lnTo>
                  <a:lnTo>
                    <a:pt x="185405" y="108723"/>
                  </a:lnTo>
                  <a:lnTo>
                    <a:pt x="193712" y="113156"/>
                  </a:lnTo>
                  <a:lnTo>
                    <a:pt x="193700" y="126613"/>
                  </a:lnTo>
                  <a:lnTo>
                    <a:pt x="190573" y="141130"/>
                  </a:lnTo>
                  <a:lnTo>
                    <a:pt x="186041" y="155338"/>
                  </a:lnTo>
                  <a:lnTo>
                    <a:pt x="182267" y="177151"/>
                  </a:lnTo>
                  <a:lnTo>
                    <a:pt x="161329" y="196169"/>
                  </a:lnTo>
                  <a:lnTo>
                    <a:pt x="143074" y="200168"/>
                  </a:lnTo>
                  <a:lnTo>
                    <a:pt x="117151" y="196370"/>
                  </a:lnTo>
                  <a:lnTo>
                    <a:pt x="93874" y="189603"/>
                  </a:lnTo>
                  <a:lnTo>
                    <a:pt x="116599" y="151996"/>
                  </a:lnTo>
                  <a:lnTo>
                    <a:pt x="113286" y="141134"/>
                  </a:lnTo>
                  <a:lnTo>
                    <a:pt x="89512" y="131534"/>
                  </a:lnTo>
                  <a:lnTo>
                    <a:pt x="61309" y="113444"/>
                  </a:lnTo>
                  <a:lnTo>
                    <a:pt x="42437" y="10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1" name="Freeform 25">
              <a:extLst>
                <a:ext uri="{FF2B5EF4-FFF2-40B4-BE49-F238E27FC236}">
                  <a16:creationId xmlns:a16="http://schemas.microsoft.com/office/drawing/2014/main" id="{90EF3615-BCF1-47CE-B0F6-356424144CC1}"/>
                </a:ext>
              </a:extLst>
            </p:cNvPr>
            <p:cNvSpPr>
              <a:spLocks noChangeAspect="1"/>
            </p:cNvSpPr>
            <p:nvPr>
              <p:custDataLst>
                <p:tags r:id="rId31"/>
              </p:custDataLst>
            </p:nvPr>
          </p:nvSpPr>
          <p:spPr>
            <a:xfrm>
              <a:off x="2281040" y="4192749"/>
              <a:ext cx="54754" cy="29988"/>
            </a:xfrm>
            <a:custGeom>
              <a:avLst/>
              <a:gdLst/>
              <a:ahLst/>
              <a:cxnLst/>
              <a:rect l="0" t="0" r="0" b="0"/>
              <a:pathLst>
                <a:path w="54754" h="29988">
                  <a:moveTo>
                    <a:pt x="53146" y="24458"/>
                  </a:moveTo>
                  <a:lnTo>
                    <a:pt x="50584" y="29987"/>
                  </a:lnTo>
                  <a:lnTo>
                    <a:pt x="37215" y="29637"/>
                  </a:lnTo>
                  <a:lnTo>
                    <a:pt x="28907" y="27388"/>
                  </a:lnTo>
                  <a:lnTo>
                    <a:pt x="19362" y="22718"/>
                  </a:lnTo>
                  <a:lnTo>
                    <a:pt x="6536" y="21259"/>
                  </a:lnTo>
                  <a:lnTo>
                    <a:pt x="0" y="16212"/>
                  </a:lnTo>
                  <a:lnTo>
                    <a:pt x="713" y="12763"/>
                  </a:lnTo>
                  <a:lnTo>
                    <a:pt x="8624" y="6827"/>
                  </a:lnTo>
                  <a:lnTo>
                    <a:pt x="12957" y="4224"/>
                  </a:lnTo>
                  <a:lnTo>
                    <a:pt x="11731" y="1450"/>
                  </a:lnTo>
                  <a:lnTo>
                    <a:pt x="17133" y="0"/>
                  </a:lnTo>
                  <a:lnTo>
                    <a:pt x="23938" y="1981"/>
                  </a:lnTo>
                  <a:lnTo>
                    <a:pt x="28911" y="6679"/>
                  </a:lnTo>
                  <a:lnTo>
                    <a:pt x="35878" y="10453"/>
                  </a:lnTo>
                  <a:lnTo>
                    <a:pt x="36737" y="13621"/>
                  </a:lnTo>
                  <a:lnTo>
                    <a:pt x="46863" y="10818"/>
                  </a:lnTo>
                  <a:lnTo>
                    <a:pt x="51614" y="12496"/>
                  </a:lnTo>
                  <a:lnTo>
                    <a:pt x="54753" y="15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2" name="Freeform 26">
              <a:extLst>
                <a:ext uri="{FF2B5EF4-FFF2-40B4-BE49-F238E27FC236}">
                  <a16:creationId xmlns:a16="http://schemas.microsoft.com/office/drawing/2014/main" id="{1354B942-8BE4-433A-BB54-D833EC734B69}"/>
                </a:ext>
              </a:extLst>
            </p:cNvPr>
            <p:cNvSpPr>
              <a:spLocks noChangeAspect="1"/>
            </p:cNvSpPr>
            <p:nvPr>
              <p:custDataLst>
                <p:tags r:id="rId32"/>
              </p:custDataLst>
            </p:nvPr>
          </p:nvSpPr>
          <p:spPr>
            <a:xfrm>
              <a:off x="3020860" y="4388726"/>
              <a:ext cx="94331" cy="97285"/>
            </a:xfrm>
            <a:custGeom>
              <a:avLst/>
              <a:gdLst/>
              <a:ahLst/>
              <a:cxnLst/>
              <a:rect l="0" t="0" r="0" b="0"/>
              <a:pathLst>
                <a:path w="94331" h="97285">
                  <a:moveTo>
                    <a:pt x="20711" y="1208"/>
                  </a:moveTo>
                  <a:lnTo>
                    <a:pt x="48366" y="5846"/>
                  </a:lnTo>
                  <a:lnTo>
                    <a:pt x="50849" y="1672"/>
                  </a:lnTo>
                  <a:lnTo>
                    <a:pt x="69512" y="0"/>
                  </a:lnTo>
                  <a:lnTo>
                    <a:pt x="94330" y="6225"/>
                  </a:lnTo>
                  <a:lnTo>
                    <a:pt x="82314" y="26126"/>
                  </a:lnTo>
                  <a:lnTo>
                    <a:pt x="84139" y="41950"/>
                  </a:lnTo>
                  <a:lnTo>
                    <a:pt x="93202" y="55649"/>
                  </a:lnTo>
                  <a:lnTo>
                    <a:pt x="89167" y="65592"/>
                  </a:lnTo>
                  <a:lnTo>
                    <a:pt x="87137" y="76158"/>
                  </a:lnTo>
                  <a:lnTo>
                    <a:pt x="81249" y="85872"/>
                  </a:lnTo>
                  <a:lnTo>
                    <a:pt x="68027" y="80978"/>
                  </a:lnTo>
                  <a:lnTo>
                    <a:pt x="57128" y="83339"/>
                  </a:lnTo>
                  <a:lnTo>
                    <a:pt x="47812" y="81287"/>
                  </a:lnTo>
                  <a:lnTo>
                    <a:pt x="45504" y="87974"/>
                  </a:lnTo>
                  <a:lnTo>
                    <a:pt x="49376" y="92565"/>
                  </a:lnTo>
                  <a:lnTo>
                    <a:pt x="47296" y="97284"/>
                  </a:lnTo>
                  <a:lnTo>
                    <a:pt x="34746" y="95393"/>
                  </a:lnTo>
                  <a:lnTo>
                    <a:pt x="20649" y="75314"/>
                  </a:lnTo>
                  <a:lnTo>
                    <a:pt x="17618" y="62271"/>
                  </a:lnTo>
                  <a:lnTo>
                    <a:pt x="10228" y="62244"/>
                  </a:lnTo>
                  <a:lnTo>
                    <a:pt x="0" y="45459"/>
                  </a:lnTo>
                  <a:lnTo>
                    <a:pt x="4258" y="33528"/>
                  </a:lnTo>
                  <a:lnTo>
                    <a:pt x="3010" y="28073"/>
                  </a:lnTo>
                  <a:lnTo>
                    <a:pt x="17022" y="220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3" name="Freeform 27">
              <a:extLst>
                <a:ext uri="{FF2B5EF4-FFF2-40B4-BE49-F238E27FC236}">
                  <a16:creationId xmlns:a16="http://schemas.microsoft.com/office/drawing/2014/main" id="{065C12FD-3902-4E2F-AA7F-6C45ECEAAADB}"/>
                </a:ext>
              </a:extLst>
            </p:cNvPr>
            <p:cNvSpPr>
              <a:spLocks noChangeAspect="1"/>
            </p:cNvSpPr>
            <p:nvPr>
              <p:custDataLst>
                <p:tags r:id="rId33"/>
              </p:custDataLst>
            </p:nvPr>
          </p:nvSpPr>
          <p:spPr>
            <a:xfrm>
              <a:off x="2930715" y="4275626"/>
              <a:ext cx="24353" cy="20765"/>
            </a:xfrm>
            <a:custGeom>
              <a:avLst/>
              <a:gdLst/>
              <a:ahLst/>
              <a:cxnLst/>
              <a:rect l="0" t="0" r="0" b="0"/>
              <a:pathLst>
                <a:path w="24353" h="20765">
                  <a:moveTo>
                    <a:pt x="6232" y="3035"/>
                  </a:moveTo>
                  <a:lnTo>
                    <a:pt x="19505" y="0"/>
                  </a:lnTo>
                  <a:lnTo>
                    <a:pt x="24352" y="817"/>
                  </a:lnTo>
                  <a:lnTo>
                    <a:pt x="23429" y="18200"/>
                  </a:lnTo>
                  <a:lnTo>
                    <a:pt x="4155" y="20764"/>
                  </a:lnTo>
                  <a:lnTo>
                    <a:pt x="0" y="18666"/>
                  </a:lnTo>
                  <a:lnTo>
                    <a:pt x="6694" y="122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4" name="Freeform 28">
              <a:extLst>
                <a:ext uri="{FF2B5EF4-FFF2-40B4-BE49-F238E27FC236}">
                  <a16:creationId xmlns:a16="http://schemas.microsoft.com/office/drawing/2014/main" id="{389511AB-72A8-41EE-A35C-25DE5E743692}"/>
                </a:ext>
              </a:extLst>
            </p:cNvPr>
            <p:cNvSpPr>
              <a:spLocks noChangeAspect="1"/>
            </p:cNvSpPr>
            <p:nvPr>
              <p:custDataLst>
                <p:tags r:id="rId34"/>
              </p:custDataLst>
            </p:nvPr>
          </p:nvSpPr>
          <p:spPr>
            <a:xfrm>
              <a:off x="3012033" y="5244410"/>
              <a:ext cx="120435" cy="124438"/>
            </a:xfrm>
            <a:custGeom>
              <a:avLst/>
              <a:gdLst/>
              <a:ahLst/>
              <a:cxnLst/>
              <a:rect l="0" t="0" r="0" b="0"/>
              <a:pathLst>
                <a:path w="120435" h="124438">
                  <a:moveTo>
                    <a:pt x="18511" y="2696"/>
                  </a:moveTo>
                  <a:lnTo>
                    <a:pt x="33494" y="0"/>
                  </a:lnTo>
                  <a:lnTo>
                    <a:pt x="56641" y="19602"/>
                  </a:lnTo>
                  <a:lnTo>
                    <a:pt x="65222" y="18861"/>
                  </a:lnTo>
                  <a:lnTo>
                    <a:pt x="88975" y="35169"/>
                  </a:lnTo>
                  <a:lnTo>
                    <a:pt x="107084" y="49294"/>
                  </a:lnTo>
                  <a:lnTo>
                    <a:pt x="120434" y="66756"/>
                  </a:lnTo>
                  <a:lnTo>
                    <a:pt x="110255" y="78977"/>
                  </a:lnTo>
                  <a:lnTo>
                    <a:pt x="116647" y="93622"/>
                  </a:lnTo>
                  <a:lnTo>
                    <a:pt x="106657" y="109941"/>
                  </a:lnTo>
                  <a:lnTo>
                    <a:pt x="80587" y="124437"/>
                  </a:lnTo>
                  <a:lnTo>
                    <a:pt x="63547" y="119215"/>
                  </a:lnTo>
                  <a:lnTo>
                    <a:pt x="51054" y="122013"/>
                  </a:lnTo>
                  <a:lnTo>
                    <a:pt x="29717" y="110817"/>
                  </a:lnTo>
                  <a:lnTo>
                    <a:pt x="14063" y="111653"/>
                  </a:lnTo>
                  <a:lnTo>
                    <a:pt x="0" y="97279"/>
                  </a:lnTo>
                  <a:lnTo>
                    <a:pt x="1788" y="80556"/>
                  </a:lnTo>
                  <a:lnTo>
                    <a:pt x="6796" y="74813"/>
                  </a:lnTo>
                  <a:lnTo>
                    <a:pt x="6570" y="49224"/>
                  </a:lnTo>
                  <a:lnTo>
                    <a:pt x="12745" y="229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5" name="Freeform 29">
              <a:extLst>
                <a:ext uri="{FF2B5EF4-FFF2-40B4-BE49-F238E27FC236}">
                  <a16:creationId xmlns:a16="http://schemas.microsoft.com/office/drawing/2014/main" id="{254BB29C-A8AB-4C8A-B0D4-267CA88A9AE3}"/>
                </a:ext>
              </a:extLst>
            </p:cNvPr>
            <p:cNvSpPr>
              <a:spLocks noChangeAspect="1"/>
            </p:cNvSpPr>
            <p:nvPr>
              <p:custDataLst>
                <p:tags r:id="rId35"/>
              </p:custDataLst>
            </p:nvPr>
          </p:nvSpPr>
          <p:spPr>
            <a:xfrm>
              <a:off x="395288" y="2512021"/>
              <a:ext cx="2451383" cy="1597290"/>
            </a:xfrm>
            <a:custGeom>
              <a:avLst/>
              <a:gdLst/>
              <a:ahLst/>
              <a:cxnLst/>
              <a:rect l="l" t="t" r="r" b="b"/>
              <a:pathLst>
                <a:path w="2451383" h="1597290">
                  <a:moveTo>
                    <a:pt x="2416535" y="1583598"/>
                  </a:moveTo>
                  <a:lnTo>
                    <a:pt x="2435423" y="1583737"/>
                  </a:lnTo>
                  <a:lnTo>
                    <a:pt x="2447221" y="1585840"/>
                  </a:lnTo>
                  <a:lnTo>
                    <a:pt x="2451383" y="1590580"/>
                  </a:lnTo>
                  <a:lnTo>
                    <a:pt x="2445470" y="1596590"/>
                  </a:lnTo>
                  <a:lnTo>
                    <a:pt x="2428094" y="1596449"/>
                  </a:lnTo>
                  <a:lnTo>
                    <a:pt x="2414608" y="1597290"/>
                  </a:lnTo>
                  <a:lnTo>
                    <a:pt x="2413263" y="1587086"/>
                  </a:lnTo>
                  <a:close/>
                  <a:moveTo>
                    <a:pt x="367708" y="1541755"/>
                  </a:moveTo>
                  <a:lnTo>
                    <a:pt x="369463" y="1542200"/>
                  </a:lnTo>
                  <a:lnTo>
                    <a:pt x="378301" y="1546260"/>
                  </a:lnTo>
                  <a:lnTo>
                    <a:pt x="382401" y="1548343"/>
                  </a:lnTo>
                  <a:lnTo>
                    <a:pt x="386147" y="1551558"/>
                  </a:lnTo>
                  <a:lnTo>
                    <a:pt x="392029" y="1559961"/>
                  </a:lnTo>
                  <a:lnTo>
                    <a:pt x="391474" y="1561289"/>
                  </a:lnTo>
                  <a:lnTo>
                    <a:pt x="382455" y="1566404"/>
                  </a:lnTo>
                  <a:lnTo>
                    <a:pt x="375070" y="1570144"/>
                  </a:lnTo>
                  <a:lnTo>
                    <a:pt x="371699" y="1574145"/>
                  </a:lnTo>
                  <a:lnTo>
                    <a:pt x="365963" y="1570720"/>
                  </a:lnTo>
                  <a:lnTo>
                    <a:pt x="366623" y="1564030"/>
                  </a:lnTo>
                  <a:lnTo>
                    <a:pt x="362805" y="1555304"/>
                  </a:lnTo>
                  <a:lnTo>
                    <a:pt x="363954" y="1552635"/>
                  </a:lnTo>
                  <a:lnTo>
                    <a:pt x="367962" y="1548720"/>
                  </a:lnTo>
                  <a:lnTo>
                    <a:pt x="366369" y="1543997"/>
                  </a:lnTo>
                  <a:close/>
                  <a:moveTo>
                    <a:pt x="350361" y="1523812"/>
                  </a:moveTo>
                  <a:lnTo>
                    <a:pt x="358566" y="1526104"/>
                  </a:lnTo>
                  <a:lnTo>
                    <a:pt x="364601" y="1529800"/>
                  </a:lnTo>
                  <a:lnTo>
                    <a:pt x="362672" y="1532692"/>
                  </a:lnTo>
                  <a:lnTo>
                    <a:pt x="354934" y="1534414"/>
                  </a:lnTo>
                  <a:lnTo>
                    <a:pt x="350958" y="1529343"/>
                  </a:lnTo>
                  <a:lnTo>
                    <a:pt x="348305" y="1527385"/>
                  </a:lnTo>
                  <a:lnTo>
                    <a:pt x="348099" y="1525879"/>
                  </a:lnTo>
                  <a:close/>
                  <a:moveTo>
                    <a:pt x="335641" y="1518816"/>
                  </a:moveTo>
                  <a:lnTo>
                    <a:pt x="346999" y="1519848"/>
                  </a:lnTo>
                  <a:lnTo>
                    <a:pt x="346281" y="1522456"/>
                  </a:lnTo>
                  <a:lnTo>
                    <a:pt x="333912" y="1521755"/>
                  </a:lnTo>
                  <a:close/>
                  <a:moveTo>
                    <a:pt x="317754" y="1506800"/>
                  </a:moveTo>
                  <a:lnTo>
                    <a:pt x="319683" y="1508353"/>
                  </a:lnTo>
                  <a:lnTo>
                    <a:pt x="326349" y="1516340"/>
                  </a:lnTo>
                  <a:lnTo>
                    <a:pt x="325098" y="1517734"/>
                  </a:lnTo>
                  <a:lnTo>
                    <a:pt x="323446" y="1517424"/>
                  </a:lnTo>
                  <a:lnTo>
                    <a:pt x="315412" y="1516575"/>
                  </a:lnTo>
                  <a:lnTo>
                    <a:pt x="312477" y="1511098"/>
                  </a:lnTo>
                  <a:lnTo>
                    <a:pt x="311580" y="1510132"/>
                  </a:lnTo>
                  <a:close/>
                  <a:moveTo>
                    <a:pt x="281491" y="1494228"/>
                  </a:moveTo>
                  <a:lnTo>
                    <a:pt x="286812" y="1494742"/>
                  </a:lnTo>
                  <a:lnTo>
                    <a:pt x="287287" y="1500386"/>
                  </a:lnTo>
                  <a:lnTo>
                    <a:pt x="284549" y="1502783"/>
                  </a:lnTo>
                  <a:lnTo>
                    <a:pt x="276775" y="1498368"/>
                  </a:lnTo>
                  <a:lnTo>
                    <a:pt x="277969" y="1496602"/>
                  </a:lnTo>
                  <a:close/>
                  <a:moveTo>
                    <a:pt x="1776755" y="773070"/>
                  </a:moveTo>
                  <a:lnTo>
                    <a:pt x="1780854" y="789445"/>
                  </a:lnTo>
                  <a:lnTo>
                    <a:pt x="1788030" y="794473"/>
                  </a:lnTo>
                  <a:lnTo>
                    <a:pt x="1804148" y="796297"/>
                  </a:lnTo>
                  <a:lnTo>
                    <a:pt x="1827712" y="801015"/>
                  </a:lnTo>
                  <a:lnTo>
                    <a:pt x="1850102" y="810176"/>
                  </a:lnTo>
                  <a:lnTo>
                    <a:pt x="1868799" y="806338"/>
                  </a:lnTo>
                  <a:lnTo>
                    <a:pt x="1897191" y="814008"/>
                  </a:lnTo>
                  <a:lnTo>
                    <a:pt x="1904741" y="813719"/>
                  </a:lnTo>
                  <a:lnTo>
                    <a:pt x="1925395" y="805365"/>
                  </a:lnTo>
                  <a:lnTo>
                    <a:pt x="1947054" y="816069"/>
                  </a:lnTo>
                  <a:lnTo>
                    <a:pt x="1969624" y="827426"/>
                  </a:lnTo>
                  <a:lnTo>
                    <a:pt x="1988313" y="837172"/>
                  </a:lnTo>
                  <a:lnTo>
                    <a:pt x="2006231" y="846505"/>
                  </a:lnTo>
                  <a:lnTo>
                    <a:pt x="2008467" y="854148"/>
                  </a:lnTo>
                  <a:lnTo>
                    <a:pt x="2013903" y="857002"/>
                  </a:lnTo>
                  <a:lnTo>
                    <a:pt x="2012491" y="859873"/>
                  </a:lnTo>
                  <a:lnTo>
                    <a:pt x="2018682" y="860766"/>
                  </a:lnTo>
                  <a:lnTo>
                    <a:pt x="2023173" y="857769"/>
                  </a:lnTo>
                  <a:lnTo>
                    <a:pt x="2024333" y="864624"/>
                  </a:lnTo>
                  <a:lnTo>
                    <a:pt x="2028975" y="869202"/>
                  </a:lnTo>
                  <a:lnTo>
                    <a:pt x="2035314" y="869202"/>
                  </a:lnTo>
                  <a:lnTo>
                    <a:pt x="2038698" y="872728"/>
                  </a:lnTo>
                  <a:lnTo>
                    <a:pt x="2035852" y="877848"/>
                  </a:lnTo>
                  <a:lnTo>
                    <a:pt x="2059902" y="891321"/>
                  </a:lnTo>
                  <a:lnTo>
                    <a:pt x="2064823" y="917186"/>
                  </a:lnTo>
                  <a:lnTo>
                    <a:pt x="2069442" y="941733"/>
                  </a:lnTo>
                  <a:lnTo>
                    <a:pt x="2062693" y="958312"/>
                  </a:lnTo>
                  <a:lnTo>
                    <a:pt x="2051845" y="973656"/>
                  </a:lnTo>
                  <a:lnTo>
                    <a:pt x="2046766" y="983378"/>
                  </a:lnTo>
                  <a:lnTo>
                    <a:pt x="2046259" y="986270"/>
                  </a:lnTo>
                  <a:lnTo>
                    <a:pt x="2048848" y="990226"/>
                  </a:lnTo>
                  <a:lnTo>
                    <a:pt x="2056690" y="994586"/>
                  </a:lnTo>
                  <a:lnTo>
                    <a:pt x="2062479" y="994586"/>
                  </a:lnTo>
                  <a:lnTo>
                    <a:pt x="2089291" y="979798"/>
                  </a:lnTo>
                  <a:lnTo>
                    <a:pt x="2113073" y="975430"/>
                  </a:lnTo>
                  <a:lnTo>
                    <a:pt x="2143267" y="961566"/>
                  </a:lnTo>
                  <a:lnTo>
                    <a:pt x="2143714" y="958732"/>
                  </a:lnTo>
                  <a:lnTo>
                    <a:pt x="2141636" y="950190"/>
                  </a:lnTo>
                  <a:lnTo>
                    <a:pt x="2137904" y="944678"/>
                  </a:lnTo>
                  <a:lnTo>
                    <a:pt x="2148324" y="940213"/>
                  </a:lnTo>
                  <a:lnTo>
                    <a:pt x="2171000" y="940102"/>
                  </a:lnTo>
                  <a:lnTo>
                    <a:pt x="2192186" y="940109"/>
                  </a:lnTo>
                  <a:lnTo>
                    <a:pt x="2199574" y="929121"/>
                  </a:lnTo>
                  <a:lnTo>
                    <a:pt x="2202459" y="926920"/>
                  </a:lnTo>
                  <a:lnTo>
                    <a:pt x="2226853" y="906486"/>
                  </a:lnTo>
                  <a:lnTo>
                    <a:pt x="2237268" y="901239"/>
                  </a:lnTo>
                  <a:lnTo>
                    <a:pt x="2272334" y="901043"/>
                  </a:lnTo>
                  <a:lnTo>
                    <a:pt x="2314870" y="901019"/>
                  </a:lnTo>
                  <a:lnTo>
                    <a:pt x="2317180" y="893968"/>
                  </a:lnTo>
                  <a:lnTo>
                    <a:pt x="2324570" y="892531"/>
                  </a:lnTo>
                  <a:lnTo>
                    <a:pt x="2334377" y="888098"/>
                  </a:lnTo>
                  <a:lnTo>
                    <a:pt x="2342571" y="875024"/>
                  </a:lnTo>
                  <a:lnTo>
                    <a:pt x="2349612" y="852523"/>
                  </a:lnTo>
                  <a:lnTo>
                    <a:pt x="2367218" y="830518"/>
                  </a:lnTo>
                  <a:lnTo>
                    <a:pt x="2374887" y="838200"/>
                  </a:lnTo>
                  <a:lnTo>
                    <a:pt x="2390365" y="833237"/>
                  </a:lnTo>
                  <a:lnTo>
                    <a:pt x="2400613" y="841661"/>
                  </a:lnTo>
                  <a:lnTo>
                    <a:pt x="2400593" y="881129"/>
                  </a:lnTo>
                  <a:lnTo>
                    <a:pt x="2415687" y="897326"/>
                  </a:lnTo>
                  <a:lnTo>
                    <a:pt x="2419675" y="906678"/>
                  </a:lnTo>
                  <a:lnTo>
                    <a:pt x="2395026" y="920441"/>
                  </a:lnTo>
                  <a:lnTo>
                    <a:pt x="2371309" y="930207"/>
                  </a:lnTo>
                  <a:lnTo>
                    <a:pt x="2346930" y="938553"/>
                  </a:lnTo>
                  <a:lnTo>
                    <a:pt x="2334712" y="955227"/>
                  </a:lnTo>
                  <a:lnTo>
                    <a:pt x="2330801" y="961519"/>
                  </a:lnTo>
                  <a:lnTo>
                    <a:pt x="2330568" y="976298"/>
                  </a:lnTo>
                  <a:lnTo>
                    <a:pt x="2338185" y="990995"/>
                  </a:lnTo>
                  <a:lnTo>
                    <a:pt x="2347765" y="991687"/>
                  </a:lnTo>
                  <a:lnTo>
                    <a:pt x="2345341" y="981575"/>
                  </a:lnTo>
                  <a:lnTo>
                    <a:pt x="2352266" y="987734"/>
                  </a:lnTo>
                  <a:lnTo>
                    <a:pt x="2350418" y="995634"/>
                  </a:lnTo>
                  <a:lnTo>
                    <a:pt x="2334838" y="1000110"/>
                  </a:lnTo>
                  <a:lnTo>
                    <a:pt x="2323750" y="999574"/>
                  </a:lnTo>
                  <a:lnTo>
                    <a:pt x="2306677" y="1004382"/>
                  </a:lnTo>
                  <a:lnTo>
                    <a:pt x="2296636" y="1005759"/>
                  </a:lnTo>
                  <a:lnTo>
                    <a:pt x="2283216" y="1007117"/>
                  </a:lnTo>
                  <a:lnTo>
                    <a:pt x="2263974" y="1015074"/>
                  </a:lnTo>
                  <a:lnTo>
                    <a:pt x="2297877" y="1009899"/>
                  </a:lnTo>
                  <a:lnTo>
                    <a:pt x="2304715" y="1015104"/>
                  </a:lnTo>
                  <a:lnTo>
                    <a:pt x="2272400" y="1023326"/>
                  </a:lnTo>
                  <a:lnTo>
                    <a:pt x="2257696" y="1023380"/>
                  </a:lnTo>
                  <a:lnTo>
                    <a:pt x="2258381" y="1020019"/>
                  </a:lnTo>
                  <a:lnTo>
                    <a:pt x="2251355" y="1027606"/>
                  </a:lnTo>
                  <a:lnTo>
                    <a:pt x="2258148" y="1028860"/>
                  </a:lnTo>
                  <a:lnTo>
                    <a:pt x="2253163" y="1048425"/>
                  </a:lnTo>
                  <a:lnTo>
                    <a:pt x="2236367" y="1069254"/>
                  </a:lnTo>
                  <a:lnTo>
                    <a:pt x="2234650" y="1062318"/>
                  </a:lnTo>
                  <a:lnTo>
                    <a:pt x="2229581" y="1060911"/>
                  </a:lnTo>
                  <a:lnTo>
                    <a:pt x="2222009" y="1054141"/>
                  </a:lnTo>
                  <a:lnTo>
                    <a:pt x="2226811" y="1068702"/>
                  </a:lnTo>
                  <a:lnTo>
                    <a:pt x="2232540" y="1073499"/>
                  </a:lnTo>
                  <a:lnTo>
                    <a:pt x="2232888" y="1083662"/>
                  </a:lnTo>
                  <a:lnTo>
                    <a:pt x="2225485" y="1094080"/>
                  </a:lnTo>
                  <a:lnTo>
                    <a:pt x="2212495" y="1115387"/>
                  </a:lnTo>
                  <a:lnTo>
                    <a:pt x="2210393" y="1114331"/>
                  </a:lnTo>
                  <a:lnTo>
                    <a:pt x="2217531" y="1096180"/>
                  </a:lnTo>
                  <a:lnTo>
                    <a:pt x="2205740" y="1085942"/>
                  </a:lnTo>
                  <a:lnTo>
                    <a:pt x="2203036" y="1063572"/>
                  </a:lnTo>
                  <a:lnTo>
                    <a:pt x="2198588" y="1075234"/>
                  </a:lnTo>
                  <a:lnTo>
                    <a:pt x="2203513" y="1092267"/>
                  </a:lnTo>
                  <a:lnTo>
                    <a:pt x="2188263" y="1088067"/>
                  </a:lnTo>
                  <a:lnTo>
                    <a:pt x="2204153" y="1096691"/>
                  </a:lnTo>
                  <a:lnTo>
                    <a:pt x="2205143" y="1122041"/>
                  </a:lnTo>
                  <a:lnTo>
                    <a:pt x="2211766" y="1123876"/>
                  </a:lnTo>
                  <a:lnTo>
                    <a:pt x="2214161" y="1133042"/>
                  </a:lnTo>
                  <a:lnTo>
                    <a:pt x="2217405" y="1159407"/>
                  </a:lnTo>
                  <a:lnTo>
                    <a:pt x="2202732" y="1178836"/>
                  </a:lnTo>
                  <a:lnTo>
                    <a:pt x="2178854" y="1186569"/>
                  </a:lnTo>
                  <a:lnTo>
                    <a:pt x="2163681" y="1201815"/>
                  </a:lnTo>
                  <a:lnTo>
                    <a:pt x="2152154" y="1203478"/>
                  </a:lnTo>
                  <a:lnTo>
                    <a:pt x="2140467" y="1212991"/>
                  </a:lnTo>
                  <a:lnTo>
                    <a:pt x="2137168" y="1221658"/>
                  </a:lnTo>
                  <a:lnTo>
                    <a:pt x="2111829" y="1238365"/>
                  </a:lnTo>
                  <a:lnTo>
                    <a:pt x="2098818" y="1250572"/>
                  </a:lnTo>
                  <a:lnTo>
                    <a:pt x="2087939" y="1265718"/>
                  </a:lnTo>
                  <a:lnTo>
                    <a:pt x="2084382" y="1283795"/>
                  </a:lnTo>
                  <a:lnTo>
                    <a:pt x="2088460" y="1301384"/>
                  </a:lnTo>
                  <a:lnTo>
                    <a:pt x="2096163" y="1322949"/>
                  </a:lnTo>
                  <a:lnTo>
                    <a:pt x="2106422" y="1340707"/>
                  </a:lnTo>
                  <a:lnTo>
                    <a:pt x="2106551" y="1351512"/>
                  </a:lnTo>
                  <a:lnTo>
                    <a:pt x="2117479" y="1380385"/>
                  </a:lnTo>
                  <a:lnTo>
                    <a:pt x="2116753" y="1397082"/>
                  </a:lnTo>
                  <a:lnTo>
                    <a:pt x="2115748" y="1406687"/>
                  </a:lnTo>
                  <a:lnTo>
                    <a:pt x="2109989" y="1421726"/>
                  </a:lnTo>
                  <a:lnTo>
                    <a:pt x="2103088" y="1424827"/>
                  </a:lnTo>
                  <a:lnTo>
                    <a:pt x="2091729" y="1421846"/>
                  </a:lnTo>
                  <a:lnTo>
                    <a:pt x="2088084" y="1411046"/>
                  </a:lnTo>
                  <a:lnTo>
                    <a:pt x="2079313" y="1405374"/>
                  </a:lnTo>
                  <a:lnTo>
                    <a:pt x="2067079" y="1384105"/>
                  </a:lnTo>
                  <a:lnTo>
                    <a:pt x="2056342" y="1365100"/>
                  </a:lnTo>
                  <a:lnTo>
                    <a:pt x="2052877" y="1355350"/>
                  </a:lnTo>
                  <a:lnTo>
                    <a:pt x="2057615" y="1338757"/>
                  </a:lnTo>
                  <a:lnTo>
                    <a:pt x="2051152" y="1324959"/>
                  </a:lnTo>
                  <a:lnTo>
                    <a:pt x="2033157" y="1303884"/>
                  </a:lnTo>
                  <a:lnTo>
                    <a:pt x="2024146" y="1300007"/>
                  </a:lnTo>
                  <a:lnTo>
                    <a:pt x="2000859" y="1311465"/>
                  </a:lnTo>
                  <a:lnTo>
                    <a:pt x="1996727" y="1310205"/>
                  </a:lnTo>
                  <a:lnTo>
                    <a:pt x="1985526" y="1298424"/>
                  </a:lnTo>
                  <a:lnTo>
                    <a:pt x="1971055" y="1292162"/>
                  </a:lnTo>
                  <a:lnTo>
                    <a:pt x="1944964" y="1295344"/>
                  </a:lnTo>
                  <a:lnTo>
                    <a:pt x="1924479" y="1292545"/>
                  </a:lnTo>
                  <a:lnTo>
                    <a:pt x="1906874" y="1294290"/>
                  </a:lnTo>
                  <a:lnTo>
                    <a:pt x="1897333" y="1298237"/>
                  </a:lnTo>
                  <a:lnTo>
                    <a:pt x="1901490" y="1304954"/>
                  </a:lnTo>
                  <a:lnTo>
                    <a:pt x="1901115" y="1315182"/>
                  </a:lnTo>
                  <a:lnTo>
                    <a:pt x="1906016" y="1320155"/>
                  </a:lnTo>
                  <a:lnTo>
                    <a:pt x="1901617" y="1323461"/>
                  </a:lnTo>
                  <a:lnTo>
                    <a:pt x="1893052" y="1319751"/>
                  </a:lnTo>
                  <a:lnTo>
                    <a:pt x="1884388" y="1324521"/>
                  </a:lnTo>
                  <a:lnTo>
                    <a:pt x="1867640" y="1323740"/>
                  </a:lnTo>
                  <a:lnTo>
                    <a:pt x="1850407" y="1310435"/>
                  </a:lnTo>
                  <a:lnTo>
                    <a:pt x="1830273" y="1313578"/>
                  </a:lnTo>
                  <a:lnTo>
                    <a:pt x="1813484" y="1307742"/>
                  </a:lnTo>
                  <a:lnTo>
                    <a:pt x="1799126" y="1309511"/>
                  </a:lnTo>
                  <a:lnTo>
                    <a:pt x="1779700" y="1315399"/>
                  </a:lnTo>
                  <a:lnTo>
                    <a:pt x="1758689" y="1334030"/>
                  </a:lnTo>
                  <a:lnTo>
                    <a:pt x="1735750" y="1344827"/>
                  </a:lnTo>
                  <a:lnTo>
                    <a:pt x="1723147" y="1356753"/>
                  </a:lnTo>
                  <a:lnTo>
                    <a:pt x="1717838" y="1367963"/>
                  </a:lnTo>
                  <a:lnTo>
                    <a:pt x="1717608" y="1385096"/>
                  </a:lnTo>
                  <a:lnTo>
                    <a:pt x="1718761" y="1396977"/>
                  </a:lnTo>
                  <a:lnTo>
                    <a:pt x="1723147" y="1405374"/>
                  </a:lnTo>
                  <a:lnTo>
                    <a:pt x="1714145" y="1406114"/>
                  </a:lnTo>
                  <a:lnTo>
                    <a:pt x="1697757" y="1400683"/>
                  </a:lnTo>
                  <a:lnTo>
                    <a:pt x="1679752" y="1393020"/>
                  </a:lnTo>
                  <a:lnTo>
                    <a:pt x="1673289" y="1381377"/>
                  </a:lnTo>
                  <a:lnTo>
                    <a:pt x="1668211" y="1363980"/>
                  </a:lnTo>
                  <a:lnTo>
                    <a:pt x="1654592" y="1349764"/>
                  </a:lnTo>
                  <a:lnTo>
                    <a:pt x="1646609" y="1335096"/>
                  </a:lnTo>
                  <a:lnTo>
                    <a:pt x="1635027" y="1317900"/>
                  </a:lnTo>
                  <a:lnTo>
                    <a:pt x="1618758" y="1307855"/>
                  </a:lnTo>
                  <a:lnTo>
                    <a:pt x="1599886" y="1308341"/>
                  </a:lnTo>
                  <a:lnTo>
                    <a:pt x="1585344" y="1328225"/>
                  </a:lnTo>
                  <a:lnTo>
                    <a:pt x="1566185" y="1320685"/>
                  </a:lnTo>
                  <a:lnTo>
                    <a:pt x="1554252" y="1313083"/>
                  </a:lnTo>
                  <a:lnTo>
                    <a:pt x="1548510" y="1299205"/>
                  </a:lnTo>
                  <a:lnTo>
                    <a:pt x="1540855" y="1285976"/>
                  </a:lnTo>
                  <a:lnTo>
                    <a:pt x="1527139" y="1274803"/>
                  </a:lnTo>
                  <a:lnTo>
                    <a:pt x="1515336" y="1266752"/>
                  </a:lnTo>
                  <a:lnTo>
                    <a:pt x="1506918" y="1257702"/>
                  </a:lnTo>
                  <a:lnTo>
                    <a:pt x="1466930" y="1257693"/>
                  </a:lnTo>
                  <a:lnTo>
                    <a:pt x="1466885" y="1268223"/>
                  </a:lnTo>
                  <a:lnTo>
                    <a:pt x="1448579" y="1268231"/>
                  </a:lnTo>
                  <a:lnTo>
                    <a:pt x="1402676" y="1268414"/>
                  </a:lnTo>
                  <a:lnTo>
                    <a:pt x="1350016" y="1250422"/>
                  </a:lnTo>
                  <a:lnTo>
                    <a:pt x="1315161" y="1237956"/>
                  </a:lnTo>
                  <a:lnTo>
                    <a:pt x="1317322" y="1232929"/>
                  </a:lnTo>
                  <a:lnTo>
                    <a:pt x="1288008" y="1235717"/>
                  </a:lnTo>
                  <a:lnTo>
                    <a:pt x="1261776" y="1237697"/>
                  </a:lnTo>
                  <a:lnTo>
                    <a:pt x="1257894" y="1224550"/>
                  </a:lnTo>
                  <a:lnTo>
                    <a:pt x="1242935" y="1209698"/>
                  </a:lnTo>
                  <a:lnTo>
                    <a:pt x="1232165" y="1206599"/>
                  </a:lnTo>
                  <a:lnTo>
                    <a:pt x="1229642" y="1199160"/>
                  </a:lnTo>
                  <a:lnTo>
                    <a:pt x="1216690" y="1197856"/>
                  </a:lnTo>
                  <a:lnTo>
                    <a:pt x="1208430" y="1190826"/>
                  </a:lnTo>
                  <a:lnTo>
                    <a:pt x="1186988" y="1188259"/>
                  </a:lnTo>
                  <a:lnTo>
                    <a:pt x="1181100" y="1184053"/>
                  </a:lnTo>
                  <a:lnTo>
                    <a:pt x="1178296" y="1169731"/>
                  </a:lnTo>
                  <a:lnTo>
                    <a:pt x="1155900" y="1143336"/>
                  </a:lnTo>
                  <a:lnTo>
                    <a:pt x="1136675" y="1106470"/>
                  </a:lnTo>
                  <a:lnTo>
                    <a:pt x="1137493" y="1100287"/>
                  </a:lnTo>
                  <a:lnTo>
                    <a:pt x="1127310" y="1091451"/>
                  </a:lnTo>
                  <a:lnTo>
                    <a:pt x="1109444" y="1068926"/>
                  </a:lnTo>
                  <a:lnTo>
                    <a:pt x="1106259" y="1046857"/>
                  </a:lnTo>
                  <a:lnTo>
                    <a:pt x="1093958" y="1031985"/>
                  </a:lnTo>
                  <a:lnTo>
                    <a:pt x="1099018" y="1009280"/>
                  </a:lnTo>
                  <a:lnTo>
                    <a:pt x="1098214" y="985606"/>
                  </a:lnTo>
                  <a:lnTo>
                    <a:pt x="1090847" y="964292"/>
                  </a:lnTo>
                  <a:lnTo>
                    <a:pt x="1099866" y="937868"/>
                  </a:lnTo>
                  <a:lnTo>
                    <a:pt x="1102673" y="912191"/>
                  </a:lnTo>
                  <a:lnTo>
                    <a:pt x="1105480" y="886279"/>
                  </a:lnTo>
                  <a:lnTo>
                    <a:pt x="1101308" y="847533"/>
                  </a:lnTo>
                  <a:lnTo>
                    <a:pt x="1094014" y="822532"/>
                  </a:lnTo>
                  <a:lnTo>
                    <a:pt x="1087284" y="808865"/>
                  </a:lnTo>
                  <a:lnTo>
                    <a:pt x="1090079" y="803095"/>
                  </a:lnTo>
                  <a:lnTo>
                    <a:pt x="1123459" y="813124"/>
                  </a:lnTo>
                  <a:lnTo>
                    <a:pt x="1135754" y="840797"/>
                  </a:lnTo>
                  <a:lnTo>
                    <a:pt x="1141464" y="833087"/>
                  </a:lnTo>
                  <a:lnTo>
                    <a:pt x="1137771" y="808995"/>
                  </a:lnTo>
                  <a:lnTo>
                    <a:pt x="1129923" y="784684"/>
                  </a:lnTo>
                  <a:lnTo>
                    <a:pt x="1195477" y="784684"/>
                  </a:lnTo>
                  <a:lnTo>
                    <a:pt x="1264005" y="784684"/>
                  </a:lnTo>
                  <a:lnTo>
                    <a:pt x="1286696" y="784684"/>
                  </a:lnTo>
                  <a:lnTo>
                    <a:pt x="1357056" y="784684"/>
                  </a:lnTo>
                  <a:lnTo>
                    <a:pt x="1425150" y="784684"/>
                  </a:lnTo>
                  <a:lnTo>
                    <a:pt x="1494398" y="784684"/>
                  </a:lnTo>
                  <a:lnTo>
                    <a:pt x="1563686" y="784688"/>
                  </a:lnTo>
                  <a:lnTo>
                    <a:pt x="1642127" y="784684"/>
                  </a:lnTo>
                  <a:lnTo>
                    <a:pt x="1721099" y="784663"/>
                  </a:lnTo>
                  <a:lnTo>
                    <a:pt x="1768873" y="784684"/>
                  </a:lnTo>
                  <a:lnTo>
                    <a:pt x="1768941" y="773213"/>
                  </a:lnTo>
                  <a:close/>
                  <a:moveTo>
                    <a:pt x="428469" y="502080"/>
                  </a:moveTo>
                  <a:lnTo>
                    <a:pt x="443795" y="504339"/>
                  </a:lnTo>
                  <a:lnTo>
                    <a:pt x="453574" y="514689"/>
                  </a:lnTo>
                  <a:lnTo>
                    <a:pt x="433603" y="530447"/>
                  </a:lnTo>
                  <a:lnTo>
                    <a:pt x="410549" y="543008"/>
                  </a:lnTo>
                  <a:lnTo>
                    <a:pt x="398746" y="534511"/>
                  </a:lnTo>
                  <a:lnTo>
                    <a:pt x="395178" y="519006"/>
                  </a:lnTo>
                  <a:lnTo>
                    <a:pt x="416142" y="507173"/>
                  </a:lnTo>
                  <a:close/>
                  <a:moveTo>
                    <a:pt x="122876" y="419796"/>
                  </a:moveTo>
                  <a:lnTo>
                    <a:pt x="141189" y="422937"/>
                  </a:lnTo>
                  <a:lnTo>
                    <a:pt x="143388" y="436191"/>
                  </a:lnTo>
                  <a:lnTo>
                    <a:pt x="129225" y="441543"/>
                  </a:lnTo>
                  <a:lnTo>
                    <a:pt x="114092" y="435109"/>
                  </a:lnTo>
                  <a:lnTo>
                    <a:pt x="100083" y="425726"/>
                  </a:lnTo>
                  <a:close/>
                  <a:moveTo>
                    <a:pt x="1372" y="298556"/>
                  </a:moveTo>
                  <a:lnTo>
                    <a:pt x="15619" y="305529"/>
                  </a:lnTo>
                  <a:lnTo>
                    <a:pt x="30007" y="301766"/>
                  </a:lnTo>
                  <a:lnTo>
                    <a:pt x="48672" y="311413"/>
                  </a:lnTo>
                  <a:lnTo>
                    <a:pt x="71595" y="316282"/>
                  </a:lnTo>
                  <a:lnTo>
                    <a:pt x="69690" y="320242"/>
                  </a:lnTo>
                  <a:lnTo>
                    <a:pt x="52205" y="327917"/>
                  </a:lnTo>
                  <a:lnTo>
                    <a:pt x="34637" y="320030"/>
                  </a:lnTo>
                  <a:lnTo>
                    <a:pt x="25846" y="313429"/>
                  </a:lnTo>
                  <a:lnTo>
                    <a:pt x="5495" y="315543"/>
                  </a:lnTo>
                  <a:lnTo>
                    <a:pt x="0" y="312335"/>
                  </a:lnTo>
                  <a:close/>
                  <a:moveTo>
                    <a:pt x="351094" y="0"/>
                  </a:moveTo>
                  <a:lnTo>
                    <a:pt x="386019" y="8900"/>
                  </a:lnTo>
                  <a:lnTo>
                    <a:pt x="402722" y="27896"/>
                  </a:lnTo>
                  <a:lnTo>
                    <a:pt x="412974" y="19771"/>
                  </a:lnTo>
                  <a:lnTo>
                    <a:pt x="451984" y="22293"/>
                  </a:lnTo>
                  <a:lnTo>
                    <a:pt x="450599" y="31930"/>
                  </a:lnTo>
                  <a:lnTo>
                    <a:pt x="485916" y="39023"/>
                  </a:lnTo>
                  <a:lnTo>
                    <a:pt x="509460" y="34853"/>
                  </a:lnTo>
                  <a:lnTo>
                    <a:pt x="558087" y="47998"/>
                  </a:lnTo>
                  <a:lnTo>
                    <a:pt x="602484" y="51892"/>
                  </a:lnTo>
                  <a:lnTo>
                    <a:pt x="620257" y="57266"/>
                  </a:lnTo>
                  <a:lnTo>
                    <a:pt x="650970" y="50547"/>
                  </a:lnTo>
                  <a:lnTo>
                    <a:pt x="685985" y="62955"/>
                  </a:lnTo>
                  <a:lnTo>
                    <a:pt x="711065" y="68706"/>
                  </a:lnTo>
                  <a:lnTo>
                    <a:pt x="710914" y="215563"/>
                  </a:lnTo>
                  <a:lnTo>
                    <a:pt x="710793" y="422493"/>
                  </a:lnTo>
                  <a:lnTo>
                    <a:pt x="733524" y="423518"/>
                  </a:lnTo>
                  <a:lnTo>
                    <a:pt x="756006" y="433088"/>
                  </a:lnTo>
                  <a:lnTo>
                    <a:pt x="772120" y="448143"/>
                  </a:lnTo>
                  <a:lnTo>
                    <a:pt x="792627" y="470546"/>
                  </a:lnTo>
                  <a:lnTo>
                    <a:pt x="815081" y="451506"/>
                  </a:lnTo>
                  <a:lnTo>
                    <a:pt x="838254" y="440397"/>
                  </a:lnTo>
                  <a:lnTo>
                    <a:pt x="850507" y="458111"/>
                  </a:lnTo>
                  <a:lnTo>
                    <a:pt x="866062" y="472035"/>
                  </a:lnTo>
                  <a:lnTo>
                    <a:pt x="887196" y="487267"/>
                  </a:lnTo>
                  <a:lnTo>
                    <a:pt x="901625" y="511298"/>
                  </a:lnTo>
                  <a:lnTo>
                    <a:pt x="925230" y="549001"/>
                  </a:lnTo>
                  <a:lnTo>
                    <a:pt x="964471" y="569767"/>
                  </a:lnTo>
                  <a:lnTo>
                    <a:pt x="965112" y="590176"/>
                  </a:lnTo>
                  <a:lnTo>
                    <a:pt x="952276" y="605660"/>
                  </a:lnTo>
                  <a:lnTo>
                    <a:pt x="939587" y="593591"/>
                  </a:lnTo>
                  <a:lnTo>
                    <a:pt x="919242" y="583312"/>
                  </a:lnTo>
                  <a:lnTo>
                    <a:pt x="912714" y="554963"/>
                  </a:lnTo>
                  <a:lnTo>
                    <a:pt x="882957" y="528362"/>
                  </a:lnTo>
                  <a:lnTo>
                    <a:pt x="870518" y="496919"/>
                  </a:lnTo>
                  <a:lnTo>
                    <a:pt x="848355" y="494750"/>
                  </a:lnTo>
                  <a:lnTo>
                    <a:pt x="811657" y="493928"/>
                  </a:lnTo>
                  <a:lnTo>
                    <a:pt x="784605" y="484244"/>
                  </a:lnTo>
                  <a:lnTo>
                    <a:pt x="736876" y="448977"/>
                  </a:lnTo>
                  <a:lnTo>
                    <a:pt x="714774" y="442468"/>
                  </a:lnTo>
                  <a:lnTo>
                    <a:pt x="674399" y="430173"/>
                  </a:lnTo>
                  <a:lnTo>
                    <a:pt x="642442" y="433117"/>
                  </a:lnTo>
                  <a:lnTo>
                    <a:pt x="597046" y="417211"/>
                  </a:lnTo>
                  <a:lnTo>
                    <a:pt x="569605" y="402359"/>
                  </a:lnTo>
                  <a:lnTo>
                    <a:pt x="543985" y="409750"/>
                  </a:lnTo>
                  <a:lnTo>
                    <a:pt x="548745" y="433836"/>
                  </a:lnTo>
                  <a:lnTo>
                    <a:pt x="535986" y="436047"/>
                  </a:lnTo>
                  <a:lnTo>
                    <a:pt x="509279" y="443219"/>
                  </a:lnTo>
                  <a:lnTo>
                    <a:pt x="488957" y="454777"/>
                  </a:lnTo>
                  <a:lnTo>
                    <a:pt x="463378" y="462021"/>
                  </a:lnTo>
                  <a:lnTo>
                    <a:pt x="460076" y="441868"/>
                  </a:lnTo>
                  <a:lnTo>
                    <a:pt x="470457" y="407908"/>
                  </a:lnTo>
                  <a:lnTo>
                    <a:pt x="494989" y="397143"/>
                  </a:lnTo>
                  <a:lnTo>
                    <a:pt x="488660" y="388331"/>
                  </a:lnTo>
                  <a:lnTo>
                    <a:pt x="459236" y="407860"/>
                  </a:lnTo>
                  <a:lnTo>
                    <a:pt x="443482" y="430960"/>
                  </a:lnTo>
                  <a:lnTo>
                    <a:pt x="410224" y="455390"/>
                  </a:lnTo>
                  <a:lnTo>
                    <a:pt x="427113" y="471912"/>
                  </a:lnTo>
                  <a:lnTo>
                    <a:pt x="405300" y="496137"/>
                  </a:lnTo>
                  <a:lnTo>
                    <a:pt x="380486" y="510135"/>
                  </a:lnTo>
                  <a:lnTo>
                    <a:pt x="357384" y="520281"/>
                  </a:lnTo>
                  <a:lnTo>
                    <a:pt x="351665" y="534932"/>
                  </a:lnTo>
                  <a:lnTo>
                    <a:pt x="315630" y="551900"/>
                  </a:lnTo>
                  <a:lnTo>
                    <a:pt x="308334" y="567221"/>
                  </a:lnTo>
                  <a:lnTo>
                    <a:pt x="281326" y="581085"/>
                  </a:lnTo>
                  <a:lnTo>
                    <a:pt x="265483" y="578597"/>
                  </a:lnTo>
                  <a:lnTo>
                    <a:pt x="243939" y="587606"/>
                  </a:lnTo>
                  <a:lnTo>
                    <a:pt x="220517" y="598563"/>
                  </a:lnTo>
                  <a:lnTo>
                    <a:pt x="201319" y="609274"/>
                  </a:lnTo>
                  <a:lnTo>
                    <a:pt x="161707" y="618382"/>
                  </a:lnTo>
                  <a:lnTo>
                    <a:pt x="158091" y="613026"/>
                  </a:lnTo>
                  <a:lnTo>
                    <a:pt x="183340" y="598073"/>
                  </a:lnTo>
                  <a:lnTo>
                    <a:pt x="205923" y="588144"/>
                  </a:lnTo>
                  <a:lnTo>
                    <a:pt x="230525" y="570444"/>
                  </a:lnTo>
                  <a:lnTo>
                    <a:pt x="259161" y="566769"/>
                  </a:lnTo>
                  <a:lnTo>
                    <a:pt x="270542" y="553391"/>
                  </a:lnTo>
                  <a:lnTo>
                    <a:pt x="302537" y="533721"/>
                  </a:lnTo>
                  <a:lnTo>
                    <a:pt x="307693" y="527104"/>
                  </a:lnTo>
                  <a:lnTo>
                    <a:pt x="324735" y="515390"/>
                  </a:lnTo>
                  <a:lnTo>
                    <a:pt x="328716" y="490026"/>
                  </a:lnTo>
                  <a:lnTo>
                    <a:pt x="340456" y="470075"/>
                  </a:lnTo>
                  <a:lnTo>
                    <a:pt x="313841" y="480336"/>
                  </a:lnTo>
                  <a:lnTo>
                    <a:pt x="306397" y="474520"/>
                  </a:lnTo>
                  <a:lnTo>
                    <a:pt x="293900" y="486799"/>
                  </a:lnTo>
                  <a:lnTo>
                    <a:pt x="278826" y="469651"/>
                  </a:lnTo>
                  <a:lnTo>
                    <a:pt x="272602" y="481797"/>
                  </a:lnTo>
                  <a:lnTo>
                    <a:pt x="263970" y="464904"/>
                  </a:lnTo>
                  <a:lnTo>
                    <a:pt x="240893" y="478476"/>
                  </a:lnTo>
                  <a:lnTo>
                    <a:pt x="226723" y="478448"/>
                  </a:lnTo>
                  <a:lnTo>
                    <a:pt x="224736" y="458235"/>
                  </a:lnTo>
                  <a:lnTo>
                    <a:pt x="228909" y="445691"/>
                  </a:lnTo>
                  <a:lnTo>
                    <a:pt x="214047" y="433443"/>
                  </a:lnTo>
                  <a:lnTo>
                    <a:pt x="184033" y="440044"/>
                  </a:lnTo>
                  <a:lnTo>
                    <a:pt x="164554" y="423842"/>
                  </a:lnTo>
                  <a:lnTo>
                    <a:pt x="148761" y="415512"/>
                  </a:lnTo>
                  <a:lnTo>
                    <a:pt x="148659" y="395729"/>
                  </a:lnTo>
                  <a:lnTo>
                    <a:pt x="130872" y="380728"/>
                  </a:lnTo>
                  <a:lnTo>
                    <a:pt x="139804" y="360321"/>
                  </a:lnTo>
                  <a:lnTo>
                    <a:pt x="158622" y="340329"/>
                  </a:lnTo>
                  <a:lnTo>
                    <a:pt x="166855" y="321775"/>
                  </a:lnTo>
                  <a:lnTo>
                    <a:pt x="185534" y="319121"/>
                  </a:lnTo>
                  <a:lnTo>
                    <a:pt x="201370" y="324928"/>
                  </a:lnTo>
                  <a:lnTo>
                    <a:pt x="219991" y="307367"/>
                  </a:lnTo>
                  <a:lnTo>
                    <a:pt x="236751" y="310512"/>
                  </a:lnTo>
                  <a:lnTo>
                    <a:pt x="254339" y="299158"/>
                  </a:lnTo>
                  <a:lnTo>
                    <a:pt x="250050" y="282336"/>
                  </a:lnTo>
                  <a:lnTo>
                    <a:pt x="237129" y="275669"/>
                  </a:lnTo>
                  <a:lnTo>
                    <a:pt x="254217" y="261308"/>
                  </a:lnTo>
                  <a:lnTo>
                    <a:pt x="240041" y="261732"/>
                  </a:lnTo>
                  <a:lnTo>
                    <a:pt x="215547" y="269850"/>
                  </a:lnTo>
                  <a:lnTo>
                    <a:pt x="208513" y="278049"/>
                  </a:lnTo>
                  <a:lnTo>
                    <a:pt x="190310" y="269860"/>
                  </a:lnTo>
                  <a:lnTo>
                    <a:pt x="157661" y="274031"/>
                  </a:lnTo>
                  <a:lnTo>
                    <a:pt x="123857" y="265112"/>
                  </a:lnTo>
                  <a:lnTo>
                    <a:pt x="114169" y="250061"/>
                  </a:lnTo>
                  <a:lnTo>
                    <a:pt x="84957" y="228125"/>
                  </a:lnTo>
                  <a:lnTo>
                    <a:pt x="117395" y="212189"/>
                  </a:lnTo>
                  <a:lnTo>
                    <a:pt x="168882" y="193430"/>
                  </a:lnTo>
                  <a:lnTo>
                    <a:pt x="187861" y="193430"/>
                  </a:lnTo>
                  <a:lnTo>
                    <a:pt x="184719" y="212614"/>
                  </a:lnTo>
                  <a:lnTo>
                    <a:pt x="233443" y="211126"/>
                  </a:lnTo>
                  <a:lnTo>
                    <a:pt x="214701" y="187289"/>
                  </a:lnTo>
                  <a:lnTo>
                    <a:pt x="186309" y="172496"/>
                  </a:lnTo>
                  <a:lnTo>
                    <a:pt x="169891" y="152913"/>
                  </a:lnTo>
                  <a:lnTo>
                    <a:pt x="147748" y="136060"/>
                  </a:lnTo>
                  <a:lnTo>
                    <a:pt x="116029" y="123476"/>
                  </a:lnTo>
                  <a:lnTo>
                    <a:pt x="128949" y="102436"/>
                  </a:lnTo>
                  <a:lnTo>
                    <a:pt x="169895" y="101124"/>
                  </a:lnTo>
                  <a:lnTo>
                    <a:pt x="199030" y="82645"/>
                  </a:lnTo>
                  <a:lnTo>
                    <a:pt x="204525" y="62703"/>
                  </a:lnTo>
                  <a:lnTo>
                    <a:pt x="228108" y="43045"/>
                  </a:lnTo>
                  <a:lnTo>
                    <a:pt x="250593" y="38286"/>
                  </a:lnTo>
                  <a:lnTo>
                    <a:pt x="294349" y="19702"/>
                  </a:lnTo>
                  <a:lnTo>
                    <a:pt x="315572" y="225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6" name="Freeform 30">
              <a:extLst>
                <a:ext uri="{FF2B5EF4-FFF2-40B4-BE49-F238E27FC236}">
                  <a16:creationId xmlns:a16="http://schemas.microsoft.com/office/drawing/2014/main" id="{D458D9DA-4224-46F8-8917-579441790A07}"/>
                </a:ext>
              </a:extLst>
            </p:cNvPr>
            <p:cNvSpPr>
              <a:spLocks noChangeAspect="1"/>
            </p:cNvSpPr>
            <p:nvPr>
              <p:custDataLst>
                <p:tags r:id="rId36"/>
              </p:custDataLst>
            </p:nvPr>
          </p:nvSpPr>
          <p:spPr>
            <a:xfrm>
              <a:off x="2668612" y="4245873"/>
              <a:ext cx="312694" cy="265376"/>
            </a:xfrm>
            <a:custGeom>
              <a:avLst/>
              <a:gdLst/>
              <a:ahLst/>
              <a:cxnLst/>
              <a:rect l="0" t="0" r="0" b="0"/>
              <a:pathLst>
                <a:path w="312694" h="265376">
                  <a:moveTo>
                    <a:pt x="45551" y="9036"/>
                  </a:moveTo>
                  <a:lnTo>
                    <a:pt x="44894" y="14563"/>
                  </a:lnTo>
                  <a:lnTo>
                    <a:pt x="31344" y="17292"/>
                  </a:lnTo>
                  <a:lnTo>
                    <a:pt x="38873" y="27897"/>
                  </a:lnTo>
                  <a:lnTo>
                    <a:pt x="38592" y="40105"/>
                  </a:lnTo>
                  <a:lnTo>
                    <a:pt x="28410" y="53648"/>
                  </a:lnTo>
                  <a:lnTo>
                    <a:pt x="37147" y="72123"/>
                  </a:lnTo>
                  <a:lnTo>
                    <a:pt x="47098" y="70612"/>
                  </a:lnTo>
                  <a:lnTo>
                    <a:pt x="52281" y="53780"/>
                  </a:lnTo>
                  <a:lnTo>
                    <a:pt x="45124" y="45576"/>
                  </a:lnTo>
                  <a:lnTo>
                    <a:pt x="43957" y="27909"/>
                  </a:lnTo>
                  <a:lnTo>
                    <a:pt x="72702" y="18410"/>
                  </a:lnTo>
                  <a:lnTo>
                    <a:pt x="69504" y="7386"/>
                  </a:lnTo>
                  <a:lnTo>
                    <a:pt x="77597" y="0"/>
                  </a:lnTo>
                  <a:lnTo>
                    <a:pt x="85883" y="16443"/>
                  </a:lnTo>
                  <a:lnTo>
                    <a:pt x="102071" y="16823"/>
                  </a:lnTo>
                  <a:lnTo>
                    <a:pt x="117068" y="29852"/>
                  </a:lnTo>
                  <a:lnTo>
                    <a:pt x="117971" y="37581"/>
                  </a:lnTo>
                  <a:lnTo>
                    <a:pt x="138697" y="37786"/>
                  </a:lnTo>
                  <a:lnTo>
                    <a:pt x="163358" y="35388"/>
                  </a:lnTo>
                  <a:lnTo>
                    <a:pt x="176576" y="45836"/>
                  </a:lnTo>
                  <a:lnTo>
                    <a:pt x="194229" y="48717"/>
                  </a:lnTo>
                  <a:lnTo>
                    <a:pt x="207178" y="41432"/>
                  </a:lnTo>
                  <a:lnTo>
                    <a:pt x="207443" y="35556"/>
                  </a:lnTo>
                  <a:lnTo>
                    <a:pt x="236035" y="34149"/>
                  </a:lnTo>
                  <a:lnTo>
                    <a:pt x="263697" y="33824"/>
                  </a:lnTo>
                  <a:lnTo>
                    <a:pt x="244095" y="40717"/>
                  </a:lnTo>
                  <a:lnTo>
                    <a:pt x="251981" y="51724"/>
                  </a:lnTo>
                  <a:lnTo>
                    <a:pt x="270441" y="53475"/>
                  </a:lnTo>
                  <a:lnTo>
                    <a:pt x="287942" y="64929"/>
                  </a:lnTo>
                  <a:lnTo>
                    <a:pt x="291620" y="83569"/>
                  </a:lnTo>
                  <a:lnTo>
                    <a:pt x="303649" y="83044"/>
                  </a:lnTo>
                  <a:lnTo>
                    <a:pt x="312693" y="88523"/>
                  </a:lnTo>
                  <a:lnTo>
                    <a:pt x="294405" y="102169"/>
                  </a:lnTo>
                  <a:lnTo>
                    <a:pt x="292388" y="110633"/>
                  </a:lnTo>
                  <a:lnTo>
                    <a:pt x="300289" y="119242"/>
                  </a:lnTo>
                  <a:lnTo>
                    <a:pt x="294557" y="123587"/>
                  </a:lnTo>
                  <a:lnTo>
                    <a:pt x="280353" y="127309"/>
                  </a:lnTo>
                  <a:lnTo>
                    <a:pt x="280813" y="138011"/>
                  </a:lnTo>
                  <a:lnTo>
                    <a:pt x="274560" y="144387"/>
                  </a:lnTo>
                  <a:lnTo>
                    <a:pt x="290181" y="161956"/>
                  </a:lnTo>
                  <a:lnTo>
                    <a:pt x="293237" y="168485"/>
                  </a:lnTo>
                  <a:lnTo>
                    <a:pt x="284796" y="177314"/>
                  </a:lnTo>
                  <a:lnTo>
                    <a:pt x="258977" y="185970"/>
                  </a:lnTo>
                  <a:lnTo>
                    <a:pt x="242378" y="189558"/>
                  </a:lnTo>
                  <a:lnTo>
                    <a:pt x="235715" y="195023"/>
                  </a:lnTo>
                  <a:lnTo>
                    <a:pt x="217360" y="189244"/>
                  </a:lnTo>
                  <a:lnTo>
                    <a:pt x="200272" y="186286"/>
                  </a:lnTo>
                  <a:lnTo>
                    <a:pt x="195946" y="188414"/>
                  </a:lnTo>
                  <a:lnTo>
                    <a:pt x="206277" y="194407"/>
                  </a:lnTo>
                  <a:lnTo>
                    <a:pt x="205346" y="209900"/>
                  </a:lnTo>
                  <a:lnTo>
                    <a:pt x="208551" y="224448"/>
                  </a:lnTo>
                  <a:lnTo>
                    <a:pt x="228105" y="226433"/>
                  </a:lnTo>
                  <a:lnTo>
                    <a:pt x="229353" y="231287"/>
                  </a:lnTo>
                  <a:lnTo>
                    <a:pt x="212865" y="237857"/>
                  </a:lnTo>
                  <a:lnTo>
                    <a:pt x="210183" y="247636"/>
                  </a:lnTo>
                  <a:lnTo>
                    <a:pt x="200679" y="251425"/>
                  </a:lnTo>
                  <a:lnTo>
                    <a:pt x="183513" y="256815"/>
                  </a:lnTo>
                  <a:lnTo>
                    <a:pt x="179045" y="263879"/>
                  </a:lnTo>
                  <a:lnTo>
                    <a:pt x="161098" y="265375"/>
                  </a:lnTo>
                  <a:lnTo>
                    <a:pt x="148390" y="253165"/>
                  </a:lnTo>
                  <a:lnTo>
                    <a:pt x="141350" y="230138"/>
                  </a:lnTo>
                  <a:lnTo>
                    <a:pt x="135215" y="222063"/>
                  </a:lnTo>
                  <a:lnTo>
                    <a:pt x="126840" y="216972"/>
                  </a:lnTo>
                  <a:lnTo>
                    <a:pt x="138537" y="205471"/>
                  </a:lnTo>
                  <a:lnTo>
                    <a:pt x="137743" y="200297"/>
                  </a:lnTo>
                  <a:lnTo>
                    <a:pt x="131181" y="193430"/>
                  </a:lnTo>
                  <a:lnTo>
                    <a:pt x="126538" y="178066"/>
                  </a:lnTo>
                  <a:lnTo>
                    <a:pt x="128346" y="161473"/>
                  </a:lnTo>
                  <a:lnTo>
                    <a:pt x="133497" y="153701"/>
                  </a:lnTo>
                  <a:lnTo>
                    <a:pt x="137654" y="141228"/>
                  </a:lnTo>
                  <a:lnTo>
                    <a:pt x="129491" y="137246"/>
                  </a:lnTo>
                  <a:lnTo>
                    <a:pt x="116334" y="139889"/>
                  </a:lnTo>
                  <a:lnTo>
                    <a:pt x="99709" y="138648"/>
                  </a:lnTo>
                  <a:lnTo>
                    <a:pt x="90379" y="141126"/>
                  </a:lnTo>
                  <a:lnTo>
                    <a:pt x="74133" y="121180"/>
                  </a:lnTo>
                  <a:lnTo>
                    <a:pt x="60724" y="118225"/>
                  </a:lnTo>
                  <a:lnTo>
                    <a:pt x="31041" y="120455"/>
                  </a:lnTo>
                  <a:lnTo>
                    <a:pt x="25543" y="112363"/>
                  </a:lnTo>
                  <a:lnTo>
                    <a:pt x="19862" y="110429"/>
                  </a:lnTo>
                  <a:lnTo>
                    <a:pt x="19050" y="105585"/>
                  </a:lnTo>
                  <a:lnTo>
                    <a:pt x="21791" y="96990"/>
                  </a:lnTo>
                  <a:lnTo>
                    <a:pt x="19968" y="87635"/>
                  </a:lnTo>
                  <a:lnTo>
                    <a:pt x="14876" y="82520"/>
                  </a:lnTo>
                  <a:lnTo>
                    <a:pt x="11916" y="71826"/>
                  </a:lnTo>
                  <a:lnTo>
                    <a:pt x="0" y="70268"/>
                  </a:lnTo>
                  <a:lnTo>
                    <a:pt x="6402" y="56651"/>
                  </a:lnTo>
                  <a:lnTo>
                    <a:pt x="9225" y="40015"/>
                  </a:lnTo>
                  <a:lnTo>
                    <a:pt x="15934" y="31342"/>
                  </a:lnTo>
                  <a:lnTo>
                    <a:pt x="24869" y="24645"/>
                  </a:lnTo>
                  <a:lnTo>
                    <a:pt x="30724" y="129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7" name="Freeform 31">
              <a:extLst>
                <a:ext uri="{FF2B5EF4-FFF2-40B4-BE49-F238E27FC236}">
                  <a16:creationId xmlns:a16="http://schemas.microsoft.com/office/drawing/2014/main" id="{ED5419A1-CD36-4039-B969-0F9686BCF0CF}"/>
                </a:ext>
              </a:extLst>
            </p:cNvPr>
            <p:cNvSpPr>
              <a:spLocks noChangeAspect="1"/>
            </p:cNvSpPr>
            <p:nvPr>
              <p:custDataLst>
                <p:tags r:id="rId37"/>
              </p:custDataLst>
            </p:nvPr>
          </p:nvSpPr>
          <p:spPr>
            <a:xfrm>
              <a:off x="4547425" y="3022083"/>
              <a:ext cx="106181" cy="95686"/>
            </a:xfrm>
            <a:custGeom>
              <a:avLst/>
              <a:gdLst>
                <a:gd name="connsiteX0" fmla="*/ 98815 w 106181"/>
                <a:gd name="connsiteY0" fmla="*/ 53343 h 95686"/>
                <a:gd name="connsiteX1" fmla="*/ 106181 w 106181"/>
                <a:gd name="connsiteY1" fmla="*/ 69623 h 95686"/>
                <a:gd name="connsiteX2" fmla="*/ 92331 w 106181"/>
                <a:gd name="connsiteY2" fmla="*/ 95686 h 95686"/>
                <a:gd name="connsiteX3" fmla="*/ 68176 w 106181"/>
                <a:gd name="connsiteY3" fmla="*/ 77541 h 95686"/>
                <a:gd name="connsiteX4" fmla="*/ 64953 w 106181"/>
                <a:gd name="connsiteY4" fmla="*/ 64117 h 95686"/>
                <a:gd name="connsiteX5" fmla="*/ 57476 w 106181"/>
                <a:gd name="connsiteY5" fmla="*/ 0 h 95686"/>
                <a:gd name="connsiteX6" fmla="*/ 56694 w 106181"/>
                <a:gd name="connsiteY6" fmla="*/ 17082 h 95686"/>
                <a:gd name="connsiteX7" fmla="*/ 49859 w 106181"/>
                <a:gd name="connsiteY7" fmla="*/ 27836 h 95686"/>
                <a:gd name="connsiteX8" fmla="*/ 52629 w 106181"/>
                <a:gd name="connsiteY8" fmla="*/ 37042 h 95686"/>
                <a:gd name="connsiteX9" fmla="*/ 65144 w 106181"/>
                <a:gd name="connsiteY9" fmla="*/ 42003 h 95686"/>
                <a:gd name="connsiteX10" fmla="*/ 59503 w 106181"/>
                <a:gd name="connsiteY10" fmla="*/ 54321 h 95686"/>
                <a:gd name="connsiteX11" fmla="*/ 52629 w 106181"/>
                <a:gd name="connsiteY11" fmla="*/ 50781 h 95686"/>
                <a:gd name="connsiteX12" fmla="*/ 36009 w 106181"/>
                <a:gd name="connsiteY12" fmla="*/ 74148 h 95686"/>
                <a:gd name="connsiteX13" fmla="*/ 42286 w 106181"/>
                <a:gd name="connsiteY13" fmla="*/ 89820 h 95686"/>
                <a:gd name="connsiteX14" fmla="*/ 27516 w 106181"/>
                <a:gd name="connsiteY14" fmla="*/ 94699 h 95686"/>
                <a:gd name="connsiteX15" fmla="*/ 10070 w 106181"/>
                <a:gd name="connsiteY15" fmla="*/ 90473 h 95686"/>
                <a:gd name="connsiteX16" fmla="*/ 700 w 106181"/>
                <a:gd name="connsiteY16" fmla="*/ 72606 h 95686"/>
                <a:gd name="connsiteX17" fmla="*/ 0 w 106181"/>
                <a:gd name="connsiteY17" fmla="*/ 39337 h 95686"/>
                <a:gd name="connsiteX18" fmla="*/ 3846 w 106181"/>
                <a:gd name="connsiteY18" fmla="*/ 30471 h 95686"/>
                <a:gd name="connsiteX19" fmla="*/ 10467 w 106181"/>
                <a:gd name="connsiteY19" fmla="*/ 20578 h 95686"/>
                <a:gd name="connsiteX20" fmla="*/ 30803 w 106181"/>
                <a:gd name="connsiteY20" fmla="*/ 18527 h 95686"/>
                <a:gd name="connsiteX21" fmla="*/ 38907 w 106181"/>
                <a:gd name="connsiteY21" fmla="*/ 9385 h 9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8" name="Freeform 32">
              <a:extLst>
                <a:ext uri="{FF2B5EF4-FFF2-40B4-BE49-F238E27FC236}">
                  <a16:creationId xmlns:a16="http://schemas.microsoft.com/office/drawing/2014/main" id="{49C6DBB0-31CE-4430-8BFD-673C7050E563}"/>
                </a:ext>
              </a:extLst>
            </p:cNvPr>
            <p:cNvSpPr>
              <a:spLocks noChangeAspect="1"/>
            </p:cNvSpPr>
            <p:nvPr>
              <p:custDataLst>
                <p:tags r:id="rId38"/>
              </p:custDataLst>
            </p:nvPr>
          </p:nvSpPr>
          <p:spPr>
            <a:xfrm>
              <a:off x="4185901" y="2991710"/>
              <a:ext cx="213600" cy="276243"/>
            </a:xfrm>
            <a:custGeom>
              <a:avLst/>
              <a:gdLst>
                <a:gd name="connsiteX0" fmla="*/ 19350 w 213600"/>
                <a:gd name="connsiteY0" fmla="*/ 114098 h 276243"/>
                <a:gd name="connsiteX1" fmla="*/ 44092 w 213600"/>
                <a:gd name="connsiteY1" fmla="*/ 133901 h 276243"/>
                <a:gd name="connsiteX2" fmla="*/ 31722 w 213600"/>
                <a:gd name="connsiteY2" fmla="*/ 155717 h 276243"/>
                <a:gd name="connsiteX3" fmla="*/ 14275 w 213600"/>
                <a:gd name="connsiteY3" fmla="*/ 149192 h 276243"/>
                <a:gd name="connsiteX4" fmla="*/ 0 w 213600"/>
                <a:gd name="connsiteY4" fmla="*/ 149628 h 276243"/>
                <a:gd name="connsiteX5" fmla="*/ 4758 w 213600"/>
                <a:gd name="connsiteY5" fmla="*/ 132586 h 276243"/>
                <a:gd name="connsiteX6" fmla="*/ 0 w 213600"/>
                <a:gd name="connsiteY6" fmla="*/ 115424 h 276243"/>
                <a:gd name="connsiteX7" fmla="*/ 105422 w 213600"/>
                <a:gd name="connsiteY7" fmla="*/ 0 h 276243"/>
                <a:gd name="connsiteX8" fmla="*/ 80751 w 213600"/>
                <a:gd name="connsiteY8" fmla="*/ 36267 h 276243"/>
                <a:gd name="connsiteX9" fmla="*/ 104268 w 213600"/>
                <a:gd name="connsiteY9" fmla="*/ 31707 h 276243"/>
                <a:gd name="connsiteX10" fmla="*/ 129560 w 213600"/>
                <a:gd name="connsiteY10" fmla="*/ 31881 h 276243"/>
                <a:gd name="connsiteX11" fmla="*/ 123542 w 213600"/>
                <a:gd name="connsiteY11" fmla="*/ 58869 h 276243"/>
                <a:gd name="connsiteX12" fmla="*/ 102791 w 213600"/>
                <a:gd name="connsiteY12" fmla="*/ 88196 h 276243"/>
                <a:gd name="connsiteX13" fmla="*/ 126658 w 213600"/>
                <a:gd name="connsiteY13" fmla="*/ 90270 h 276243"/>
                <a:gd name="connsiteX14" fmla="*/ 128489 w 213600"/>
                <a:gd name="connsiteY14" fmla="*/ 93682 h 276243"/>
                <a:gd name="connsiteX15" fmla="*/ 149048 w 213600"/>
                <a:gd name="connsiteY15" fmla="*/ 131655 h 276243"/>
                <a:gd name="connsiteX16" fmla="*/ 164849 w 213600"/>
                <a:gd name="connsiteY16" fmla="*/ 136778 h 276243"/>
                <a:gd name="connsiteX17" fmla="*/ 179055 w 213600"/>
                <a:gd name="connsiteY17" fmla="*/ 172807 h 276243"/>
                <a:gd name="connsiteX18" fmla="*/ 185634 w 213600"/>
                <a:gd name="connsiteY18" fmla="*/ 185174 h 276243"/>
                <a:gd name="connsiteX19" fmla="*/ 213600 w 213600"/>
                <a:gd name="connsiteY19" fmla="*/ 191116 h 276243"/>
                <a:gd name="connsiteX20" fmla="*/ 210794 w 213600"/>
                <a:gd name="connsiteY20" fmla="*/ 210960 h 276243"/>
                <a:gd name="connsiteX21" fmla="*/ 199035 w 213600"/>
                <a:gd name="connsiteY21" fmla="*/ 220006 h 276243"/>
                <a:gd name="connsiteX22" fmla="*/ 208252 w 213600"/>
                <a:gd name="connsiteY22" fmla="*/ 235886 h 276243"/>
                <a:gd name="connsiteX23" fmla="*/ 187489 w 213600"/>
                <a:gd name="connsiteY23" fmla="*/ 251860 h 276243"/>
                <a:gd name="connsiteX24" fmla="*/ 156608 w 213600"/>
                <a:gd name="connsiteY24" fmla="*/ 251579 h 276243"/>
                <a:gd name="connsiteX25" fmla="*/ 117310 w 213600"/>
                <a:gd name="connsiteY25" fmla="*/ 259927 h 276243"/>
                <a:gd name="connsiteX26" fmla="*/ 106547 w 213600"/>
                <a:gd name="connsiteY26" fmla="*/ 253953 h 276243"/>
                <a:gd name="connsiteX27" fmla="*/ 91285 w 213600"/>
                <a:gd name="connsiteY27" fmla="*/ 268149 h 276243"/>
                <a:gd name="connsiteX28" fmla="*/ 69932 w 213600"/>
                <a:gd name="connsiteY28" fmla="*/ 264717 h 276243"/>
                <a:gd name="connsiteX29" fmla="*/ 53716 w 213600"/>
                <a:gd name="connsiteY29" fmla="*/ 276243 h 276243"/>
                <a:gd name="connsiteX30" fmla="*/ 41447 w 213600"/>
                <a:gd name="connsiteY30" fmla="*/ 270223 h 276243"/>
                <a:gd name="connsiteX31" fmla="*/ 75299 w 213600"/>
                <a:gd name="connsiteY31" fmla="*/ 238316 h 276243"/>
                <a:gd name="connsiteX32" fmla="*/ 95962 w 213600"/>
                <a:gd name="connsiteY32" fmla="*/ 231704 h 276243"/>
                <a:gd name="connsiteX33" fmla="*/ 95780 w 213600"/>
                <a:gd name="connsiteY33" fmla="*/ 231678 h 276243"/>
                <a:gd name="connsiteX34" fmla="*/ 59733 w 213600"/>
                <a:gd name="connsiteY34" fmla="*/ 226566 h 276243"/>
                <a:gd name="connsiteX35" fmla="*/ 53202 w 213600"/>
                <a:gd name="connsiteY35" fmla="*/ 214314 h 276243"/>
                <a:gd name="connsiteX36" fmla="*/ 77322 w 213600"/>
                <a:gd name="connsiteY36" fmla="*/ 204729 h 276243"/>
                <a:gd name="connsiteX37" fmla="*/ 64681 w 213600"/>
                <a:gd name="connsiteY37" fmla="*/ 187983 h 276243"/>
                <a:gd name="connsiteX38" fmla="*/ 69067 w 213600"/>
                <a:gd name="connsiteY38" fmla="*/ 167465 h 276243"/>
                <a:gd name="connsiteX39" fmla="*/ 103372 w 213600"/>
                <a:gd name="connsiteY39" fmla="*/ 170309 h 276243"/>
                <a:gd name="connsiteX40" fmla="*/ 103412 w 213600"/>
                <a:gd name="connsiteY40" fmla="*/ 170312 h 276243"/>
                <a:gd name="connsiteX41" fmla="*/ 106807 w 213600"/>
                <a:gd name="connsiteY41" fmla="*/ 152002 h 276243"/>
                <a:gd name="connsiteX42" fmla="*/ 91348 w 213600"/>
                <a:gd name="connsiteY42" fmla="*/ 132423 h 276243"/>
                <a:gd name="connsiteX43" fmla="*/ 90995 w 213600"/>
                <a:gd name="connsiteY43" fmla="*/ 131974 h 276243"/>
                <a:gd name="connsiteX44" fmla="*/ 62969 w 213600"/>
                <a:gd name="connsiteY44" fmla="*/ 126350 h 276243"/>
                <a:gd name="connsiteX45" fmla="*/ 57467 w 213600"/>
                <a:gd name="connsiteY45" fmla="*/ 117674 h 276243"/>
                <a:gd name="connsiteX46" fmla="*/ 65856 w 213600"/>
                <a:gd name="connsiteY46" fmla="*/ 103279 h 276243"/>
                <a:gd name="connsiteX47" fmla="*/ 58265 w 213600"/>
                <a:gd name="connsiteY47" fmla="*/ 94360 h 276243"/>
                <a:gd name="connsiteX48" fmla="*/ 45836 w 213600"/>
                <a:gd name="connsiteY48" fmla="*/ 109646 h 276243"/>
                <a:gd name="connsiteX49" fmla="*/ 44484 w 213600"/>
                <a:gd name="connsiteY49" fmla="*/ 78380 h 276243"/>
                <a:gd name="connsiteX50" fmla="*/ 32828 w 213600"/>
                <a:gd name="connsiteY50" fmla="*/ 61666 h 276243"/>
                <a:gd name="connsiteX51" fmla="*/ 41210 w 213600"/>
                <a:gd name="connsiteY51" fmla="*/ 27410 h 276243"/>
                <a:gd name="connsiteX52" fmla="*/ 59141 w 213600"/>
                <a:gd name="connsiteY52" fmla="*/ 169 h 276243"/>
                <a:gd name="connsiteX53" fmla="*/ 77573 w 213600"/>
                <a:gd name="connsiteY53" fmla="*/ 2842 h 27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9" name="Freeform 33">
              <a:extLst>
                <a:ext uri="{FF2B5EF4-FFF2-40B4-BE49-F238E27FC236}">
                  <a16:creationId xmlns:a16="http://schemas.microsoft.com/office/drawing/2014/main" id="{8FB74885-5282-426B-B815-923F977B45AA}"/>
                </a:ext>
              </a:extLst>
            </p:cNvPr>
            <p:cNvSpPr>
              <a:spLocks noChangeAspect="1"/>
            </p:cNvSpPr>
            <p:nvPr>
              <p:custDataLst>
                <p:tags r:id="rId39"/>
              </p:custDataLst>
            </p:nvPr>
          </p:nvSpPr>
          <p:spPr>
            <a:xfrm>
              <a:off x="5757845" y="3593478"/>
              <a:ext cx="337691" cy="238008"/>
            </a:xfrm>
            <a:custGeom>
              <a:avLst/>
              <a:gdLst/>
              <a:ahLst/>
              <a:cxnLst/>
              <a:rect l="0" t="0" r="0" b="0"/>
              <a:pathLst>
                <a:path w="337691" h="238008">
                  <a:moveTo>
                    <a:pt x="15751" y="75342"/>
                  </a:moveTo>
                  <a:lnTo>
                    <a:pt x="39291" y="85295"/>
                  </a:lnTo>
                  <a:lnTo>
                    <a:pt x="56696" y="81800"/>
                  </a:lnTo>
                  <a:lnTo>
                    <a:pt x="61518" y="69897"/>
                  </a:lnTo>
                  <a:lnTo>
                    <a:pt x="79738" y="65927"/>
                  </a:lnTo>
                  <a:lnTo>
                    <a:pt x="92747" y="57907"/>
                  </a:lnTo>
                  <a:lnTo>
                    <a:pt x="97355" y="36724"/>
                  </a:lnTo>
                  <a:lnTo>
                    <a:pt x="116810" y="31581"/>
                  </a:lnTo>
                  <a:lnTo>
                    <a:pt x="120426" y="22095"/>
                  </a:lnTo>
                  <a:lnTo>
                    <a:pt x="131316" y="29223"/>
                  </a:lnTo>
                  <a:lnTo>
                    <a:pt x="138269" y="30049"/>
                  </a:lnTo>
                  <a:lnTo>
                    <a:pt x="151130" y="30226"/>
                  </a:lnTo>
                  <a:lnTo>
                    <a:pt x="168539" y="35842"/>
                  </a:lnTo>
                  <a:lnTo>
                    <a:pt x="175592" y="39080"/>
                  </a:lnTo>
                  <a:lnTo>
                    <a:pt x="192302" y="30540"/>
                  </a:lnTo>
                  <a:lnTo>
                    <a:pt x="200077" y="35679"/>
                  </a:lnTo>
                  <a:lnTo>
                    <a:pt x="207521" y="23487"/>
                  </a:lnTo>
                  <a:lnTo>
                    <a:pt x="221320" y="24041"/>
                  </a:lnTo>
                  <a:lnTo>
                    <a:pt x="224874" y="20120"/>
                  </a:lnTo>
                  <a:lnTo>
                    <a:pt x="227315" y="9334"/>
                  </a:lnTo>
                  <a:lnTo>
                    <a:pt x="237252" y="0"/>
                  </a:lnTo>
                  <a:lnTo>
                    <a:pt x="249747" y="6103"/>
                  </a:lnTo>
                  <a:lnTo>
                    <a:pt x="247238" y="14290"/>
                  </a:lnTo>
                  <a:lnTo>
                    <a:pt x="254220" y="15560"/>
                  </a:lnTo>
                  <a:lnTo>
                    <a:pt x="252068" y="37950"/>
                  </a:lnTo>
                  <a:lnTo>
                    <a:pt x="261208" y="46637"/>
                  </a:lnTo>
                  <a:lnTo>
                    <a:pt x="269250" y="41066"/>
                  </a:lnTo>
                  <a:lnTo>
                    <a:pt x="279495" y="38431"/>
                  </a:lnTo>
                  <a:lnTo>
                    <a:pt x="293879" y="26520"/>
                  </a:lnTo>
                  <a:lnTo>
                    <a:pt x="309775" y="28483"/>
                  </a:lnTo>
                  <a:lnTo>
                    <a:pt x="333580" y="28525"/>
                  </a:lnTo>
                  <a:lnTo>
                    <a:pt x="337690" y="36160"/>
                  </a:lnTo>
                  <a:lnTo>
                    <a:pt x="324253" y="39140"/>
                  </a:lnTo>
                  <a:lnTo>
                    <a:pt x="312519" y="44040"/>
                  </a:lnTo>
                  <a:lnTo>
                    <a:pt x="286031" y="47118"/>
                  </a:lnTo>
                  <a:lnTo>
                    <a:pt x="261246" y="52678"/>
                  </a:lnTo>
                  <a:lnTo>
                    <a:pt x="247767" y="64177"/>
                  </a:lnTo>
                  <a:lnTo>
                    <a:pt x="253225" y="75329"/>
                  </a:lnTo>
                  <a:lnTo>
                    <a:pt x="255863" y="88371"/>
                  </a:lnTo>
                  <a:lnTo>
                    <a:pt x="244367" y="99348"/>
                  </a:lnTo>
                  <a:lnTo>
                    <a:pt x="245330" y="109358"/>
                  </a:lnTo>
                  <a:lnTo>
                    <a:pt x="238983" y="118714"/>
                  </a:lnTo>
                  <a:lnTo>
                    <a:pt x="217026" y="117903"/>
                  </a:lnTo>
                  <a:lnTo>
                    <a:pt x="226098" y="135035"/>
                  </a:lnTo>
                  <a:lnTo>
                    <a:pt x="211407" y="141566"/>
                  </a:lnTo>
                  <a:lnTo>
                    <a:pt x="201606" y="157099"/>
                  </a:lnTo>
                  <a:lnTo>
                    <a:pt x="202881" y="172491"/>
                  </a:lnTo>
                  <a:lnTo>
                    <a:pt x="193854" y="179677"/>
                  </a:lnTo>
                  <a:lnTo>
                    <a:pt x="185319" y="177299"/>
                  </a:lnTo>
                  <a:lnTo>
                    <a:pt x="167678" y="180628"/>
                  </a:lnTo>
                  <a:lnTo>
                    <a:pt x="165155" y="187763"/>
                  </a:lnTo>
                  <a:lnTo>
                    <a:pt x="147970" y="187718"/>
                  </a:lnTo>
                  <a:lnTo>
                    <a:pt x="135103" y="202112"/>
                  </a:lnTo>
                  <a:lnTo>
                    <a:pt x="134296" y="223656"/>
                  </a:lnTo>
                  <a:lnTo>
                    <a:pt x="104297" y="234140"/>
                  </a:lnTo>
                  <a:lnTo>
                    <a:pt x="88221" y="231927"/>
                  </a:lnTo>
                  <a:lnTo>
                    <a:pt x="83549" y="237447"/>
                  </a:lnTo>
                  <a:lnTo>
                    <a:pt x="69752" y="234238"/>
                  </a:lnTo>
                  <a:lnTo>
                    <a:pt x="46660" y="238007"/>
                  </a:lnTo>
                  <a:lnTo>
                    <a:pt x="7982" y="225138"/>
                  </a:lnTo>
                  <a:lnTo>
                    <a:pt x="28918" y="202190"/>
                  </a:lnTo>
                  <a:lnTo>
                    <a:pt x="27027" y="185817"/>
                  </a:lnTo>
                  <a:lnTo>
                    <a:pt x="9545" y="181518"/>
                  </a:lnTo>
                  <a:lnTo>
                    <a:pt x="7738" y="165283"/>
                  </a:lnTo>
                  <a:lnTo>
                    <a:pt x="176" y="144769"/>
                  </a:lnTo>
                  <a:lnTo>
                    <a:pt x="10047" y="130633"/>
                  </a:lnTo>
                  <a:lnTo>
                    <a:pt x="0" y="126812"/>
                  </a:lnTo>
                  <a:lnTo>
                    <a:pt x="6342" y="1079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0" name="Freeform 34">
              <a:extLst>
                <a:ext uri="{FF2B5EF4-FFF2-40B4-BE49-F238E27FC236}">
                  <a16:creationId xmlns:a16="http://schemas.microsoft.com/office/drawing/2014/main" id="{F0BD80FA-0398-4BC7-9503-6A4619C164F3}"/>
                </a:ext>
              </a:extLst>
            </p:cNvPr>
            <p:cNvSpPr>
              <a:spLocks noChangeAspect="1"/>
            </p:cNvSpPr>
            <p:nvPr>
              <p:custDataLst>
                <p:tags r:id="rId40"/>
              </p:custDataLst>
            </p:nvPr>
          </p:nvSpPr>
          <p:spPr>
            <a:xfrm>
              <a:off x="4629371" y="4630477"/>
              <a:ext cx="287144" cy="315772"/>
            </a:xfrm>
            <a:custGeom>
              <a:avLst/>
              <a:gdLst/>
              <a:ahLst/>
              <a:cxnLst/>
              <a:rect l="l" t="t" r="r" b="b"/>
              <a:pathLst>
                <a:path w="287144" h="315772">
                  <a:moveTo>
                    <a:pt x="40060" y="33006"/>
                  </a:moveTo>
                  <a:lnTo>
                    <a:pt x="108175" y="33313"/>
                  </a:lnTo>
                  <a:lnTo>
                    <a:pt x="113869" y="50579"/>
                  </a:lnTo>
                  <a:lnTo>
                    <a:pt x="120494" y="64486"/>
                  </a:lnTo>
                  <a:lnTo>
                    <a:pt x="125798" y="71990"/>
                  </a:lnTo>
                  <a:lnTo>
                    <a:pt x="134638" y="84132"/>
                  </a:lnTo>
                  <a:lnTo>
                    <a:pt x="149902" y="82253"/>
                  </a:lnTo>
                  <a:lnTo>
                    <a:pt x="157518" y="78986"/>
                  </a:lnTo>
                  <a:lnTo>
                    <a:pt x="170273" y="82266"/>
                  </a:lnTo>
                  <a:lnTo>
                    <a:pt x="173732" y="76459"/>
                  </a:lnTo>
                  <a:lnTo>
                    <a:pt x="179523" y="62934"/>
                  </a:lnTo>
                  <a:lnTo>
                    <a:pt x="193840" y="62028"/>
                  </a:lnTo>
                  <a:lnTo>
                    <a:pt x="195084" y="58009"/>
                  </a:lnTo>
                  <a:lnTo>
                    <a:pt x="206861" y="57922"/>
                  </a:lnTo>
                  <a:lnTo>
                    <a:pt x="204851" y="66280"/>
                  </a:lnTo>
                  <a:lnTo>
                    <a:pt x="232859" y="66077"/>
                  </a:lnTo>
                  <a:lnTo>
                    <a:pt x="233282" y="80683"/>
                  </a:lnTo>
                  <a:lnTo>
                    <a:pt x="237960" y="89646"/>
                  </a:lnTo>
                  <a:lnTo>
                    <a:pt x="234559" y="103662"/>
                  </a:lnTo>
                  <a:lnTo>
                    <a:pt x="236253" y="117976"/>
                  </a:lnTo>
                  <a:lnTo>
                    <a:pt x="243953" y="126621"/>
                  </a:lnTo>
                  <a:lnTo>
                    <a:pt x="242718" y="154387"/>
                  </a:lnTo>
                  <a:lnTo>
                    <a:pt x="248432" y="152244"/>
                  </a:lnTo>
                  <a:lnTo>
                    <a:pt x="258462" y="152818"/>
                  </a:lnTo>
                  <a:lnTo>
                    <a:pt x="272761" y="149320"/>
                  </a:lnTo>
                  <a:lnTo>
                    <a:pt x="283273" y="150697"/>
                  </a:lnTo>
                  <a:lnTo>
                    <a:pt x="285713" y="157950"/>
                  </a:lnTo>
                  <a:lnTo>
                    <a:pt x="283087" y="169291"/>
                  </a:lnTo>
                  <a:lnTo>
                    <a:pt x="287144" y="180269"/>
                  </a:lnTo>
                  <a:lnTo>
                    <a:pt x="283705" y="189046"/>
                  </a:lnTo>
                  <a:lnTo>
                    <a:pt x="285672" y="197142"/>
                  </a:lnTo>
                  <a:lnTo>
                    <a:pt x="237608" y="196846"/>
                  </a:lnTo>
                  <a:lnTo>
                    <a:pt x="236546" y="271828"/>
                  </a:lnTo>
                  <a:lnTo>
                    <a:pt x="252118" y="291224"/>
                  </a:lnTo>
                  <a:lnTo>
                    <a:pt x="267181" y="306070"/>
                  </a:lnTo>
                  <a:lnTo>
                    <a:pt x="224758" y="315772"/>
                  </a:lnTo>
                  <a:lnTo>
                    <a:pt x="168875" y="312401"/>
                  </a:lnTo>
                  <a:lnTo>
                    <a:pt x="152882" y="301000"/>
                  </a:lnTo>
                  <a:lnTo>
                    <a:pt x="59313" y="302026"/>
                  </a:lnTo>
                  <a:lnTo>
                    <a:pt x="55823" y="303698"/>
                  </a:lnTo>
                  <a:lnTo>
                    <a:pt x="42063" y="292952"/>
                  </a:lnTo>
                  <a:lnTo>
                    <a:pt x="27099" y="292243"/>
                  </a:lnTo>
                  <a:lnTo>
                    <a:pt x="13281" y="296288"/>
                  </a:lnTo>
                  <a:lnTo>
                    <a:pt x="2172" y="300809"/>
                  </a:lnTo>
                  <a:lnTo>
                    <a:pt x="0" y="285877"/>
                  </a:lnTo>
                  <a:lnTo>
                    <a:pt x="3195" y="265047"/>
                  </a:lnTo>
                  <a:lnTo>
                    <a:pt x="11160" y="243421"/>
                  </a:lnTo>
                  <a:lnTo>
                    <a:pt x="12361" y="233303"/>
                  </a:lnTo>
                  <a:lnTo>
                    <a:pt x="19851" y="212092"/>
                  </a:lnTo>
                  <a:lnTo>
                    <a:pt x="25354" y="202466"/>
                  </a:lnTo>
                  <a:lnTo>
                    <a:pt x="38613" y="187119"/>
                  </a:lnTo>
                  <a:lnTo>
                    <a:pt x="46018" y="176694"/>
                  </a:lnTo>
                  <a:lnTo>
                    <a:pt x="48442" y="159366"/>
                  </a:lnTo>
                  <a:lnTo>
                    <a:pt x="47234" y="146127"/>
                  </a:lnTo>
                  <a:lnTo>
                    <a:pt x="40331" y="137784"/>
                  </a:lnTo>
                  <a:lnTo>
                    <a:pt x="34183" y="123641"/>
                  </a:lnTo>
                  <a:lnTo>
                    <a:pt x="28513" y="109670"/>
                  </a:lnTo>
                  <a:lnTo>
                    <a:pt x="29753" y="104834"/>
                  </a:lnTo>
                  <a:lnTo>
                    <a:pt x="36848" y="95613"/>
                  </a:lnTo>
                  <a:lnTo>
                    <a:pt x="29845" y="73171"/>
                  </a:lnTo>
                  <a:lnTo>
                    <a:pt x="25119" y="57639"/>
                  </a:lnTo>
                  <a:lnTo>
                    <a:pt x="13555" y="42973"/>
                  </a:lnTo>
                  <a:lnTo>
                    <a:pt x="15750" y="38470"/>
                  </a:lnTo>
                  <a:lnTo>
                    <a:pt x="25277" y="35356"/>
                  </a:lnTo>
                  <a:lnTo>
                    <a:pt x="31964" y="35790"/>
                  </a:lnTo>
                  <a:close/>
                  <a:moveTo>
                    <a:pt x="22637" y="0"/>
                  </a:moveTo>
                  <a:lnTo>
                    <a:pt x="31287" y="7935"/>
                  </a:lnTo>
                  <a:lnTo>
                    <a:pt x="22887" y="12798"/>
                  </a:lnTo>
                  <a:lnTo>
                    <a:pt x="19110" y="18748"/>
                  </a:lnTo>
                  <a:lnTo>
                    <a:pt x="18388" y="28840"/>
                  </a:lnTo>
                  <a:lnTo>
                    <a:pt x="12516" y="31286"/>
                  </a:lnTo>
                  <a:lnTo>
                    <a:pt x="6345" y="13879"/>
                  </a:lnTo>
                  <a:lnTo>
                    <a:pt x="15662" y="389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1" name="Freeform 35">
              <a:extLst>
                <a:ext uri="{FF2B5EF4-FFF2-40B4-BE49-F238E27FC236}">
                  <a16:creationId xmlns:a16="http://schemas.microsoft.com/office/drawing/2014/main" id="{48762322-5E04-45EE-B582-48EF81ED232D}"/>
                </a:ext>
              </a:extLst>
            </p:cNvPr>
            <p:cNvSpPr>
              <a:spLocks noChangeAspect="1"/>
            </p:cNvSpPr>
            <p:nvPr>
              <p:custDataLst>
                <p:tags r:id="rId41"/>
              </p:custDataLst>
            </p:nvPr>
          </p:nvSpPr>
          <p:spPr>
            <a:xfrm>
              <a:off x="4806286" y="3478483"/>
              <a:ext cx="39600" cy="84252"/>
            </a:xfrm>
            <a:custGeom>
              <a:avLst/>
              <a:gdLst/>
              <a:ahLst/>
              <a:cxnLst/>
              <a:rect l="0" t="0" r="0" b="0"/>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2" name="Freeform 36">
              <a:extLst>
                <a:ext uri="{FF2B5EF4-FFF2-40B4-BE49-F238E27FC236}">
                  <a16:creationId xmlns:a16="http://schemas.microsoft.com/office/drawing/2014/main" id="{7664CA0E-E14D-489B-8CC8-DAEEF7E64776}"/>
                </a:ext>
              </a:extLst>
            </p:cNvPr>
            <p:cNvSpPr>
              <a:spLocks noChangeAspect="1"/>
            </p:cNvSpPr>
            <p:nvPr>
              <p:custDataLst>
                <p:tags r:id="rId42"/>
              </p:custDataLst>
            </p:nvPr>
          </p:nvSpPr>
          <p:spPr>
            <a:xfrm>
              <a:off x="5551280" y="3912817"/>
              <a:ext cx="111197" cy="87108"/>
            </a:xfrm>
            <a:custGeom>
              <a:avLst/>
              <a:gdLst/>
              <a:ahLst/>
              <a:cxnLst/>
              <a:rect l="0" t="0" r="0" b="0"/>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3" name="Freeform 37">
              <a:extLst>
                <a:ext uri="{FF2B5EF4-FFF2-40B4-BE49-F238E27FC236}">
                  <a16:creationId xmlns:a16="http://schemas.microsoft.com/office/drawing/2014/main" id="{2F42E7FA-9B1D-4BBA-933F-04726D6814B4}"/>
                </a:ext>
              </a:extLst>
            </p:cNvPr>
            <p:cNvSpPr>
              <a:spLocks noChangeAspect="1"/>
            </p:cNvSpPr>
            <p:nvPr>
              <p:custDataLst>
                <p:tags r:id="rId43"/>
              </p:custDataLst>
            </p:nvPr>
          </p:nvSpPr>
          <p:spPr>
            <a:xfrm>
              <a:off x="5366693" y="3518383"/>
              <a:ext cx="67471" cy="68239"/>
            </a:xfrm>
            <a:custGeom>
              <a:avLst/>
              <a:gdLst/>
              <a:ahLst/>
              <a:cxnLst/>
              <a:rect l="0" t="0" r="0" b="0"/>
              <a:pathLst>
                <a:path w="67471" h="68239">
                  <a:moveTo>
                    <a:pt x="0" y="4290"/>
                  </a:moveTo>
                  <a:lnTo>
                    <a:pt x="32079" y="0"/>
                  </a:lnTo>
                  <a:lnTo>
                    <a:pt x="36857" y="7223"/>
                  </a:lnTo>
                  <a:lnTo>
                    <a:pt x="45648" y="11971"/>
                  </a:lnTo>
                  <a:lnTo>
                    <a:pt x="41005" y="18839"/>
                  </a:lnTo>
                  <a:lnTo>
                    <a:pt x="53301" y="28208"/>
                  </a:lnTo>
                  <a:lnTo>
                    <a:pt x="46795" y="36881"/>
                  </a:lnTo>
                  <a:lnTo>
                    <a:pt x="56594" y="44269"/>
                  </a:lnTo>
                  <a:lnTo>
                    <a:pt x="66957" y="48711"/>
                  </a:lnTo>
                  <a:lnTo>
                    <a:pt x="67470" y="67446"/>
                  </a:lnTo>
                  <a:lnTo>
                    <a:pt x="59112" y="68238"/>
                  </a:lnTo>
                  <a:lnTo>
                    <a:pt x="49688" y="52622"/>
                  </a:lnTo>
                  <a:lnTo>
                    <a:pt x="49795" y="48444"/>
                  </a:lnTo>
                  <a:lnTo>
                    <a:pt x="39596" y="48505"/>
                  </a:lnTo>
                  <a:lnTo>
                    <a:pt x="32760" y="41229"/>
                  </a:lnTo>
                  <a:lnTo>
                    <a:pt x="27959" y="41962"/>
                  </a:lnTo>
                  <a:lnTo>
                    <a:pt x="18865" y="34024"/>
                  </a:lnTo>
                  <a:lnTo>
                    <a:pt x="1701" y="27251"/>
                  </a:lnTo>
                  <a:lnTo>
                    <a:pt x="3922" y="139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4" name="Freeform 38">
              <a:extLst>
                <a:ext uri="{FF2B5EF4-FFF2-40B4-BE49-F238E27FC236}">
                  <a16:creationId xmlns:a16="http://schemas.microsoft.com/office/drawing/2014/main" id="{4BDE5C3F-6F8B-4D54-9527-F60ABFF7170F}"/>
                </a:ext>
              </a:extLst>
            </p:cNvPr>
            <p:cNvSpPr>
              <a:spLocks noChangeAspect="1"/>
            </p:cNvSpPr>
            <p:nvPr>
              <p:custDataLst>
                <p:tags r:id="rId44"/>
              </p:custDataLst>
            </p:nvPr>
          </p:nvSpPr>
          <p:spPr>
            <a:xfrm>
              <a:off x="6976852" y="4775136"/>
              <a:ext cx="928629" cy="828837"/>
            </a:xfrm>
            <a:custGeom>
              <a:avLst/>
              <a:gdLst/>
              <a:ahLst/>
              <a:cxnLst/>
              <a:rect l="l" t="t" r="r" b="b"/>
              <a:pathLst>
                <a:path w="928629" h="828837">
                  <a:moveTo>
                    <a:pt x="724907" y="747483"/>
                  </a:moveTo>
                  <a:lnTo>
                    <a:pt x="740009" y="749910"/>
                  </a:lnTo>
                  <a:lnTo>
                    <a:pt x="762310" y="759385"/>
                  </a:lnTo>
                  <a:lnTo>
                    <a:pt x="774878" y="755616"/>
                  </a:lnTo>
                  <a:lnTo>
                    <a:pt x="792898" y="750340"/>
                  </a:lnTo>
                  <a:lnTo>
                    <a:pt x="806743" y="752182"/>
                  </a:lnTo>
                  <a:lnTo>
                    <a:pt x="808377" y="784918"/>
                  </a:lnTo>
                  <a:lnTo>
                    <a:pt x="800470" y="794488"/>
                  </a:lnTo>
                  <a:lnTo>
                    <a:pt x="798087" y="816954"/>
                  </a:lnTo>
                  <a:lnTo>
                    <a:pt x="790020" y="809288"/>
                  </a:lnTo>
                  <a:lnTo>
                    <a:pt x="773995" y="828837"/>
                  </a:lnTo>
                  <a:lnTo>
                    <a:pt x="769216" y="827325"/>
                  </a:lnTo>
                  <a:lnTo>
                    <a:pt x="755022" y="826450"/>
                  </a:lnTo>
                  <a:lnTo>
                    <a:pt x="740792" y="802476"/>
                  </a:lnTo>
                  <a:lnTo>
                    <a:pt x="737634" y="784119"/>
                  </a:lnTo>
                  <a:lnTo>
                    <a:pt x="724315" y="760068"/>
                  </a:lnTo>
                  <a:close/>
                  <a:moveTo>
                    <a:pt x="673468" y="0"/>
                  </a:moveTo>
                  <a:lnTo>
                    <a:pt x="679978" y="11424"/>
                  </a:lnTo>
                  <a:lnTo>
                    <a:pt x="681582" y="26093"/>
                  </a:lnTo>
                  <a:lnTo>
                    <a:pt x="687334" y="28923"/>
                  </a:lnTo>
                  <a:lnTo>
                    <a:pt x="688319" y="38759"/>
                  </a:lnTo>
                  <a:lnTo>
                    <a:pt x="696709" y="50685"/>
                  </a:lnTo>
                  <a:lnTo>
                    <a:pt x="698442" y="63973"/>
                  </a:lnTo>
                  <a:lnTo>
                    <a:pt x="697625" y="72510"/>
                  </a:lnTo>
                  <a:lnTo>
                    <a:pt x="705942" y="90982"/>
                  </a:lnTo>
                  <a:lnTo>
                    <a:pt x="720752" y="82099"/>
                  </a:lnTo>
                  <a:lnTo>
                    <a:pt x="728397" y="92070"/>
                  </a:lnTo>
                  <a:lnTo>
                    <a:pt x="739472" y="101280"/>
                  </a:lnTo>
                  <a:lnTo>
                    <a:pt x="737100" y="111746"/>
                  </a:lnTo>
                  <a:lnTo>
                    <a:pt x="742023" y="132033"/>
                  </a:lnTo>
                  <a:lnTo>
                    <a:pt x="745527" y="143872"/>
                  </a:lnTo>
                  <a:lnTo>
                    <a:pt x="751341" y="146768"/>
                  </a:lnTo>
                  <a:lnTo>
                    <a:pt x="757605" y="167089"/>
                  </a:lnTo>
                  <a:lnTo>
                    <a:pt x="755375" y="179445"/>
                  </a:lnTo>
                  <a:lnTo>
                    <a:pt x="762849" y="195644"/>
                  </a:lnTo>
                  <a:lnTo>
                    <a:pt x="787862" y="208151"/>
                  </a:lnTo>
                  <a:lnTo>
                    <a:pt x="804170" y="219550"/>
                  </a:lnTo>
                  <a:lnTo>
                    <a:pt x="819654" y="230009"/>
                  </a:lnTo>
                  <a:lnTo>
                    <a:pt x="816631" y="235839"/>
                  </a:lnTo>
                  <a:lnTo>
                    <a:pt x="829834" y="250954"/>
                  </a:lnTo>
                  <a:lnTo>
                    <a:pt x="838810" y="277134"/>
                  </a:lnTo>
                  <a:lnTo>
                    <a:pt x="848022" y="271807"/>
                  </a:lnTo>
                  <a:lnTo>
                    <a:pt x="857384" y="282318"/>
                  </a:lnTo>
                  <a:lnTo>
                    <a:pt x="863023" y="278587"/>
                  </a:lnTo>
                  <a:lnTo>
                    <a:pt x="866999" y="304361"/>
                  </a:lnTo>
                  <a:lnTo>
                    <a:pt x="883380" y="319352"/>
                  </a:lnTo>
                  <a:lnTo>
                    <a:pt x="894099" y="328692"/>
                  </a:lnTo>
                  <a:lnTo>
                    <a:pt x="912142" y="348566"/>
                  </a:lnTo>
                  <a:lnTo>
                    <a:pt x="918627" y="368376"/>
                  </a:lnTo>
                  <a:lnTo>
                    <a:pt x="919222" y="382481"/>
                  </a:lnTo>
                  <a:lnTo>
                    <a:pt x="917629" y="397844"/>
                  </a:lnTo>
                  <a:lnTo>
                    <a:pt x="928629" y="419021"/>
                  </a:lnTo>
                  <a:lnTo>
                    <a:pt x="927305" y="441188"/>
                  </a:lnTo>
                  <a:lnTo>
                    <a:pt x="923312" y="452835"/>
                  </a:lnTo>
                  <a:lnTo>
                    <a:pt x="917082" y="475361"/>
                  </a:lnTo>
                  <a:lnTo>
                    <a:pt x="917552" y="489907"/>
                  </a:lnTo>
                  <a:lnTo>
                    <a:pt x="912981" y="508167"/>
                  </a:lnTo>
                  <a:lnTo>
                    <a:pt x="902789" y="531463"/>
                  </a:lnTo>
                  <a:lnTo>
                    <a:pt x="885687" y="544107"/>
                  </a:lnTo>
                  <a:lnTo>
                    <a:pt x="877259" y="564131"/>
                  </a:lnTo>
                  <a:lnTo>
                    <a:pt x="869562" y="576966"/>
                  </a:lnTo>
                  <a:lnTo>
                    <a:pt x="862721" y="599487"/>
                  </a:lnTo>
                  <a:lnTo>
                    <a:pt x="853812" y="612558"/>
                  </a:lnTo>
                  <a:lnTo>
                    <a:pt x="847972" y="632277"/>
                  </a:lnTo>
                  <a:lnTo>
                    <a:pt x="844992" y="650530"/>
                  </a:lnTo>
                  <a:lnTo>
                    <a:pt x="846173" y="658942"/>
                  </a:lnTo>
                  <a:lnTo>
                    <a:pt x="832937" y="668210"/>
                  </a:lnTo>
                  <a:lnTo>
                    <a:pt x="807102" y="669182"/>
                  </a:lnTo>
                  <a:lnTo>
                    <a:pt x="785799" y="680159"/>
                  </a:lnTo>
                  <a:lnTo>
                    <a:pt x="775190" y="690560"/>
                  </a:lnTo>
                  <a:lnTo>
                    <a:pt x="761243" y="702126"/>
                  </a:lnTo>
                  <a:lnTo>
                    <a:pt x="742125" y="690217"/>
                  </a:lnTo>
                  <a:lnTo>
                    <a:pt x="727983" y="685478"/>
                  </a:lnTo>
                  <a:lnTo>
                    <a:pt x="731566" y="671511"/>
                  </a:lnTo>
                  <a:lnTo>
                    <a:pt x="718950" y="676572"/>
                  </a:lnTo>
                  <a:lnTo>
                    <a:pt x="698737" y="696023"/>
                  </a:lnTo>
                  <a:lnTo>
                    <a:pt x="678781" y="688725"/>
                  </a:lnTo>
                  <a:lnTo>
                    <a:pt x="665691" y="684474"/>
                  </a:lnTo>
                  <a:lnTo>
                    <a:pt x="652493" y="682555"/>
                  </a:lnTo>
                  <a:lnTo>
                    <a:pt x="630150" y="674805"/>
                  </a:lnTo>
                  <a:lnTo>
                    <a:pt x="615228" y="658347"/>
                  </a:lnTo>
                  <a:lnTo>
                    <a:pt x="610945" y="638186"/>
                  </a:lnTo>
                  <a:lnTo>
                    <a:pt x="605579" y="624837"/>
                  </a:lnTo>
                  <a:lnTo>
                    <a:pt x="594238" y="614158"/>
                  </a:lnTo>
                  <a:lnTo>
                    <a:pt x="572031" y="610993"/>
                  </a:lnTo>
                  <a:lnTo>
                    <a:pt x="579619" y="598277"/>
                  </a:lnTo>
                  <a:lnTo>
                    <a:pt x="574035" y="578901"/>
                  </a:lnTo>
                  <a:lnTo>
                    <a:pt x="562761" y="596958"/>
                  </a:lnTo>
                  <a:lnTo>
                    <a:pt x="542223" y="601767"/>
                  </a:lnTo>
                  <a:lnTo>
                    <a:pt x="554295" y="587306"/>
                  </a:lnTo>
                  <a:lnTo>
                    <a:pt x="557792" y="572284"/>
                  </a:lnTo>
                  <a:lnTo>
                    <a:pt x="566708" y="559584"/>
                  </a:lnTo>
                  <a:lnTo>
                    <a:pt x="564866" y="540466"/>
                  </a:lnTo>
                  <a:lnTo>
                    <a:pt x="546088" y="562492"/>
                  </a:lnTo>
                  <a:lnTo>
                    <a:pt x="531667" y="571362"/>
                  </a:lnTo>
                  <a:lnTo>
                    <a:pt x="522825" y="592077"/>
                  </a:lnTo>
                  <a:lnTo>
                    <a:pt x="504802" y="581346"/>
                  </a:lnTo>
                  <a:lnTo>
                    <a:pt x="505518" y="567551"/>
                  </a:lnTo>
                  <a:lnTo>
                    <a:pt x="491073" y="548787"/>
                  </a:lnTo>
                  <a:lnTo>
                    <a:pt x="478896" y="539128"/>
                  </a:lnTo>
                  <a:lnTo>
                    <a:pt x="483235" y="533190"/>
                  </a:lnTo>
                  <a:lnTo>
                    <a:pt x="453618" y="517646"/>
                  </a:lnTo>
                  <a:lnTo>
                    <a:pt x="437398" y="516915"/>
                  </a:lnTo>
                  <a:lnTo>
                    <a:pt x="415198" y="504476"/>
                  </a:lnTo>
                  <a:lnTo>
                    <a:pt x="373868" y="506890"/>
                  </a:lnTo>
                  <a:lnTo>
                    <a:pt x="343979" y="516041"/>
                  </a:lnTo>
                  <a:lnTo>
                    <a:pt x="317709" y="524591"/>
                  </a:lnTo>
                  <a:lnTo>
                    <a:pt x="295685" y="522891"/>
                  </a:lnTo>
                  <a:lnTo>
                    <a:pt x="271214" y="536058"/>
                  </a:lnTo>
                  <a:lnTo>
                    <a:pt x="251202" y="541998"/>
                  </a:lnTo>
                  <a:lnTo>
                    <a:pt x="246754" y="555531"/>
                  </a:lnTo>
                  <a:lnTo>
                    <a:pt x="238231" y="566053"/>
                  </a:lnTo>
                  <a:lnTo>
                    <a:pt x="218642" y="566683"/>
                  </a:lnTo>
                  <a:lnTo>
                    <a:pt x="204147" y="568991"/>
                  </a:lnTo>
                  <a:lnTo>
                    <a:pt x="183744" y="564261"/>
                  </a:lnTo>
                  <a:lnTo>
                    <a:pt x="167150" y="567090"/>
                  </a:lnTo>
                  <a:lnTo>
                    <a:pt x="151302" y="568281"/>
                  </a:lnTo>
                  <a:lnTo>
                    <a:pt x="137573" y="582146"/>
                  </a:lnTo>
                  <a:lnTo>
                    <a:pt x="130842" y="580968"/>
                  </a:lnTo>
                  <a:lnTo>
                    <a:pt x="119264" y="588337"/>
                  </a:lnTo>
                  <a:lnTo>
                    <a:pt x="108167" y="596642"/>
                  </a:lnTo>
                  <a:lnTo>
                    <a:pt x="91329" y="595615"/>
                  </a:lnTo>
                  <a:lnTo>
                    <a:pt x="75854" y="595605"/>
                  </a:lnTo>
                  <a:lnTo>
                    <a:pt x="51369" y="578945"/>
                  </a:lnTo>
                  <a:lnTo>
                    <a:pt x="38961" y="574006"/>
                  </a:lnTo>
                  <a:lnTo>
                    <a:pt x="39464" y="559142"/>
                  </a:lnTo>
                  <a:lnTo>
                    <a:pt x="50925" y="555620"/>
                  </a:lnTo>
                  <a:lnTo>
                    <a:pt x="54839" y="549737"/>
                  </a:lnTo>
                  <a:lnTo>
                    <a:pt x="54024" y="540475"/>
                  </a:lnTo>
                  <a:lnTo>
                    <a:pt x="56847" y="522612"/>
                  </a:lnTo>
                  <a:lnTo>
                    <a:pt x="54260" y="507452"/>
                  </a:lnTo>
                  <a:lnTo>
                    <a:pt x="42057" y="481731"/>
                  </a:lnTo>
                  <a:lnTo>
                    <a:pt x="38274" y="467278"/>
                  </a:lnTo>
                  <a:lnTo>
                    <a:pt x="39266" y="452908"/>
                  </a:lnTo>
                  <a:lnTo>
                    <a:pt x="30078" y="436549"/>
                  </a:lnTo>
                  <a:lnTo>
                    <a:pt x="29490" y="429184"/>
                  </a:lnTo>
                  <a:lnTo>
                    <a:pt x="19266" y="419221"/>
                  </a:lnTo>
                  <a:lnTo>
                    <a:pt x="16388" y="399695"/>
                  </a:lnTo>
                  <a:lnTo>
                    <a:pt x="3199" y="380049"/>
                  </a:lnTo>
                  <a:lnTo>
                    <a:pt x="0" y="369497"/>
                  </a:lnTo>
                  <a:lnTo>
                    <a:pt x="10143" y="380195"/>
                  </a:lnTo>
                  <a:lnTo>
                    <a:pt x="2355" y="357276"/>
                  </a:lnTo>
                  <a:lnTo>
                    <a:pt x="13803" y="364427"/>
                  </a:lnTo>
                  <a:lnTo>
                    <a:pt x="20634" y="373993"/>
                  </a:lnTo>
                  <a:lnTo>
                    <a:pt x="20249" y="361344"/>
                  </a:lnTo>
                  <a:lnTo>
                    <a:pt x="8825" y="341964"/>
                  </a:lnTo>
                  <a:lnTo>
                    <a:pt x="6612" y="334234"/>
                  </a:lnTo>
                  <a:lnTo>
                    <a:pt x="1260" y="326901"/>
                  </a:lnTo>
                  <a:lnTo>
                    <a:pt x="3765" y="312757"/>
                  </a:lnTo>
                  <a:lnTo>
                    <a:pt x="8496" y="306750"/>
                  </a:lnTo>
                  <a:lnTo>
                    <a:pt x="11645" y="294563"/>
                  </a:lnTo>
                  <a:lnTo>
                    <a:pt x="9178" y="280360"/>
                  </a:lnTo>
                  <a:lnTo>
                    <a:pt x="18716" y="262925"/>
                  </a:lnTo>
                  <a:lnTo>
                    <a:pt x="20460" y="281379"/>
                  </a:lnTo>
                  <a:lnTo>
                    <a:pt x="30212" y="264706"/>
                  </a:lnTo>
                  <a:lnTo>
                    <a:pt x="48964" y="256622"/>
                  </a:lnTo>
                  <a:lnTo>
                    <a:pt x="60210" y="246326"/>
                  </a:lnTo>
                  <a:lnTo>
                    <a:pt x="77851" y="237481"/>
                  </a:lnTo>
                  <a:lnTo>
                    <a:pt x="88346" y="235601"/>
                  </a:lnTo>
                  <a:lnTo>
                    <a:pt x="94699" y="238570"/>
                  </a:lnTo>
                  <a:lnTo>
                    <a:pt x="112889" y="229600"/>
                  </a:lnTo>
                  <a:lnTo>
                    <a:pt x="126890" y="226934"/>
                  </a:lnTo>
                  <a:lnTo>
                    <a:pt x="130392" y="221669"/>
                  </a:lnTo>
                  <a:lnTo>
                    <a:pt x="136501" y="219478"/>
                  </a:lnTo>
                  <a:lnTo>
                    <a:pt x="149260" y="220044"/>
                  </a:lnTo>
                  <a:lnTo>
                    <a:pt x="173519" y="213018"/>
                  </a:lnTo>
                  <a:lnTo>
                    <a:pt x="186068" y="202380"/>
                  </a:lnTo>
                  <a:lnTo>
                    <a:pt x="191961" y="189597"/>
                  </a:lnTo>
                  <a:lnTo>
                    <a:pt x="205500" y="177479"/>
                  </a:lnTo>
                  <a:lnTo>
                    <a:pt x="206537" y="167969"/>
                  </a:lnTo>
                  <a:lnTo>
                    <a:pt x="207141" y="155036"/>
                  </a:lnTo>
                  <a:lnTo>
                    <a:pt x="223294" y="134866"/>
                  </a:lnTo>
                  <a:lnTo>
                    <a:pt x="233016" y="155358"/>
                  </a:lnTo>
                  <a:lnTo>
                    <a:pt x="242840" y="150617"/>
                  </a:lnTo>
                  <a:lnTo>
                    <a:pt x="234620" y="139402"/>
                  </a:lnTo>
                  <a:lnTo>
                    <a:pt x="241864" y="127904"/>
                  </a:lnTo>
                  <a:lnTo>
                    <a:pt x="252048" y="133035"/>
                  </a:lnTo>
                  <a:lnTo>
                    <a:pt x="254852" y="115027"/>
                  </a:lnTo>
                  <a:lnTo>
                    <a:pt x="267465" y="103407"/>
                  </a:lnTo>
                  <a:lnTo>
                    <a:pt x="273030" y="94095"/>
                  </a:lnTo>
                  <a:lnTo>
                    <a:pt x="284637" y="90081"/>
                  </a:lnTo>
                  <a:lnTo>
                    <a:pt x="284999" y="83499"/>
                  </a:lnTo>
                  <a:lnTo>
                    <a:pt x="295141" y="86247"/>
                  </a:lnTo>
                  <a:lnTo>
                    <a:pt x="295548" y="80329"/>
                  </a:lnTo>
                  <a:lnTo>
                    <a:pt x="305700" y="76959"/>
                  </a:lnTo>
                  <a:lnTo>
                    <a:pt x="316855" y="73788"/>
                  </a:lnTo>
                  <a:lnTo>
                    <a:pt x="333907" y="84588"/>
                  </a:lnTo>
                  <a:lnTo>
                    <a:pt x="346720" y="98548"/>
                  </a:lnTo>
                  <a:lnTo>
                    <a:pt x="361166" y="98708"/>
                  </a:lnTo>
                  <a:lnTo>
                    <a:pt x="375845" y="100921"/>
                  </a:lnTo>
                  <a:lnTo>
                    <a:pt x="370955" y="87975"/>
                  </a:lnTo>
                  <a:lnTo>
                    <a:pt x="382012" y="69102"/>
                  </a:lnTo>
                  <a:lnTo>
                    <a:pt x="392418" y="62962"/>
                  </a:lnTo>
                  <a:lnTo>
                    <a:pt x="388818" y="57095"/>
                  </a:lnTo>
                  <a:lnTo>
                    <a:pt x="398843" y="43697"/>
                  </a:lnTo>
                  <a:lnTo>
                    <a:pt x="412824" y="35432"/>
                  </a:lnTo>
                  <a:lnTo>
                    <a:pt x="424633" y="38215"/>
                  </a:lnTo>
                  <a:lnTo>
                    <a:pt x="444027" y="33802"/>
                  </a:lnTo>
                  <a:lnTo>
                    <a:pt x="443610" y="21843"/>
                  </a:lnTo>
                  <a:lnTo>
                    <a:pt x="426701" y="14145"/>
                  </a:lnTo>
                  <a:lnTo>
                    <a:pt x="438993" y="10751"/>
                  </a:lnTo>
                  <a:lnTo>
                    <a:pt x="454282" y="16544"/>
                  </a:lnTo>
                  <a:lnTo>
                    <a:pt x="466545" y="26135"/>
                  </a:lnTo>
                  <a:lnTo>
                    <a:pt x="485986" y="32124"/>
                  </a:lnTo>
                  <a:lnTo>
                    <a:pt x="492578" y="29755"/>
                  </a:lnTo>
                  <a:lnTo>
                    <a:pt x="506886" y="36954"/>
                  </a:lnTo>
                  <a:lnTo>
                    <a:pt x="520371" y="30249"/>
                  </a:lnTo>
                  <a:lnTo>
                    <a:pt x="529043" y="32287"/>
                  </a:lnTo>
                  <a:lnTo>
                    <a:pt x="534446" y="27790"/>
                  </a:lnTo>
                  <a:lnTo>
                    <a:pt x="545044" y="39375"/>
                  </a:lnTo>
                  <a:lnTo>
                    <a:pt x="538893" y="51924"/>
                  </a:lnTo>
                  <a:lnTo>
                    <a:pt x="530128" y="61408"/>
                  </a:lnTo>
                  <a:lnTo>
                    <a:pt x="522196" y="62190"/>
                  </a:lnTo>
                  <a:lnTo>
                    <a:pt x="524870" y="71584"/>
                  </a:lnTo>
                  <a:lnTo>
                    <a:pt x="518089" y="83342"/>
                  </a:lnTo>
                  <a:lnTo>
                    <a:pt x="509890" y="94922"/>
                  </a:lnTo>
                  <a:lnTo>
                    <a:pt x="511541" y="101581"/>
                  </a:lnTo>
                  <a:lnTo>
                    <a:pt x="529892" y="114630"/>
                  </a:lnTo>
                  <a:lnTo>
                    <a:pt x="547669" y="122210"/>
                  </a:lnTo>
                  <a:lnTo>
                    <a:pt x="559560" y="130361"/>
                  </a:lnTo>
                  <a:lnTo>
                    <a:pt x="576243" y="144410"/>
                  </a:lnTo>
                  <a:lnTo>
                    <a:pt x="582751" y="144387"/>
                  </a:lnTo>
                  <a:lnTo>
                    <a:pt x="594832" y="150466"/>
                  </a:lnTo>
                  <a:lnTo>
                    <a:pt x="598341" y="157808"/>
                  </a:lnTo>
                  <a:lnTo>
                    <a:pt x="620377" y="165879"/>
                  </a:lnTo>
                  <a:lnTo>
                    <a:pt x="635617" y="157748"/>
                  </a:lnTo>
                  <a:lnTo>
                    <a:pt x="640133" y="144990"/>
                  </a:lnTo>
                  <a:lnTo>
                    <a:pt x="644818" y="134479"/>
                  </a:lnTo>
                  <a:lnTo>
                    <a:pt x="647684" y="121495"/>
                  </a:lnTo>
                  <a:lnTo>
                    <a:pt x="654700" y="102694"/>
                  </a:lnTo>
                  <a:lnTo>
                    <a:pt x="651496" y="91289"/>
                  </a:lnTo>
                  <a:lnTo>
                    <a:pt x="653161" y="84435"/>
                  </a:lnTo>
                  <a:lnTo>
                    <a:pt x="650492" y="70969"/>
                  </a:lnTo>
                  <a:lnTo>
                    <a:pt x="653517" y="53273"/>
                  </a:lnTo>
                  <a:lnTo>
                    <a:pt x="657943" y="48508"/>
                  </a:lnTo>
                  <a:lnTo>
                    <a:pt x="654350" y="40679"/>
                  </a:lnTo>
                  <a:lnTo>
                    <a:pt x="659928" y="28264"/>
                  </a:lnTo>
                  <a:lnTo>
                    <a:pt x="664309" y="15413"/>
                  </a:lnTo>
                  <a:lnTo>
                    <a:pt x="664892" y="87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5" name="Freeform 39">
              <a:extLst>
                <a:ext uri="{FF2B5EF4-FFF2-40B4-BE49-F238E27FC236}">
                  <a16:creationId xmlns:a16="http://schemas.microsoft.com/office/drawing/2014/main" id="{209F687F-1058-46A9-ADFF-A56C83C06FC2}"/>
                </a:ext>
              </a:extLst>
            </p:cNvPr>
            <p:cNvSpPr>
              <a:spLocks noChangeAspect="1"/>
            </p:cNvSpPr>
            <p:nvPr>
              <p:custDataLst>
                <p:tags r:id="rId45"/>
              </p:custDataLst>
            </p:nvPr>
          </p:nvSpPr>
          <p:spPr>
            <a:xfrm>
              <a:off x="4579510" y="3295541"/>
              <a:ext cx="173114" cy="76581"/>
            </a:xfrm>
            <a:custGeom>
              <a:avLst/>
              <a:gdLst/>
              <a:ahLst/>
              <a:cxnLst/>
              <a:rect l="0" t="0" r="0" b="0"/>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6" name="Freeform 40">
              <a:extLst>
                <a:ext uri="{FF2B5EF4-FFF2-40B4-BE49-F238E27FC236}">
                  <a16:creationId xmlns:a16="http://schemas.microsoft.com/office/drawing/2014/main" id="{582301F7-41D7-47D8-B00D-1A0EF32D6AE4}"/>
                </a:ext>
              </a:extLst>
            </p:cNvPr>
            <p:cNvSpPr>
              <a:spLocks noChangeAspect="1"/>
            </p:cNvSpPr>
            <p:nvPr>
              <p:custDataLst>
                <p:tags r:id="rId46"/>
              </p:custDataLst>
            </p:nvPr>
          </p:nvSpPr>
          <p:spPr>
            <a:xfrm>
              <a:off x="5394652" y="3501477"/>
              <a:ext cx="129236" cy="97797"/>
            </a:xfrm>
            <a:custGeom>
              <a:avLst/>
              <a:gdLst/>
              <a:ahLst/>
              <a:cxnLst/>
              <a:rect l="l" t="t" r="r" b="b"/>
              <a:pathLst>
                <a:path w="129236" h="97797">
                  <a:moveTo>
                    <a:pt x="4801" y="58135"/>
                  </a:moveTo>
                  <a:lnTo>
                    <a:pt x="11637" y="65411"/>
                  </a:lnTo>
                  <a:lnTo>
                    <a:pt x="21836" y="65350"/>
                  </a:lnTo>
                  <a:lnTo>
                    <a:pt x="21729" y="69528"/>
                  </a:lnTo>
                  <a:lnTo>
                    <a:pt x="31153" y="85144"/>
                  </a:lnTo>
                  <a:lnTo>
                    <a:pt x="15320" y="81562"/>
                  </a:lnTo>
                  <a:lnTo>
                    <a:pt x="3663" y="69093"/>
                  </a:lnTo>
                  <a:lnTo>
                    <a:pt x="0" y="58868"/>
                  </a:lnTo>
                  <a:close/>
                  <a:moveTo>
                    <a:pt x="37185" y="0"/>
                  </a:moveTo>
                  <a:lnTo>
                    <a:pt x="43674" y="928"/>
                  </a:lnTo>
                  <a:lnTo>
                    <a:pt x="59537" y="17687"/>
                  </a:lnTo>
                  <a:lnTo>
                    <a:pt x="69748" y="19566"/>
                  </a:lnTo>
                  <a:lnTo>
                    <a:pt x="73709" y="12562"/>
                  </a:lnTo>
                  <a:lnTo>
                    <a:pt x="87491" y="1433"/>
                  </a:lnTo>
                  <a:lnTo>
                    <a:pt x="99631" y="15965"/>
                  </a:lnTo>
                  <a:lnTo>
                    <a:pt x="111372" y="35433"/>
                  </a:lnTo>
                  <a:lnTo>
                    <a:pt x="122126" y="36712"/>
                  </a:lnTo>
                  <a:lnTo>
                    <a:pt x="129236" y="44075"/>
                  </a:lnTo>
                  <a:lnTo>
                    <a:pt x="110224" y="46269"/>
                  </a:lnTo>
                  <a:lnTo>
                    <a:pt x="106209" y="67369"/>
                  </a:lnTo>
                  <a:lnTo>
                    <a:pt x="102238" y="76839"/>
                  </a:lnTo>
                  <a:lnTo>
                    <a:pt x="93774" y="83143"/>
                  </a:lnTo>
                  <a:lnTo>
                    <a:pt x="94390" y="96459"/>
                  </a:lnTo>
                  <a:lnTo>
                    <a:pt x="88646" y="97797"/>
                  </a:lnTo>
                  <a:lnTo>
                    <a:pt x="74251" y="83721"/>
                  </a:lnTo>
                  <a:lnTo>
                    <a:pt x="82209" y="70365"/>
                  </a:lnTo>
                  <a:lnTo>
                    <a:pt x="75390" y="62416"/>
                  </a:lnTo>
                  <a:lnTo>
                    <a:pt x="66734" y="64419"/>
                  </a:lnTo>
                  <a:lnTo>
                    <a:pt x="39511" y="84352"/>
                  </a:lnTo>
                  <a:lnTo>
                    <a:pt x="38998" y="65617"/>
                  </a:lnTo>
                  <a:lnTo>
                    <a:pt x="28635" y="61175"/>
                  </a:lnTo>
                  <a:lnTo>
                    <a:pt x="18836" y="53787"/>
                  </a:lnTo>
                  <a:lnTo>
                    <a:pt x="25342" y="45114"/>
                  </a:lnTo>
                  <a:lnTo>
                    <a:pt x="13046" y="35745"/>
                  </a:lnTo>
                  <a:lnTo>
                    <a:pt x="17689" y="28877"/>
                  </a:lnTo>
                  <a:lnTo>
                    <a:pt x="8898" y="24129"/>
                  </a:lnTo>
                  <a:lnTo>
                    <a:pt x="4120" y="16906"/>
                  </a:lnTo>
                  <a:lnTo>
                    <a:pt x="9774" y="12407"/>
                  </a:lnTo>
                  <a:lnTo>
                    <a:pt x="26974" y="20324"/>
                  </a:lnTo>
                  <a:lnTo>
                    <a:pt x="39417" y="21957"/>
                  </a:lnTo>
                  <a:lnTo>
                    <a:pt x="42562" y="18734"/>
                  </a:lnTo>
                  <a:lnTo>
                    <a:pt x="31194" y="38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7" name="Freeform 41">
              <a:extLst>
                <a:ext uri="{FF2B5EF4-FFF2-40B4-BE49-F238E27FC236}">
                  <a16:creationId xmlns:a16="http://schemas.microsoft.com/office/drawing/2014/main" id="{1FBA70A4-0415-48FB-AE63-D127CEE14128}"/>
                </a:ext>
              </a:extLst>
            </p:cNvPr>
            <p:cNvSpPr>
              <a:spLocks noChangeAspect="1"/>
            </p:cNvSpPr>
            <p:nvPr>
              <p:custDataLst>
                <p:tags r:id="rId47"/>
              </p:custDataLst>
            </p:nvPr>
          </p:nvSpPr>
          <p:spPr>
            <a:xfrm>
              <a:off x="5030660" y="4582190"/>
              <a:ext cx="39872" cy="49722"/>
            </a:xfrm>
            <a:custGeom>
              <a:avLst/>
              <a:gdLst/>
              <a:ahLst/>
              <a:cxnLst/>
              <a:rect l="0" t="0" r="0" b="0"/>
              <a:pathLst>
                <a:path w="39872" h="49722">
                  <a:moveTo>
                    <a:pt x="7272" y="49721"/>
                  </a:moveTo>
                  <a:lnTo>
                    <a:pt x="5804" y="21839"/>
                  </a:lnTo>
                  <a:lnTo>
                    <a:pt x="0" y="11335"/>
                  </a:lnTo>
                  <a:lnTo>
                    <a:pt x="14016" y="13151"/>
                  </a:lnTo>
                  <a:lnTo>
                    <a:pt x="21084" y="0"/>
                  </a:lnTo>
                  <a:lnTo>
                    <a:pt x="33349" y="1509"/>
                  </a:lnTo>
                  <a:lnTo>
                    <a:pt x="34687" y="10605"/>
                  </a:lnTo>
                  <a:lnTo>
                    <a:pt x="39658" y="15841"/>
                  </a:lnTo>
                  <a:lnTo>
                    <a:pt x="39871" y="23351"/>
                  </a:lnTo>
                  <a:lnTo>
                    <a:pt x="34177" y="28187"/>
                  </a:lnTo>
                  <a:lnTo>
                    <a:pt x="25192" y="40243"/>
                  </a:lnTo>
                  <a:lnTo>
                    <a:pt x="16817" y="486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8" name="Freeform 42">
              <a:extLst>
                <a:ext uri="{FF2B5EF4-FFF2-40B4-BE49-F238E27FC236}">
                  <a16:creationId xmlns:a16="http://schemas.microsoft.com/office/drawing/2014/main" id="{FDEAF19C-B0B8-4F26-887F-33D839D0B292}"/>
                </a:ext>
              </a:extLst>
            </p:cNvPr>
            <p:cNvSpPr>
              <a:spLocks noChangeAspect="1"/>
            </p:cNvSpPr>
            <p:nvPr>
              <p:custDataLst>
                <p:tags r:id="rId48"/>
              </p:custDataLst>
            </p:nvPr>
          </p:nvSpPr>
          <p:spPr>
            <a:xfrm>
              <a:off x="4418707" y="3221910"/>
              <a:ext cx="84093" cy="58978"/>
            </a:xfrm>
            <a:custGeom>
              <a:avLst/>
              <a:gdLst/>
              <a:ahLst/>
              <a:cxnLst/>
              <a:rect l="0" t="0" r="0" b="0"/>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9" name="Freeform 43">
              <a:extLst>
                <a:ext uri="{FF2B5EF4-FFF2-40B4-BE49-F238E27FC236}">
                  <a16:creationId xmlns:a16="http://schemas.microsoft.com/office/drawing/2014/main" id="{59C368C4-C33B-4639-A4A7-F38AB37F3003}"/>
                </a:ext>
              </a:extLst>
            </p:cNvPr>
            <p:cNvSpPr>
              <a:spLocks noChangeAspect="1"/>
            </p:cNvSpPr>
            <p:nvPr>
              <p:custDataLst>
                <p:tags r:id="rId49"/>
              </p:custDataLst>
            </p:nvPr>
          </p:nvSpPr>
          <p:spPr>
            <a:xfrm>
              <a:off x="4378514" y="4244155"/>
              <a:ext cx="69821" cy="141865"/>
            </a:xfrm>
            <a:custGeom>
              <a:avLst/>
              <a:gdLst/>
              <a:ahLst/>
              <a:cxnLst/>
              <a:rect l="0" t="0" r="0" b="0"/>
              <a:pathLst>
                <a:path w="69821" h="141865">
                  <a:moveTo>
                    <a:pt x="44304" y="139161"/>
                  </a:moveTo>
                  <a:lnTo>
                    <a:pt x="25227" y="141864"/>
                  </a:lnTo>
                  <a:lnTo>
                    <a:pt x="19542" y="125874"/>
                  </a:lnTo>
                  <a:lnTo>
                    <a:pt x="20593" y="72530"/>
                  </a:lnTo>
                  <a:lnTo>
                    <a:pt x="15943" y="67735"/>
                  </a:lnTo>
                  <a:lnTo>
                    <a:pt x="15067" y="56304"/>
                  </a:lnTo>
                  <a:lnTo>
                    <a:pt x="7051" y="48141"/>
                  </a:lnTo>
                  <a:lnTo>
                    <a:pt x="0" y="41256"/>
                  </a:lnTo>
                  <a:lnTo>
                    <a:pt x="2937" y="28964"/>
                  </a:lnTo>
                  <a:lnTo>
                    <a:pt x="10875" y="26320"/>
                  </a:lnTo>
                  <a:lnTo>
                    <a:pt x="15577" y="16101"/>
                  </a:lnTo>
                  <a:lnTo>
                    <a:pt x="26860" y="13916"/>
                  </a:lnTo>
                  <a:lnTo>
                    <a:pt x="31904" y="6919"/>
                  </a:lnTo>
                  <a:lnTo>
                    <a:pt x="39652" y="61"/>
                  </a:lnTo>
                  <a:lnTo>
                    <a:pt x="47927" y="0"/>
                  </a:lnTo>
                  <a:lnTo>
                    <a:pt x="65528" y="13471"/>
                  </a:lnTo>
                  <a:lnTo>
                    <a:pt x="64629" y="21239"/>
                  </a:lnTo>
                  <a:lnTo>
                    <a:pt x="69820" y="35096"/>
                  </a:lnTo>
                  <a:lnTo>
                    <a:pt x="65272" y="44489"/>
                  </a:lnTo>
                  <a:lnTo>
                    <a:pt x="67704" y="50762"/>
                  </a:lnTo>
                  <a:lnTo>
                    <a:pt x="56507" y="65185"/>
                  </a:lnTo>
                  <a:lnTo>
                    <a:pt x="49396" y="72321"/>
                  </a:lnTo>
                  <a:lnTo>
                    <a:pt x="45045" y="86991"/>
                  </a:lnTo>
                  <a:lnTo>
                    <a:pt x="45628" y="1017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0" name="Freeform 44">
              <a:extLst>
                <a:ext uri="{FF2B5EF4-FFF2-40B4-BE49-F238E27FC236}">
                  <a16:creationId xmlns:a16="http://schemas.microsoft.com/office/drawing/2014/main" id="{149F7DB9-86D2-43E4-9105-DDA674AB5306}"/>
                </a:ext>
              </a:extLst>
            </p:cNvPr>
            <p:cNvSpPr>
              <a:spLocks noChangeAspect="1"/>
            </p:cNvSpPr>
            <p:nvPr>
              <p:custDataLst>
                <p:tags r:id="rId50"/>
              </p:custDataLst>
            </p:nvPr>
          </p:nvSpPr>
          <p:spPr>
            <a:xfrm>
              <a:off x="4234411" y="4176430"/>
              <a:ext cx="176530" cy="129029"/>
            </a:xfrm>
            <a:custGeom>
              <a:avLst/>
              <a:gdLst/>
              <a:ahLst/>
              <a:cxnLst/>
              <a:rect l="0" t="0" r="0" b="0"/>
              <a:pathLst>
                <a:path w="176530" h="129029">
                  <a:moveTo>
                    <a:pt x="61009" y="128291"/>
                  </a:moveTo>
                  <a:lnTo>
                    <a:pt x="45211" y="122283"/>
                  </a:lnTo>
                  <a:lnTo>
                    <a:pt x="34396" y="123168"/>
                  </a:lnTo>
                  <a:lnTo>
                    <a:pt x="26322" y="129028"/>
                  </a:lnTo>
                  <a:lnTo>
                    <a:pt x="15943" y="124109"/>
                  </a:lnTo>
                  <a:lnTo>
                    <a:pt x="11909" y="116400"/>
                  </a:lnTo>
                  <a:lnTo>
                    <a:pt x="1529" y="111315"/>
                  </a:lnTo>
                  <a:lnTo>
                    <a:pt x="0" y="97765"/>
                  </a:lnTo>
                  <a:lnTo>
                    <a:pt x="6295" y="87861"/>
                  </a:lnTo>
                  <a:lnTo>
                    <a:pt x="5762" y="79940"/>
                  </a:lnTo>
                  <a:lnTo>
                    <a:pt x="24084" y="60532"/>
                  </a:lnTo>
                  <a:lnTo>
                    <a:pt x="27472" y="44441"/>
                  </a:lnTo>
                  <a:lnTo>
                    <a:pt x="33797" y="38709"/>
                  </a:lnTo>
                  <a:lnTo>
                    <a:pt x="44960" y="41876"/>
                  </a:lnTo>
                  <a:lnTo>
                    <a:pt x="54634" y="37093"/>
                  </a:lnTo>
                  <a:lnTo>
                    <a:pt x="57773" y="31053"/>
                  </a:lnTo>
                  <a:lnTo>
                    <a:pt x="75682" y="20505"/>
                  </a:lnTo>
                  <a:lnTo>
                    <a:pt x="80086" y="13141"/>
                  </a:lnTo>
                  <a:lnTo>
                    <a:pt x="101661" y="3359"/>
                  </a:lnTo>
                  <a:lnTo>
                    <a:pt x="114368" y="0"/>
                  </a:lnTo>
                  <a:lnTo>
                    <a:pt x="120129" y="4527"/>
                  </a:lnTo>
                  <a:lnTo>
                    <a:pt x="134929" y="4419"/>
                  </a:lnTo>
                  <a:lnTo>
                    <a:pt x="133100" y="15846"/>
                  </a:lnTo>
                  <a:lnTo>
                    <a:pt x="136199" y="26570"/>
                  </a:lnTo>
                  <a:lnTo>
                    <a:pt x="149198" y="41921"/>
                  </a:lnTo>
                  <a:lnTo>
                    <a:pt x="149914" y="53281"/>
                  </a:lnTo>
                  <a:lnTo>
                    <a:pt x="176529" y="58600"/>
                  </a:lnTo>
                  <a:lnTo>
                    <a:pt x="176007" y="74644"/>
                  </a:lnTo>
                  <a:lnTo>
                    <a:pt x="170963" y="81641"/>
                  </a:lnTo>
                  <a:lnTo>
                    <a:pt x="159680" y="83826"/>
                  </a:lnTo>
                  <a:lnTo>
                    <a:pt x="154978" y="94045"/>
                  </a:lnTo>
                  <a:lnTo>
                    <a:pt x="147040" y="96689"/>
                  </a:lnTo>
                  <a:lnTo>
                    <a:pt x="126825" y="96191"/>
                  </a:lnTo>
                  <a:lnTo>
                    <a:pt x="116149" y="94330"/>
                  </a:lnTo>
                  <a:lnTo>
                    <a:pt x="108696" y="98100"/>
                  </a:lnTo>
                  <a:lnTo>
                    <a:pt x="98499" y="96398"/>
                  </a:lnTo>
                  <a:lnTo>
                    <a:pt x="58403" y="97498"/>
                  </a:lnTo>
                  <a:lnTo>
                    <a:pt x="57861" y="1107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1" name="Freeform 45">
              <a:extLst>
                <a:ext uri="{FF2B5EF4-FFF2-40B4-BE49-F238E27FC236}">
                  <a16:creationId xmlns:a16="http://schemas.microsoft.com/office/drawing/2014/main" id="{37D38A7D-843C-40BE-B742-9D32D06D4937}"/>
                </a:ext>
              </a:extLst>
            </p:cNvPr>
            <p:cNvSpPr>
              <a:spLocks noChangeAspect="1"/>
            </p:cNvSpPr>
            <p:nvPr>
              <p:custDataLst>
                <p:tags r:id="rId51"/>
              </p:custDataLst>
            </p:nvPr>
          </p:nvSpPr>
          <p:spPr>
            <a:xfrm>
              <a:off x="6393910" y="3903148"/>
              <a:ext cx="105912" cy="140919"/>
            </a:xfrm>
            <a:custGeom>
              <a:avLst/>
              <a:gdLst/>
              <a:ahLst/>
              <a:cxnLst/>
              <a:rect l="0" t="0" r="0" b="0"/>
              <a:pathLst>
                <a:path w="105912" h="140919">
                  <a:moveTo>
                    <a:pt x="105911" y="107825"/>
                  </a:moveTo>
                  <a:lnTo>
                    <a:pt x="105439" y="125169"/>
                  </a:lnTo>
                  <a:lnTo>
                    <a:pt x="97382" y="121511"/>
                  </a:lnTo>
                  <a:lnTo>
                    <a:pt x="98890" y="140918"/>
                  </a:lnTo>
                  <a:lnTo>
                    <a:pt x="92296" y="128351"/>
                  </a:lnTo>
                  <a:lnTo>
                    <a:pt x="90965" y="116046"/>
                  </a:lnTo>
                  <a:lnTo>
                    <a:pt x="86572" y="104392"/>
                  </a:lnTo>
                  <a:lnTo>
                    <a:pt x="76927" y="90266"/>
                  </a:lnTo>
                  <a:lnTo>
                    <a:pt x="55666" y="89294"/>
                  </a:lnTo>
                  <a:lnTo>
                    <a:pt x="57766" y="99303"/>
                  </a:lnTo>
                  <a:lnTo>
                    <a:pt x="50518" y="112785"/>
                  </a:lnTo>
                  <a:lnTo>
                    <a:pt x="40696" y="107876"/>
                  </a:lnTo>
                  <a:lnTo>
                    <a:pt x="37340" y="112283"/>
                  </a:lnTo>
                  <a:lnTo>
                    <a:pt x="30803" y="109643"/>
                  </a:lnTo>
                  <a:lnTo>
                    <a:pt x="21872" y="107475"/>
                  </a:lnTo>
                  <a:lnTo>
                    <a:pt x="18280" y="87492"/>
                  </a:lnTo>
                  <a:lnTo>
                    <a:pt x="10280" y="69177"/>
                  </a:lnTo>
                  <a:lnTo>
                    <a:pt x="14209" y="54453"/>
                  </a:lnTo>
                  <a:lnTo>
                    <a:pt x="0" y="47893"/>
                  </a:lnTo>
                  <a:lnTo>
                    <a:pt x="5124" y="38955"/>
                  </a:lnTo>
                  <a:lnTo>
                    <a:pt x="19555" y="29800"/>
                  </a:lnTo>
                  <a:lnTo>
                    <a:pt x="2894" y="16762"/>
                  </a:lnTo>
                  <a:lnTo>
                    <a:pt x="11049" y="0"/>
                  </a:lnTo>
                  <a:lnTo>
                    <a:pt x="29331" y="10683"/>
                  </a:lnTo>
                  <a:lnTo>
                    <a:pt x="40350" y="11901"/>
                  </a:lnTo>
                  <a:lnTo>
                    <a:pt x="42387" y="29036"/>
                  </a:lnTo>
                  <a:lnTo>
                    <a:pt x="64350" y="32408"/>
                  </a:lnTo>
                  <a:lnTo>
                    <a:pt x="85757" y="32044"/>
                  </a:lnTo>
                  <a:lnTo>
                    <a:pt x="99066" y="36239"/>
                  </a:lnTo>
                  <a:lnTo>
                    <a:pt x="88423" y="56981"/>
                  </a:lnTo>
                  <a:lnTo>
                    <a:pt x="78097" y="58394"/>
                  </a:lnTo>
                  <a:lnTo>
                    <a:pt x="70969" y="72290"/>
                  </a:lnTo>
                  <a:lnTo>
                    <a:pt x="83607" y="84912"/>
                  </a:lnTo>
                  <a:lnTo>
                    <a:pt x="87380" y="69343"/>
                  </a:lnTo>
                  <a:lnTo>
                    <a:pt x="93754" y="692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2" name="Freeform 46">
              <a:extLst>
                <a:ext uri="{FF2B5EF4-FFF2-40B4-BE49-F238E27FC236}">
                  <a16:creationId xmlns:a16="http://schemas.microsoft.com/office/drawing/2014/main" id="{51BB79AD-C707-4B9D-8322-F4D03E348EA4}"/>
                </a:ext>
              </a:extLst>
            </p:cNvPr>
            <p:cNvSpPr>
              <a:spLocks noChangeAspect="1"/>
            </p:cNvSpPr>
            <p:nvPr>
              <p:custDataLst>
                <p:tags r:id="rId52"/>
              </p:custDataLst>
            </p:nvPr>
          </p:nvSpPr>
          <p:spPr>
            <a:xfrm>
              <a:off x="4877289" y="3435021"/>
              <a:ext cx="142596" cy="83738"/>
            </a:xfrm>
            <a:custGeom>
              <a:avLst/>
              <a:gdLst/>
              <a:ahLst/>
              <a:cxnLst/>
              <a:rect l="0" t="0" r="0" b="0"/>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3" name="Freeform 47">
              <a:extLst>
                <a:ext uri="{FF2B5EF4-FFF2-40B4-BE49-F238E27FC236}">
                  <a16:creationId xmlns:a16="http://schemas.microsoft.com/office/drawing/2014/main" id="{01773D6C-BE65-4B5D-91E5-A86E73498C4F}"/>
                </a:ext>
              </a:extLst>
            </p:cNvPr>
            <p:cNvSpPr>
              <a:spLocks noChangeAspect="1"/>
            </p:cNvSpPr>
            <p:nvPr>
              <p:custDataLst>
                <p:tags r:id="rId53"/>
              </p:custDataLst>
            </p:nvPr>
          </p:nvSpPr>
          <p:spPr>
            <a:xfrm>
              <a:off x="4724239" y="3406597"/>
              <a:ext cx="88864" cy="72954"/>
            </a:xfrm>
            <a:custGeom>
              <a:avLst/>
              <a:gdLst/>
              <a:ahLst/>
              <a:cxnLst/>
              <a:rect l="0" t="0" r="0" b="0"/>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4" name="Freeform 48">
              <a:extLst>
                <a:ext uri="{FF2B5EF4-FFF2-40B4-BE49-F238E27FC236}">
                  <a16:creationId xmlns:a16="http://schemas.microsoft.com/office/drawing/2014/main" id="{86C4D770-1793-4A7A-A85A-A23ED636FE01}"/>
                </a:ext>
              </a:extLst>
            </p:cNvPr>
            <p:cNvSpPr>
              <a:spLocks noChangeAspect="1"/>
            </p:cNvSpPr>
            <p:nvPr>
              <p:custDataLst>
                <p:tags r:id="rId54"/>
              </p:custDataLst>
            </p:nvPr>
          </p:nvSpPr>
          <p:spPr>
            <a:xfrm>
              <a:off x="4896193" y="3073544"/>
              <a:ext cx="219151" cy="153132"/>
            </a:xfrm>
            <a:custGeom>
              <a:avLst/>
              <a:gdLst/>
              <a:ahLst/>
              <a:cxnLst/>
              <a:rect l="0" t="0" r="0" b="0"/>
              <a:pathLst>
                <a:path w="219151" h="153132">
                  <a:moveTo>
                    <a:pt x="6570" y="72461"/>
                  </a:moveTo>
                  <a:lnTo>
                    <a:pt x="28881" y="72676"/>
                  </a:lnTo>
                  <a:lnTo>
                    <a:pt x="53941" y="60733"/>
                  </a:lnTo>
                  <a:lnTo>
                    <a:pt x="59298" y="42722"/>
                  </a:lnTo>
                  <a:lnTo>
                    <a:pt x="78222" y="32446"/>
                  </a:lnTo>
                  <a:lnTo>
                    <a:pt x="76053" y="17996"/>
                  </a:lnTo>
                  <a:lnTo>
                    <a:pt x="90091" y="12547"/>
                  </a:lnTo>
                  <a:lnTo>
                    <a:pt x="114887" y="0"/>
                  </a:lnTo>
                  <a:lnTo>
                    <a:pt x="139189" y="8164"/>
                  </a:lnTo>
                  <a:lnTo>
                    <a:pt x="142468" y="16216"/>
                  </a:lnTo>
                  <a:lnTo>
                    <a:pt x="154580" y="12347"/>
                  </a:lnTo>
                  <a:lnTo>
                    <a:pt x="177146" y="20070"/>
                  </a:lnTo>
                  <a:lnTo>
                    <a:pt x="179406" y="35198"/>
                  </a:lnTo>
                  <a:lnTo>
                    <a:pt x="174460" y="43849"/>
                  </a:lnTo>
                  <a:lnTo>
                    <a:pt x="188931" y="64714"/>
                  </a:lnTo>
                  <a:lnTo>
                    <a:pt x="198325" y="70495"/>
                  </a:lnTo>
                  <a:lnTo>
                    <a:pt x="196936" y="76205"/>
                  </a:lnTo>
                  <a:lnTo>
                    <a:pt x="212501" y="81756"/>
                  </a:lnTo>
                  <a:lnTo>
                    <a:pt x="219150" y="90143"/>
                  </a:lnTo>
                  <a:lnTo>
                    <a:pt x="210168" y="97000"/>
                  </a:lnTo>
                  <a:lnTo>
                    <a:pt x="191543" y="95913"/>
                  </a:lnTo>
                  <a:lnTo>
                    <a:pt x="187101" y="98838"/>
                  </a:lnTo>
                  <a:lnTo>
                    <a:pt x="192522" y="109202"/>
                  </a:lnTo>
                  <a:lnTo>
                    <a:pt x="198199" y="129073"/>
                  </a:lnTo>
                  <a:lnTo>
                    <a:pt x="178384" y="130906"/>
                  </a:lnTo>
                  <a:lnTo>
                    <a:pt x="171272" y="137677"/>
                  </a:lnTo>
                  <a:lnTo>
                    <a:pt x="169787" y="153131"/>
                  </a:lnTo>
                  <a:lnTo>
                    <a:pt x="160606" y="150171"/>
                  </a:lnTo>
                  <a:lnTo>
                    <a:pt x="139776" y="151639"/>
                  </a:lnTo>
                  <a:lnTo>
                    <a:pt x="133726" y="144467"/>
                  </a:lnTo>
                  <a:lnTo>
                    <a:pt x="125064" y="149816"/>
                  </a:lnTo>
                  <a:lnTo>
                    <a:pt x="116386" y="145383"/>
                  </a:lnTo>
                  <a:lnTo>
                    <a:pt x="98207" y="144767"/>
                  </a:lnTo>
                  <a:lnTo>
                    <a:pt x="72444" y="137385"/>
                  </a:lnTo>
                  <a:lnTo>
                    <a:pt x="49126" y="134970"/>
                  </a:lnTo>
                  <a:lnTo>
                    <a:pt x="31245" y="135654"/>
                  </a:lnTo>
                  <a:lnTo>
                    <a:pt x="18595" y="143994"/>
                  </a:lnTo>
                  <a:lnTo>
                    <a:pt x="7561" y="145192"/>
                  </a:lnTo>
                  <a:lnTo>
                    <a:pt x="7121" y="131484"/>
                  </a:lnTo>
                  <a:lnTo>
                    <a:pt x="0" y="117136"/>
                  </a:lnTo>
                  <a:lnTo>
                    <a:pt x="13843" y="110789"/>
                  </a:lnTo>
                  <a:lnTo>
                    <a:pt x="13975" y="98346"/>
                  </a:lnTo>
                  <a:lnTo>
                    <a:pt x="7572" y="864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5" name="Freeform 49">
              <a:extLst>
                <a:ext uri="{FF2B5EF4-FFF2-40B4-BE49-F238E27FC236}">
                  <a16:creationId xmlns:a16="http://schemas.microsoft.com/office/drawing/2014/main" id="{4AEED0B9-FFC5-4F02-8F0E-4F92C8D5CAF8}"/>
                </a:ext>
              </a:extLst>
            </p:cNvPr>
            <p:cNvSpPr>
              <a:spLocks noChangeAspect="1"/>
            </p:cNvSpPr>
            <p:nvPr>
              <p:custDataLst>
                <p:tags r:id="rId55"/>
              </p:custDataLst>
            </p:nvPr>
          </p:nvSpPr>
          <p:spPr>
            <a:xfrm>
              <a:off x="6996821" y="4402101"/>
              <a:ext cx="28778" cy="33315"/>
            </a:xfrm>
            <a:custGeom>
              <a:avLst/>
              <a:gdLst/>
              <a:ahLst/>
              <a:cxnLst/>
              <a:rect l="0" t="0" r="0" b="0"/>
              <a:pathLst>
                <a:path w="28778" h="33315">
                  <a:moveTo>
                    <a:pt x="0" y="21331"/>
                  </a:moveTo>
                  <a:lnTo>
                    <a:pt x="9139" y="12676"/>
                  </a:lnTo>
                  <a:lnTo>
                    <a:pt x="28777" y="0"/>
                  </a:lnTo>
                  <a:lnTo>
                    <a:pt x="27738" y="11398"/>
                  </a:lnTo>
                  <a:lnTo>
                    <a:pt x="26394" y="26170"/>
                  </a:lnTo>
                  <a:lnTo>
                    <a:pt x="15363" y="25437"/>
                  </a:lnTo>
                  <a:lnTo>
                    <a:pt x="10516" y="33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6" name="Freeform 50">
              <a:extLst>
                <a:ext uri="{FF2B5EF4-FFF2-40B4-BE49-F238E27FC236}">
                  <a16:creationId xmlns:a16="http://schemas.microsoft.com/office/drawing/2014/main" id="{B3118957-C9D8-4A91-8AC7-02E470A33363}"/>
                </a:ext>
              </a:extLst>
            </p:cNvPr>
            <p:cNvSpPr>
              <a:spLocks noChangeAspect="1"/>
            </p:cNvSpPr>
            <p:nvPr>
              <p:custDataLst>
                <p:tags r:id="rId56"/>
              </p:custDataLst>
            </p:nvPr>
          </p:nvSpPr>
          <p:spPr>
            <a:xfrm>
              <a:off x="6410757" y="3857125"/>
              <a:ext cx="75931" cy="39265"/>
            </a:xfrm>
            <a:custGeom>
              <a:avLst/>
              <a:gdLst/>
              <a:ahLst/>
              <a:cxnLst/>
              <a:rect l="0" t="0" r="0" b="0"/>
              <a:pathLst>
                <a:path w="75931" h="39265">
                  <a:moveTo>
                    <a:pt x="66534" y="13103"/>
                  </a:moveTo>
                  <a:lnTo>
                    <a:pt x="75930" y="21053"/>
                  </a:lnTo>
                  <a:lnTo>
                    <a:pt x="74309" y="36316"/>
                  </a:lnTo>
                  <a:lnTo>
                    <a:pt x="55474" y="37052"/>
                  </a:lnTo>
                  <a:lnTo>
                    <a:pt x="35986" y="35388"/>
                  </a:lnTo>
                  <a:lnTo>
                    <a:pt x="21473" y="39264"/>
                  </a:lnTo>
                  <a:lnTo>
                    <a:pt x="494" y="29846"/>
                  </a:lnTo>
                  <a:lnTo>
                    <a:pt x="0" y="24867"/>
                  </a:lnTo>
                  <a:lnTo>
                    <a:pt x="15271" y="6340"/>
                  </a:lnTo>
                  <a:lnTo>
                    <a:pt x="27736" y="0"/>
                  </a:lnTo>
                  <a:lnTo>
                    <a:pt x="44232" y="5786"/>
                  </a:lnTo>
                  <a:lnTo>
                    <a:pt x="56428" y="63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7" name="Freeform 51">
              <a:extLst>
                <a:ext uri="{FF2B5EF4-FFF2-40B4-BE49-F238E27FC236}">
                  <a16:creationId xmlns:a16="http://schemas.microsoft.com/office/drawing/2014/main" id="{BE7A7562-8E5E-40EF-ADDE-CE1A67DE4CF0}"/>
                </a:ext>
              </a:extLst>
            </p:cNvPr>
            <p:cNvSpPr>
              <a:spLocks noChangeAspect="1"/>
            </p:cNvSpPr>
            <p:nvPr>
              <p:custDataLst>
                <p:tags r:id="rId57"/>
              </p:custDataLst>
            </p:nvPr>
          </p:nvSpPr>
          <p:spPr>
            <a:xfrm>
              <a:off x="4819927" y="4939848"/>
              <a:ext cx="220134" cy="222411"/>
            </a:xfrm>
            <a:custGeom>
              <a:avLst/>
              <a:gdLst/>
              <a:ahLst/>
              <a:cxnLst/>
              <a:rect l="0" t="0" r="0" b="0"/>
              <a:pathLst>
                <a:path w="220134" h="222411">
                  <a:moveTo>
                    <a:pt x="132811" y="20842"/>
                  </a:moveTo>
                  <a:lnTo>
                    <a:pt x="137456" y="25103"/>
                  </a:lnTo>
                  <a:lnTo>
                    <a:pt x="144713" y="38945"/>
                  </a:lnTo>
                  <a:lnTo>
                    <a:pt x="170836" y="65305"/>
                  </a:lnTo>
                  <a:lnTo>
                    <a:pt x="180721" y="67892"/>
                  </a:lnTo>
                  <a:lnTo>
                    <a:pt x="180778" y="76386"/>
                  </a:lnTo>
                  <a:lnTo>
                    <a:pt x="187568" y="91688"/>
                  </a:lnTo>
                  <a:lnTo>
                    <a:pt x="205417" y="95397"/>
                  </a:lnTo>
                  <a:lnTo>
                    <a:pt x="220133" y="106333"/>
                  </a:lnTo>
                  <a:lnTo>
                    <a:pt x="187472" y="124204"/>
                  </a:lnTo>
                  <a:lnTo>
                    <a:pt x="166748" y="142382"/>
                  </a:lnTo>
                  <a:lnTo>
                    <a:pt x="159061" y="158662"/>
                  </a:lnTo>
                  <a:lnTo>
                    <a:pt x="152121" y="167863"/>
                  </a:lnTo>
                  <a:lnTo>
                    <a:pt x="139562" y="169826"/>
                  </a:lnTo>
                  <a:lnTo>
                    <a:pt x="135504" y="181575"/>
                  </a:lnTo>
                  <a:lnTo>
                    <a:pt x="133169" y="189252"/>
                  </a:lnTo>
                  <a:lnTo>
                    <a:pt x="118407" y="194989"/>
                  </a:lnTo>
                  <a:lnTo>
                    <a:pt x="99620" y="193770"/>
                  </a:lnTo>
                  <a:lnTo>
                    <a:pt x="88594" y="186871"/>
                  </a:lnTo>
                  <a:lnTo>
                    <a:pt x="78865" y="183883"/>
                  </a:lnTo>
                  <a:lnTo>
                    <a:pt x="67605" y="189588"/>
                  </a:lnTo>
                  <a:lnTo>
                    <a:pt x="61956" y="201399"/>
                  </a:lnTo>
                  <a:lnTo>
                    <a:pt x="51025" y="208831"/>
                  </a:lnTo>
                  <a:lnTo>
                    <a:pt x="39481" y="219880"/>
                  </a:lnTo>
                  <a:lnTo>
                    <a:pt x="22948" y="222410"/>
                  </a:lnTo>
                  <a:lnTo>
                    <a:pt x="17797" y="213710"/>
                  </a:lnTo>
                  <a:lnTo>
                    <a:pt x="19924" y="198651"/>
                  </a:lnTo>
                  <a:lnTo>
                    <a:pt x="6238" y="175264"/>
                  </a:lnTo>
                  <a:lnTo>
                    <a:pt x="7" y="171578"/>
                  </a:lnTo>
                  <a:lnTo>
                    <a:pt x="0" y="100470"/>
                  </a:lnTo>
                  <a:lnTo>
                    <a:pt x="22752" y="99627"/>
                  </a:lnTo>
                  <a:lnTo>
                    <a:pt x="23433" y="14069"/>
                  </a:lnTo>
                  <a:lnTo>
                    <a:pt x="40616" y="13280"/>
                  </a:lnTo>
                  <a:lnTo>
                    <a:pt x="76205" y="4935"/>
                  </a:lnTo>
                  <a:lnTo>
                    <a:pt x="85026" y="14762"/>
                  </a:lnTo>
                  <a:lnTo>
                    <a:pt x="99761" y="5419"/>
                  </a:lnTo>
                  <a:lnTo>
                    <a:pt x="106763" y="5366"/>
                  </a:lnTo>
                  <a:lnTo>
                    <a:pt x="119775" y="0"/>
                  </a:lnTo>
                  <a:lnTo>
                    <a:pt x="123925" y="177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8" name="Freeform 52">
              <a:extLst>
                <a:ext uri="{FF2B5EF4-FFF2-40B4-BE49-F238E27FC236}">
                  <a16:creationId xmlns:a16="http://schemas.microsoft.com/office/drawing/2014/main" id="{5CECE832-6513-46FC-8F5F-1722DD77F626}"/>
                </a:ext>
              </a:extLst>
            </p:cNvPr>
            <p:cNvSpPr>
              <a:spLocks noChangeAspect="1"/>
            </p:cNvSpPr>
            <p:nvPr>
              <p:custDataLst>
                <p:tags r:id="rId58"/>
              </p:custDataLst>
            </p:nvPr>
          </p:nvSpPr>
          <p:spPr>
            <a:xfrm>
              <a:off x="4694448" y="4269730"/>
              <a:ext cx="298110" cy="205890"/>
            </a:xfrm>
            <a:custGeom>
              <a:avLst/>
              <a:gdLst/>
              <a:ahLst/>
              <a:cxnLst/>
              <a:rect l="0" t="0" r="0" b="0"/>
              <a:pathLst>
                <a:path w="298110" h="205890">
                  <a:moveTo>
                    <a:pt x="18929" y="86615"/>
                  </a:moveTo>
                  <a:lnTo>
                    <a:pt x="38014" y="84871"/>
                  </a:lnTo>
                  <a:lnTo>
                    <a:pt x="42268" y="78900"/>
                  </a:lnTo>
                  <a:lnTo>
                    <a:pt x="46091" y="79353"/>
                  </a:lnTo>
                  <a:lnTo>
                    <a:pt x="51857" y="84610"/>
                  </a:lnTo>
                  <a:lnTo>
                    <a:pt x="80917" y="75728"/>
                  </a:lnTo>
                  <a:lnTo>
                    <a:pt x="90718" y="66658"/>
                  </a:lnTo>
                  <a:lnTo>
                    <a:pt x="102755" y="58533"/>
                  </a:lnTo>
                  <a:lnTo>
                    <a:pt x="100470" y="50345"/>
                  </a:lnTo>
                  <a:lnTo>
                    <a:pt x="106979" y="48206"/>
                  </a:lnTo>
                  <a:lnTo>
                    <a:pt x="129270" y="49652"/>
                  </a:lnTo>
                  <a:lnTo>
                    <a:pt x="150995" y="38869"/>
                  </a:lnTo>
                  <a:lnTo>
                    <a:pt x="167682" y="13435"/>
                  </a:lnTo>
                  <a:lnTo>
                    <a:pt x="179392" y="3984"/>
                  </a:lnTo>
                  <a:lnTo>
                    <a:pt x="194005" y="0"/>
                  </a:lnTo>
                  <a:lnTo>
                    <a:pt x="196622" y="9994"/>
                  </a:lnTo>
                  <a:lnTo>
                    <a:pt x="209935" y="24580"/>
                  </a:lnTo>
                  <a:lnTo>
                    <a:pt x="210003" y="34088"/>
                  </a:lnTo>
                  <a:lnTo>
                    <a:pt x="206252" y="43779"/>
                  </a:lnTo>
                  <a:lnTo>
                    <a:pt x="207735" y="51011"/>
                  </a:lnTo>
                  <a:lnTo>
                    <a:pt x="215740" y="57709"/>
                  </a:lnTo>
                  <a:lnTo>
                    <a:pt x="233319" y="67870"/>
                  </a:lnTo>
                  <a:lnTo>
                    <a:pt x="245958" y="77256"/>
                  </a:lnTo>
                  <a:lnTo>
                    <a:pt x="246171" y="84801"/>
                  </a:lnTo>
                  <a:lnTo>
                    <a:pt x="261694" y="96884"/>
                  </a:lnTo>
                  <a:lnTo>
                    <a:pt x="271314" y="106916"/>
                  </a:lnTo>
                  <a:lnTo>
                    <a:pt x="277142" y="120816"/>
                  </a:lnTo>
                  <a:lnTo>
                    <a:pt x="294397" y="129981"/>
                  </a:lnTo>
                  <a:lnTo>
                    <a:pt x="298109" y="137320"/>
                  </a:lnTo>
                  <a:lnTo>
                    <a:pt x="290488" y="139775"/>
                  </a:lnTo>
                  <a:lnTo>
                    <a:pt x="275685" y="139242"/>
                  </a:lnTo>
                  <a:lnTo>
                    <a:pt x="258319" y="136807"/>
                  </a:lnTo>
                  <a:lnTo>
                    <a:pt x="249741" y="138790"/>
                  </a:lnTo>
                  <a:lnTo>
                    <a:pt x="246279" y="144417"/>
                  </a:lnTo>
                  <a:lnTo>
                    <a:pt x="238805" y="145111"/>
                  </a:lnTo>
                  <a:lnTo>
                    <a:pt x="229699" y="140216"/>
                  </a:lnTo>
                  <a:lnTo>
                    <a:pt x="204001" y="151763"/>
                  </a:lnTo>
                  <a:lnTo>
                    <a:pt x="193481" y="149440"/>
                  </a:lnTo>
                  <a:lnTo>
                    <a:pt x="190310" y="151223"/>
                  </a:lnTo>
                  <a:lnTo>
                    <a:pt x="183409" y="165188"/>
                  </a:lnTo>
                  <a:lnTo>
                    <a:pt x="166189" y="160675"/>
                  </a:lnTo>
                  <a:lnTo>
                    <a:pt x="149303" y="158399"/>
                  </a:lnTo>
                  <a:lnTo>
                    <a:pt x="134602" y="149867"/>
                  </a:lnTo>
                  <a:lnTo>
                    <a:pt x="115607" y="142004"/>
                  </a:lnTo>
                  <a:lnTo>
                    <a:pt x="103247" y="149454"/>
                  </a:lnTo>
                  <a:lnTo>
                    <a:pt x="94260" y="161196"/>
                  </a:lnTo>
                  <a:lnTo>
                    <a:pt x="92185" y="177318"/>
                  </a:lnTo>
                  <a:lnTo>
                    <a:pt x="77339" y="176028"/>
                  </a:lnTo>
                  <a:lnTo>
                    <a:pt x="61715" y="172145"/>
                  </a:lnTo>
                  <a:lnTo>
                    <a:pt x="47958" y="184392"/>
                  </a:lnTo>
                  <a:lnTo>
                    <a:pt x="35858" y="205889"/>
                  </a:lnTo>
                  <a:lnTo>
                    <a:pt x="33423" y="199197"/>
                  </a:lnTo>
                  <a:lnTo>
                    <a:pt x="32393" y="188659"/>
                  </a:lnTo>
                  <a:lnTo>
                    <a:pt x="21836" y="181225"/>
                  </a:lnTo>
                  <a:lnTo>
                    <a:pt x="13315" y="169298"/>
                  </a:lnTo>
                  <a:lnTo>
                    <a:pt x="11347" y="160998"/>
                  </a:lnTo>
                  <a:lnTo>
                    <a:pt x="438" y="148920"/>
                  </a:lnTo>
                  <a:lnTo>
                    <a:pt x="2297" y="142026"/>
                  </a:lnTo>
                  <a:lnTo>
                    <a:pt x="0" y="132278"/>
                  </a:lnTo>
                  <a:lnTo>
                    <a:pt x="1781" y="114324"/>
                  </a:lnTo>
                  <a:lnTo>
                    <a:pt x="7321" y="1101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9" name="Freeform 53">
              <a:extLst>
                <a:ext uri="{FF2B5EF4-FFF2-40B4-BE49-F238E27FC236}">
                  <a16:creationId xmlns:a16="http://schemas.microsoft.com/office/drawing/2014/main" id="{905634B8-BF0D-4F5B-97E2-B70BE0EE011D}"/>
                </a:ext>
              </a:extLst>
            </p:cNvPr>
            <p:cNvSpPr>
              <a:spLocks noChangeAspect="1"/>
            </p:cNvSpPr>
            <p:nvPr>
              <p:custDataLst>
                <p:tags r:id="rId59"/>
              </p:custDataLst>
            </p:nvPr>
          </p:nvSpPr>
          <p:spPr>
            <a:xfrm>
              <a:off x="6061310" y="3160312"/>
              <a:ext cx="1416144" cy="943012"/>
            </a:xfrm>
            <a:custGeom>
              <a:avLst/>
              <a:gdLst/>
              <a:ahLst/>
              <a:cxnLst/>
              <a:rect l="l" t="t" r="r" b="b"/>
              <a:pathLst>
                <a:path w="1416144" h="943012">
                  <a:moveTo>
                    <a:pt x="843354" y="897452"/>
                  </a:moveTo>
                  <a:lnTo>
                    <a:pt x="856626" y="898022"/>
                  </a:lnTo>
                  <a:lnTo>
                    <a:pt x="861784" y="907181"/>
                  </a:lnTo>
                  <a:lnTo>
                    <a:pt x="851642" y="917726"/>
                  </a:lnTo>
                  <a:lnTo>
                    <a:pt x="846299" y="931538"/>
                  </a:lnTo>
                  <a:lnTo>
                    <a:pt x="826356" y="943012"/>
                  </a:lnTo>
                  <a:lnTo>
                    <a:pt x="807429" y="935615"/>
                  </a:lnTo>
                  <a:lnTo>
                    <a:pt x="806760" y="915044"/>
                  </a:lnTo>
                  <a:lnTo>
                    <a:pt x="818135" y="904180"/>
                  </a:lnTo>
                  <a:close/>
                  <a:moveTo>
                    <a:pt x="1151736" y="0"/>
                  </a:moveTo>
                  <a:lnTo>
                    <a:pt x="1186285" y="9344"/>
                  </a:lnTo>
                  <a:lnTo>
                    <a:pt x="1206555" y="20851"/>
                  </a:lnTo>
                  <a:lnTo>
                    <a:pt x="1220820" y="52095"/>
                  </a:lnTo>
                  <a:lnTo>
                    <a:pt x="1229471" y="65309"/>
                  </a:lnTo>
                  <a:lnTo>
                    <a:pt x="1237510" y="84045"/>
                  </a:lnTo>
                  <a:lnTo>
                    <a:pt x="1246050" y="113648"/>
                  </a:lnTo>
                  <a:lnTo>
                    <a:pt x="1286223" y="123236"/>
                  </a:lnTo>
                  <a:lnTo>
                    <a:pt x="1313564" y="144432"/>
                  </a:lnTo>
                  <a:lnTo>
                    <a:pt x="1322913" y="172186"/>
                  </a:lnTo>
                  <a:lnTo>
                    <a:pt x="1357984" y="172220"/>
                  </a:lnTo>
                  <a:lnTo>
                    <a:pt x="1377995" y="160603"/>
                  </a:lnTo>
                  <a:lnTo>
                    <a:pt x="1416144" y="151888"/>
                  </a:lnTo>
                  <a:lnTo>
                    <a:pt x="1404014" y="178399"/>
                  </a:lnTo>
                  <a:lnTo>
                    <a:pt x="1395048" y="189107"/>
                  </a:lnTo>
                  <a:lnTo>
                    <a:pt x="1387137" y="220911"/>
                  </a:lnTo>
                  <a:lnTo>
                    <a:pt x="1371614" y="248849"/>
                  </a:lnTo>
                  <a:lnTo>
                    <a:pt x="1343598" y="243784"/>
                  </a:lnTo>
                  <a:lnTo>
                    <a:pt x="1323788" y="253877"/>
                  </a:lnTo>
                  <a:lnTo>
                    <a:pt x="1329867" y="278199"/>
                  </a:lnTo>
                  <a:lnTo>
                    <a:pt x="1326546" y="311420"/>
                  </a:lnTo>
                  <a:lnTo>
                    <a:pt x="1314755" y="312174"/>
                  </a:lnTo>
                  <a:lnTo>
                    <a:pt x="1314897" y="326338"/>
                  </a:lnTo>
                  <a:lnTo>
                    <a:pt x="1299991" y="309871"/>
                  </a:lnTo>
                  <a:lnTo>
                    <a:pt x="1290813" y="325504"/>
                  </a:lnTo>
                  <a:lnTo>
                    <a:pt x="1255163" y="337463"/>
                  </a:lnTo>
                  <a:lnTo>
                    <a:pt x="1258769" y="352046"/>
                  </a:lnTo>
                  <a:lnTo>
                    <a:pt x="1238811" y="351043"/>
                  </a:lnTo>
                  <a:lnTo>
                    <a:pt x="1227853" y="342384"/>
                  </a:lnTo>
                  <a:lnTo>
                    <a:pt x="1211995" y="361942"/>
                  </a:lnTo>
                  <a:lnTo>
                    <a:pt x="1186555" y="376681"/>
                  </a:lnTo>
                  <a:lnTo>
                    <a:pt x="1167759" y="394176"/>
                  </a:lnTo>
                  <a:lnTo>
                    <a:pt x="1135488" y="402073"/>
                  </a:lnTo>
                  <a:lnTo>
                    <a:pt x="1118495" y="414728"/>
                  </a:lnTo>
                  <a:lnTo>
                    <a:pt x="1093638" y="422097"/>
                  </a:lnTo>
                  <a:lnTo>
                    <a:pt x="1105906" y="409578"/>
                  </a:lnTo>
                  <a:lnTo>
                    <a:pt x="1101076" y="399020"/>
                  </a:lnTo>
                  <a:lnTo>
                    <a:pt x="1119353" y="380710"/>
                  </a:lnTo>
                  <a:lnTo>
                    <a:pt x="1107161" y="366363"/>
                  </a:lnTo>
                  <a:lnTo>
                    <a:pt x="1087039" y="376037"/>
                  </a:lnTo>
                  <a:lnTo>
                    <a:pt x="1060978" y="395004"/>
                  </a:lnTo>
                  <a:lnTo>
                    <a:pt x="1046755" y="412515"/>
                  </a:lnTo>
                  <a:lnTo>
                    <a:pt x="1024118" y="413814"/>
                  </a:lnTo>
                  <a:lnTo>
                    <a:pt x="1012345" y="426404"/>
                  </a:lnTo>
                  <a:lnTo>
                    <a:pt x="1024509" y="444559"/>
                  </a:lnTo>
                  <a:lnTo>
                    <a:pt x="1043401" y="448951"/>
                  </a:lnTo>
                  <a:lnTo>
                    <a:pt x="1044175" y="460932"/>
                  </a:lnTo>
                  <a:lnTo>
                    <a:pt x="1062436" y="468704"/>
                  </a:lnTo>
                  <a:lnTo>
                    <a:pt x="1088304" y="449671"/>
                  </a:lnTo>
                  <a:lnTo>
                    <a:pt x="1108797" y="460061"/>
                  </a:lnTo>
                  <a:lnTo>
                    <a:pt x="1123724" y="460771"/>
                  </a:lnTo>
                  <a:lnTo>
                    <a:pt x="1127465" y="474700"/>
                  </a:lnTo>
                  <a:lnTo>
                    <a:pt x="1094783" y="482102"/>
                  </a:lnTo>
                  <a:lnTo>
                    <a:pt x="1084001" y="496365"/>
                  </a:lnTo>
                  <a:lnTo>
                    <a:pt x="1061553" y="509565"/>
                  </a:lnTo>
                  <a:lnTo>
                    <a:pt x="1049704" y="527899"/>
                  </a:lnTo>
                  <a:lnTo>
                    <a:pt x="1074549" y="542227"/>
                  </a:lnTo>
                  <a:lnTo>
                    <a:pt x="1083616" y="567730"/>
                  </a:lnTo>
                  <a:lnTo>
                    <a:pt x="1097665" y="591333"/>
                  </a:lnTo>
                  <a:lnTo>
                    <a:pt x="1113342" y="611004"/>
                  </a:lnTo>
                  <a:lnTo>
                    <a:pt x="1112967" y="629932"/>
                  </a:lnTo>
                  <a:lnTo>
                    <a:pt x="1098479" y="636867"/>
                  </a:lnTo>
                  <a:lnTo>
                    <a:pt x="1104002" y="650378"/>
                  </a:lnTo>
                  <a:lnTo>
                    <a:pt x="1117588" y="658220"/>
                  </a:lnTo>
                  <a:lnTo>
                    <a:pt x="1114041" y="678728"/>
                  </a:lnTo>
                  <a:lnTo>
                    <a:pt x="1108178" y="698586"/>
                  </a:lnTo>
                  <a:lnTo>
                    <a:pt x="1095280" y="700831"/>
                  </a:lnTo>
                  <a:lnTo>
                    <a:pt x="1078425" y="727795"/>
                  </a:lnTo>
                  <a:lnTo>
                    <a:pt x="1059729" y="760271"/>
                  </a:lnTo>
                  <a:lnTo>
                    <a:pt x="1038294" y="789607"/>
                  </a:lnTo>
                  <a:lnTo>
                    <a:pt x="1006549" y="812174"/>
                  </a:lnTo>
                  <a:lnTo>
                    <a:pt x="974443" y="832667"/>
                  </a:lnTo>
                  <a:lnTo>
                    <a:pt x="948432" y="835456"/>
                  </a:lnTo>
                  <a:lnTo>
                    <a:pt x="934322" y="846237"/>
                  </a:lnTo>
                  <a:lnTo>
                    <a:pt x="926341" y="838364"/>
                  </a:lnTo>
                  <a:lnTo>
                    <a:pt x="913283" y="850415"/>
                  </a:lnTo>
                  <a:lnTo>
                    <a:pt x="881025" y="862533"/>
                  </a:lnTo>
                  <a:lnTo>
                    <a:pt x="856601" y="866239"/>
                  </a:lnTo>
                  <a:lnTo>
                    <a:pt x="848719" y="891689"/>
                  </a:lnTo>
                  <a:lnTo>
                    <a:pt x="835928" y="893098"/>
                  </a:lnTo>
                  <a:lnTo>
                    <a:pt x="829875" y="875624"/>
                  </a:lnTo>
                  <a:lnTo>
                    <a:pt x="835342" y="866289"/>
                  </a:lnTo>
                  <a:lnTo>
                    <a:pt x="804372" y="858551"/>
                  </a:lnTo>
                  <a:lnTo>
                    <a:pt x="793463" y="862488"/>
                  </a:lnTo>
                  <a:lnTo>
                    <a:pt x="770224" y="856212"/>
                  </a:lnTo>
                  <a:lnTo>
                    <a:pt x="759233" y="846372"/>
                  </a:lnTo>
                  <a:lnTo>
                    <a:pt x="762883" y="832391"/>
                  </a:lnTo>
                  <a:lnTo>
                    <a:pt x="741782" y="827950"/>
                  </a:lnTo>
                  <a:lnTo>
                    <a:pt x="730656" y="818817"/>
                  </a:lnTo>
                  <a:lnTo>
                    <a:pt x="710981" y="831786"/>
                  </a:lnTo>
                  <a:lnTo>
                    <a:pt x="688537" y="834590"/>
                  </a:lnTo>
                  <a:lnTo>
                    <a:pt x="670128" y="834467"/>
                  </a:lnTo>
                  <a:lnTo>
                    <a:pt x="657742" y="840393"/>
                  </a:lnTo>
                  <a:lnTo>
                    <a:pt x="645776" y="843948"/>
                  </a:lnTo>
                  <a:lnTo>
                    <a:pt x="649264" y="871616"/>
                  </a:lnTo>
                  <a:lnTo>
                    <a:pt x="636958" y="870958"/>
                  </a:lnTo>
                  <a:lnTo>
                    <a:pt x="634881" y="865286"/>
                  </a:lnTo>
                  <a:lnTo>
                    <a:pt x="634189" y="855290"/>
                  </a:lnTo>
                  <a:lnTo>
                    <a:pt x="617258" y="862332"/>
                  </a:lnTo>
                  <a:lnTo>
                    <a:pt x="607262" y="857880"/>
                  </a:lnTo>
                  <a:lnTo>
                    <a:pt x="590121" y="848793"/>
                  </a:lnTo>
                  <a:lnTo>
                    <a:pt x="596840" y="828628"/>
                  </a:lnTo>
                  <a:lnTo>
                    <a:pt x="582223" y="823915"/>
                  </a:lnTo>
                  <a:lnTo>
                    <a:pt x="576719" y="801457"/>
                  </a:lnTo>
                  <a:lnTo>
                    <a:pt x="552354" y="805511"/>
                  </a:lnTo>
                  <a:lnTo>
                    <a:pt x="555121" y="776447"/>
                  </a:lnTo>
                  <a:lnTo>
                    <a:pt x="576985" y="755881"/>
                  </a:lnTo>
                  <a:lnTo>
                    <a:pt x="577915" y="735478"/>
                  </a:lnTo>
                  <a:lnTo>
                    <a:pt x="577237" y="716466"/>
                  </a:lnTo>
                  <a:lnTo>
                    <a:pt x="567161" y="710526"/>
                  </a:lnTo>
                  <a:lnTo>
                    <a:pt x="559446" y="695824"/>
                  </a:lnTo>
                  <a:lnTo>
                    <a:pt x="545945" y="697684"/>
                  </a:lnTo>
                  <a:lnTo>
                    <a:pt x="521056" y="693946"/>
                  </a:lnTo>
                  <a:lnTo>
                    <a:pt x="528853" y="683423"/>
                  </a:lnTo>
                  <a:lnTo>
                    <a:pt x="518028" y="667794"/>
                  </a:lnTo>
                  <a:lnTo>
                    <a:pt x="501574" y="678384"/>
                  </a:lnTo>
                  <a:lnTo>
                    <a:pt x="482211" y="672207"/>
                  </a:lnTo>
                  <a:lnTo>
                    <a:pt x="455605" y="688196"/>
                  </a:lnTo>
                  <a:lnTo>
                    <a:pt x="434595" y="706794"/>
                  </a:lnTo>
                  <a:lnTo>
                    <a:pt x="415980" y="709915"/>
                  </a:lnTo>
                  <a:lnTo>
                    <a:pt x="405874" y="703206"/>
                  </a:lnTo>
                  <a:lnTo>
                    <a:pt x="393678" y="702598"/>
                  </a:lnTo>
                  <a:lnTo>
                    <a:pt x="377182" y="696812"/>
                  </a:lnTo>
                  <a:lnTo>
                    <a:pt x="364717" y="703152"/>
                  </a:lnTo>
                  <a:lnTo>
                    <a:pt x="349446" y="721679"/>
                  </a:lnTo>
                  <a:lnTo>
                    <a:pt x="347509" y="702051"/>
                  </a:lnTo>
                  <a:lnTo>
                    <a:pt x="333431" y="707301"/>
                  </a:lnTo>
                  <a:lnTo>
                    <a:pt x="306519" y="704862"/>
                  </a:lnTo>
                  <a:lnTo>
                    <a:pt x="280407" y="699134"/>
                  </a:lnTo>
                  <a:lnTo>
                    <a:pt x="261672" y="688142"/>
                  </a:lnTo>
                  <a:lnTo>
                    <a:pt x="243735" y="683199"/>
                  </a:lnTo>
                  <a:lnTo>
                    <a:pt x="235989" y="671131"/>
                  </a:lnTo>
                  <a:lnTo>
                    <a:pt x="223019" y="667518"/>
                  </a:lnTo>
                  <a:lnTo>
                    <a:pt x="199715" y="651077"/>
                  </a:lnTo>
                  <a:lnTo>
                    <a:pt x="181209" y="643296"/>
                  </a:lnTo>
                  <a:lnTo>
                    <a:pt x="171640" y="649352"/>
                  </a:lnTo>
                  <a:lnTo>
                    <a:pt x="139558" y="631625"/>
                  </a:lnTo>
                  <a:lnTo>
                    <a:pt x="116880" y="615503"/>
                  </a:lnTo>
                  <a:lnTo>
                    <a:pt x="110406" y="587278"/>
                  </a:lnTo>
                  <a:lnTo>
                    <a:pt x="126973" y="590730"/>
                  </a:lnTo>
                  <a:lnTo>
                    <a:pt x="127729" y="577595"/>
                  </a:lnTo>
                  <a:lnTo>
                    <a:pt x="118546" y="564383"/>
                  </a:lnTo>
                  <a:lnTo>
                    <a:pt x="120882" y="543225"/>
                  </a:lnTo>
                  <a:lnTo>
                    <a:pt x="96072" y="512604"/>
                  </a:lnTo>
                  <a:lnTo>
                    <a:pt x="58110" y="501977"/>
                  </a:lnTo>
                  <a:lnTo>
                    <a:pt x="51279" y="481692"/>
                  </a:lnTo>
                  <a:lnTo>
                    <a:pt x="34224" y="469325"/>
                  </a:lnTo>
                  <a:lnTo>
                    <a:pt x="30114" y="461690"/>
                  </a:lnTo>
                  <a:lnTo>
                    <a:pt x="26652" y="446472"/>
                  </a:lnTo>
                  <a:lnTo>
                    <a:pt x="27456" y="436050"/>
                  </a:lnTo>
                  <a:lnTo>
                    <a:pt x="13438" y="429933"/>
                  </a:lnTo>
                  <a:lnTo>
                    <a:pt x="5851" y="432640"/>
                  </a:lnTo>
                  <a:lnTo>
                    <a:pt x="0" y="407673"/>
                  </a:lnTo>
                  <a:lnTo>
                    <a:pt x="6571" y="401470"/>
                  </a:lnTo>
                  <a:lnTo>
                    <a:pt x="3391" y="395115"/>
                  </a:lnTo>
                  <a:lnTo>
                    <a:pt x="25426" y="382241"/>
                  </a:lnTo>
                  <a:lnTo>
                    <a:pt x="41375" y="376894"/>
                  </a:lnTo>
                  <a:lnTo>
                    <a:pt x="65809" y="380560"/>
                  </a:lnTo>
                  <a:lnTo>
                    <a:pt x="74537" y="363065"/>
                  </a:lnTo>
                  <a:lnTo>
                    <a:pt x="104145" y="359798"/>
                  </a:lnTo>
                  <a:lnTo>
                    <a:pt x="112373" y="348860"/>
                  </a:lnTo>
                  <a:lnTo>
                    <a:pt x="148746" y="333868"/>
                  </a:lnTo>
                  <a:lnTo>
                    <a:pt x="151991" y="327590"/>
                  </a:lnTo>
                  <a:lnTo>
                    <a:pt x="150148" y="311697"/>
                  </a:lnTo>
                  <a:lnTo>
                    <a:pt x="165984" y="304412"/>
                  </a:lnTo>
                  <a:lnTo>
                    <a:pt x="145207" y="255315"/>
                  </a:lnTo>
                  <a:lnTo>
                    <a:pt x="190933" y="243902"/>
                  </a:lnTo>
                  <a:lnTo>
                    <a:pt x="202748" y="237523"/>
                  </a:lnTo>
                  <a:lnTo>
                    <a:pt x="219404" y="185672"/>
                  </a:lnTo>
                  <a:lnTo>
                    <a:pt x="265195" y="195276"/>
                  </a:lnTo>
                  <a:lnTo>
                    <a:pt x="278033" y="182075"/>
                  </a:lnTo>
                  <a:lnTo>
                    <a:pt x="279136" y="152554"/>
                  </a:lnTo>
                  <a:lnTo>
                    <a:pt x="298307" y="149787"/>
                  </a:lnTo>
                  <a:lnTo>
                    <a:pt x="315877" y="129981"/>
                  </a:lnTo>
                  <a:lnTo>
                    <a:pt x="324910" y="127525"/>
                  </a:lnTo>
                  <a:lnTo>
                    <a:pt x="330970" y="148296"/>
                  </a:lnTo>
                  <a:lnTo>
                    <a:pt x="350371" y="163976"/>
                  </a:lnTo>
                  <a:lnTo>
                    <a:pt x="383298" y="175022"/>
                  </a:lnTo>
                  <a:lnTo>
                    <a:pt x="399225" y="198561"/>
                  </a:lnTo>
                  <a:lnTo>
                    <a:pt x="390337" y="232352"/>
                  </a:lnTo>
                  <a:lnTo>
                    <a:pt x="398642" y="244788"/>
                  </a:lnTo>
                  <a:lnTo>
                    <a:pt x="426072" y="249677"/>
                  </a:lnTo>
                  <a:lnTo>
                    <a:pt x="457161" y="253662"/>
                  </a:lnTo>
                  <a:lnTo>
                    <a:pt x="485049" y="271381"/>
                  </a:lnTo>
                  <a:lnTo>
                    <a:pt x="499313" y="274526"/>
                  </a:lnTo>
                  <a:lnTo>
                    <a:pt x="509829" y="300511"/>
                  </a:lnTo>
                  <a:lnTo>
                    <a:pt x="523377" y="317127"/>
                  </a:lnTo>
                  <a:lnTo>
                    <a:pt x="548823" y="316478"/>
                  </a:lnTo>
                  <a:lnTo>
                    <a:pt x="596467" y="322729"/>
                  </a:lnTo>
                  <a:lnTo>
                    <a:pt x="627168" y="318852"/>
                  </a:lnTo>
                  <a:lnTo>
                    <a:pt x="649955" y="323002"/>
                  </a:lnTo>
                  <a:lnTo>
                    <a:pt x="684099" y="339868"/>
                  </a:lnTo>
                  <a:lnTo>
                    <a:pt x="712030" y="339844"/>
                  </a:lnTo>
                  <a:lnTo>
                    <a:pt x="722249" y="348441"/>
                  </a:lnTo>
                  <a:lnTo>
                    <a:pt x="749124" y="333580"/>
                  </a:lnTo>
                  <a:lnTo>
                    <a:pt x="786413" y="323931"/>
                  </a:lnTo>
                  <a:lnTo>
                    <a:pt x="821010" y="322875"/>
                  </a:lnTo>
                  <a:lnTo>
                    <a:pt x="847982" y="313062"/>
                  </a:lnTo>
                  <a:lnTo>
                    <a:pt x="864546" y="298058"/>
                  </a:lnTo>
                  <a:lnTo>
                    <a:pt x="880702" y="288599"/>
                  </a:lnTo>
                  <a:lnTo>
                    <a:pt x="876965" y="279283"/>
                  </a:lnTo>
                  <a:lnTo>
                    <a:pt x="869594" y="268400"/>
                  </a:lnTo>
                  <a:lnTo>
                    <a:pt x="881711" y="250048"/>
                  </a:lnTo>
                  <a:lnTo>
                    <a:pt x="894701" y="252630"/>
                  </a:lnTo>
                  <a:lnTo>
                    <a:pt x="918426" y="258410"/>
                  </a:lnTo>
                  <a:lnTo>
                    <a:pt x="941427" y="243250"/>
                  </a:lnTo>
                  <a:lnTo>
                    <a:pt x="976622" y="232136"/>
                  </a:lnTo>
                  <a:lnTo>
                    <a:pt x="993536" y="213070"/>
                  </a:lnTo>
                  <a:lnTo>
                    <a:pt x="1009782" y="204822"/>
                  </a:lnTo>
                  <a:lnTo>
                    <a:pt x="1043313" y="200967"/>
                  </a:lnTo>
                  <a:lnTo>
                    <a:pt x="1061524" y="204243"/>
                  </a:lnTo>
                  <a:lnTo>
                    <a:pt x="1064053" y="193904"/>
                  </a:lnTo>
                  <a:lnTo>
                    <a:pt x="1043134" y="173451"/>
                  </a:lnTo>
                  <a:lnTo>
                    <a:pt x="1024612" y="164045"/>
                  </a:lnTo>
                  <a:lnTo>
                    <a:pt x="1006870" y="174900"/>
                  </a:lnTo>
                  <a:lnTo>
                    <a:pt x="984098" y="170326"/>
                  </a:lnTo>
                  <a:lnTo>
                    <a:pt x="971030" y="174054"/>
                  </a:lnTo>
                  <a:lnTo>
                    <a:pt x="965085" y="162021"/>
                  </a:lnTo>
                  <a:lnTo>
                    <a:pt x="981393" y="132380"/>
                  </a:lnTo>
                  <a:lnTo>
                    <a:pt x="992634" y="109791"/>
                  </a:lnTo>
                  <a:lnTo>
                    <a:pt x="1020344" y="121128"/>
                  </a:lnTo>
                  <a:lnTo>
                    <a:pt x="1052873" y="102125"/>
                  </a:lnTo>
                  <a:lnTo>
                    <a:pt x="1052663" y="88810"/>
                  </a:lnTo>
                  <a:lnTo>
                    <a:pt x="1073499" y="56423"/>
                  </a:lnTo>
                  <a:lnTo>
                    <a:pt x="1086336" y="46552"/>
                  </a:lnTo>
                  <a:lnTo>
                    <a:pt x="1086050" y="29459"/>
                  </a:lnTo>
                  <a:lnTo>
                    <a:pt x="1073385" y="22064"/>
                  </a:lnTo>
                  <a:lnTo>
                    <a:pt x="1092451" y="6512"/>
                  </a:lnTo>
                  <a:lnTo>
                    <a:pt x="1121134" y="8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0" name="Freeform 54">
              <a:extLst>
                <a:ext uri="{FF2B5EF4-FFF2-40B4-BE49-F238E27FC236}">
                  <a16:creationId xmlns:a16="http://schemas.microsoft.com/office/drawing/2014/main" id="{7B5E9866-CA56-4EB7-9153-3BC21E2F8D5A}"/>
                </a:ext>
              </a:extLst>
            </p:cNvPr>
            <p:cNvSpPr>
              <a:spLocks noChangeAspect="1"/>
            </p:cNvSpPr>
            <p:nvPr>
              <p:custDataLst>
                <p:tags r:id="rId60"/>
              </p:custDataLst>
            </p:nvPr>
          </p:nvSpPr>
          <p:spPr>
            <a:xfrm>
              <a:off x="4499704" y="3331302"/>
              <a:ext cx="102029" cy="59718"/>
            </a:xfrm>
            <a:custGeom>
              <a:avLst/>
              <a:gdLst/>
              <a:ahLst/>
              <a:cxnLst/>
              <a:rect l="0" t="0" r="0" b="0"/>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1" name="Freeform 55">
              <a:extLst>
                <a:ext uri="{FF2B5EF4-FFF2-40B4-BE49-F238E27FC236}">
                  <a16:creationId xmlns:a16="http://schemas.microsoft.com/office/drawing/2014/main" id="{A2B6202B-7CD2-4D5F-8CD0-9280DE7C289B}"/>
                </a:ext>
              </a:extLst>
            </p:cNvPr>
            <p:cNvSpPr>
              <a:spLocks noChangeAspect="1"/>
            </p:cNvSpPr>
            <p:nvPr>
              <p:custDataLst>
                <p:tags r:id="rId61"/>
              </p:custDataLst>
            </p:nvPr>
          </p:nvSpPr>
          <p:spPr>
            <a:xfrm>
              <a:off x="4162109" y="4284168"/>
              <a:ext cx="139436" cy="143603"/>
            </a:xfrm>
            <a:custGeom>
              <a:avLst/>
              <a:gdLst/>
              <a:ahLst/>
              <a:cxnLst/>
              <a:rect l="0" t="0" r="0" b="0"/>
              <a:pathLst>
                <a:path w="139436" h="143603">
                  <a:moveTo>
                    <a:pt x="132651" y="128423"/>
                  </a:moveTo>
                  <a:lnTo>
                    <a:pt x="122149" y="128659"/>
                  </a:lnTo>
                  <a:lnTo>
                    <a:pt x="106043" y="124134"/>
                  </a:lnTo>
                  <a:lnTo>
                    <a:pt x="91245" y="124402"/>
                  </a:lnTo>
                  <a:lnTo>
                    <a:pt x="63902" y="128441"/>
                  </a:lnTo>
                  <a:lnTo>
                    <a:pt x="47876" y="135118"/>
                  </a:lnTo>
                  <a:lnTo>
                    <a:pt x="25020" y="143602"/>
                  </a:lnTo>
                  <a:lnTo>
                    <a:pt x="20560" y="142994"/>
                  </a:lnTo>
                  <a:lnTo>
                    <a:pt x="22333" y="123941"/>
                  </a:lnTo>
                  <a:lnTo>
                    <a:pt x="24540" y="121044"/>
                  </a:lnTo>
                  <a:lnTo>
                    <a:pt x="23838" y="111922"/>
                  </a:lnTo>
                  <a:lnTo>
                    <a:pt x="14062" y="102221"/>
                  </a:lnTo>
                  <a:lnTo>
                    <a:pt x="6729" y="100672"/>
                  </a:lnTo>
                  <a:lnTo>
                    <a:pt x="0" y="94310"/>
                  </a:lnTo>
                  <a:lnTo>
                    <a:pt x="5019" y="84011"/>
                  </a:lnTo>
                  <a:lnTo>
                    <a:pt x="2711" y="72797"/>
                  </a:lnTo>
                  <a:lnTo>
                    <a:pt x="3776" y="66047"/>
                  </a:lnTo>
                  <a:lnTo>
                    <a:pt x="7436" y="66020"/>
                  </a:lnTo>
                  <a:lnTo>
                    <a:pt x="8796" y="55891"/>
                  </a:lnTo>
                  <a:lnTo>
                    <a:pt x="7013" y="51404"/>
                  </a:lnTo>
                  <a:lnTo>
                    <a:pt x="9219" y="48173"/>
                  </a:lnTo>
                  <a:lnTo>
                    <a:pt x="17792" y="45378"/>
                  </a:lnTo>
                  <a:lnTo>
                    <a:pt x="12090" y="26753"/>
                  </a:lnTo>
                  <a:lnTo>
                    <a:pt x="6769" y="17127"/>
                  </a:lnTo>
                  <a:lnTo>
                    <a:pt x="8622" y="9215"/>
                  </a:lnTo>
                  <a:lnTo>
                    <a:pt x="13225" y="7407"/>
                  </a:lnTo>
                  <a:lnTo>
                    <a:pt x="16234" y="5288"/>
                  </a:lnTo>
                  <a:lnTo>
                    <a:pt x="22624" y="8790"/>
                  </a:lnTo>
                  <a:lnTo>
                    <a:pt x="40450" y="8982"/>
                  </a:lnTo>
                  <a:lnTo>
                    <a:pt x="44698" y="2176"/>
                  </a:lnTo>
                  <a:lnTo>
                    <a:pt x="48679" y="2631"/>
                  </a:lnTo>
                  <a:lnTo>
                    <a:pt x="55344" y="0"/>
                  </a:lnTo>
                  <a:lnTo>
                    <a:pt x="58917" y="9976"/>
                  </a:lnTo>
                  <a:lnTo>
                    <a:pt x="64307" y="7033"/>
                  </a:lnTo>
                  <a:lnTo>
                    <a:pt x="73831" y="3577"/>
                  </a:lnTo>
                  <a:lnTo>
                    <a:pt x="84211" y="8662"/>
                  </a:lnTo>
                  <a:lnTo>
                    <a:pt x="88245" y="16371"/>
                  </a:lnTo>
                  <a:lnTo>
                    <a:pt x="98624" y="21290"/>
                  </a:lnTo>
                  <a:lnTo>
                    <a:pt x="106698" y="15430"/>
                  </a:lnTo>
                  <a:lnTo>
                    <a:pt x="117513" y="14545"/>
                  </a:lnTo>
                  <a:lnTo>
                    <a:pt x="133311" y="20553"/>
                  </a:lnTo>
                  <a:lnTo>
                    <a:pt x="139435" y="53654"/>
                  </a:lnTo>
                  <a:lnTo>
                    <a:pt x="129708" y="73157"/>
                  </a:lnTo>
                  <a:lnTo>
                    <a:pt x="123689" y="99342"/>
                  </a:lnTo>
                  <a:lnTo>
                    <a:pt x="133699" y="119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2" name="Freeform 56">
              <a:extLst>
                <a:ext uri="{FF2B5EF4-FFF2-40B4-BE49-F238E27FC236}">
                  <a16:creationId xmlns:a16="http://schemas.microsoft.com/office/drawing/2014/main" id="{9FF69F69-3329-4C3B-A23D-A0E423D36017}"/>
                </a:ext>
              </a:extLst>
            </p:cNvPr>
            <p:cNvSpPr>
              <a:spLocks noChangeAspect="1"/>
            </p:cNvSpPr>
            <p:nvPr>
              <p:custDataLst>
                <p:tags r:id="rId62"/>
              </p:custDataLst>
            </p:nvPr>
          </p:nvSpPr>
          <p:spPr>
            <a:xfrm>
              <a:off x="4556631" y="4229533"/>
              <a:ext cx="173676" cy="258555"/>
            </a:xfrm>
            <a:custGeom>
              <a:avLst/>
              <a:gdLst/>
              <a:ahLst/>
              <a:cxnLst/>
              <a:rect l="0" t="0" r="0" b="0"/>
              <a:pathLst>
                <a:path w="173676" h="258555">
                  <a:moveTo>
                    <a:pt x="105881" y="246098"/>
                  </a:moveTo>
                  <a:lnTo>
                    <a:pt x="103007" y="244839"/>
                  </a:lnTo>
                  <a:lnTo>
                    <a:pt x="89343" y="247814"/>
                  </a:lnTo>
                  <a:lnTo>
                    <a:pt x="75315" y="244720"/>
                  </a:lnTo>
                  <a:lnTo>
                    <a:pt x="64346" y="246238"/>
                  </a:lnTo>
                  <a:lnTo>
                    <a:pt x="26784" y="245711"/>
                  </a:lnTo>
                  <a:lnTo>
                    <a:pt x="30155" y="227473"/>
                  </a:lnTo>
                  <a:lnTo>
                    <a:pt x="21133" y="212195"/>
                  </a:lnTo>
                  <a:lnTo>
                    <a:pt x="10602" y="208275"/>
                  </a:lnTo>
                  <a:lnTo>
                    <a:pt x="5912" y="197915"/>
                  </a:lnTo>
                  <a:lnTo>
                    <a:pt x="0" y="194599"/>
                  </a:lnTo>
                  <a:lnTo>
                    <a:pt x="265" y="188206"/>
                  </a:lnTo>
                  <a:lnTo>
                    <a:pt x="6203" y="171829"/>
                  </a:lnTo>
                  <a:lnTo>
                    <a:pt x="17182" y="149480"/>
                  </a:lnTo>
                  <a:lnTo>
                    <a:pt x="23865" y="149272"/>
                  </a:lnTo>
                  <a:lnTo>
                    <a:pt x="37612" y="135702"/>
                  </a:lnTo>
                  <a:lnTo>
                    <a:pt x="46363" y="135317"/>
                  </a:lnTo>
                  <a:lnTo>
                    <a:pt x="59322" y="144846"/>
                  </a:lnTo>
                  <a:lnTo>
                    <a:pt x="75179" y="137033"/>
                  </a:lnTo>
                  <a:lnTo>
                    <a:pt x="77338" y="127390"/>
                  </a:lnTo>
                  <a:lnTo>
                    <a:pt x="82523" y="118040"/>
                  </a:lnTo>
                  <a:lnTo>
                    <a:pt x="86100" y="106286"/>
                  </a:lnTo>
                  <a:lnTo>
                    <a:pt x="98444" y="96710"/>
                  </a:lnTo>
                  <a:lnTo>
                    <a:pt x="103102" y="80421"/>
                  </a:lnTo>
                  <a:lnTo>
                    <a:pt x="107999" y="75231"/>
                  </a:lnTo>
                  <a:lnTo>
                    <a:pt x="111255" y="63119"/>
                  </a:lnTo>
                  <a:lnTo>
                    <a:pt x="117355" y="48228"/>
                  </a:lnTo>
                  <a:lnTo>
                    <a:pt x="136801" y="30147"/>
                  </a:lnTo>
                  <a:lnTo>
                    <a:pt x="138020" y="22370"/>
                  </a:lnTo>
                  <a:lnTo>
                    <a:pt x="140536" y="18142"/>
                  </a:lnTo>
                  <a:lnTo>
                    <a:pt x="131399" y="8811"/>
                  </a:lnTo>
                  <a:lnTo>
                    <a:pt x="132142" y="1346"/>
                  </a:lnTo>
                  <a:lnTo>
                    <a:pt x="138657" y="0"/>
                  </a:lnTo>
                  <a:lnTo>
                    <a:pt x="147835" y="15011"/>
                  </a:lnTo>
                  <a:lnTo>
                    <a:pt x="149376" y="30539"/>
                  </a:lnTo>
                  <a:lnTo>
                    <a:pt x="148531" y="46062"/>
                  </a:lnTo>
                  <a:lnTo>
                    <a:pt x="161095" y="67269"/>
                  </a:lnTo>
                  <a:lnTo>
                    <a:pt x="148203" y="67041"/>
                  </a:lnTo>
                  <a:lnTo>
                    <a:pt x="141690" y="68700"/>
                  </a:lnTo>
                  <a:lnTo>
                    <a:pt x="131171" y="66359"/>
                  </a:lnTo>
                  <a:lnTo>
                    <a:pt x="126156" y="77354"/>
                  </a:lnTo>
                  <a:lnTo>
                    <a:pt x="139781" y="90939"/>
                  </a:lnTo>
                  <a:lnTo>
                    <a:pt x="149834" y="94888"/>
                  </a:lnTo>
                  <a:lnTo>
                    <a:pt x="153085" y="104512"/>
                  </a:lnTo>
                  <a:lnTo>
                    <a:pt x="160362" y="120524"/>
                  </a:lnTo>
                  <a:lnTo>
                    <a:pt x="156746" y="126812"/>
                  </a:lnTo>
                  <a:lnTo>
                    <a:pt x="145138" y="150314"/>
                  </a:lnTo>
                  <a:lnTo>
                    <a:pt x="139598" y="154521"/>
                  </a:lnTo>
                  <a:lnTo>
                    <a:pt x="137817" y="172475"/>
                  </a:lnTo>
                  <a:lnTo>
                    <a:pt x="140114" y="182223"/>
                  </a:lnTo>
                  <a:lnTo>
                    <a:pt x="138255" y="189117"/>
                  </a:lnTo>
                  <a:lnTo>
                    <a:pt x="149164" y="201195"/>
                  </a:lnTo>
                  <a:lnTo>
                    <a:pt x="151132" y="209495"/>
                  </a:lnTo>
                  <a:lnTo>
                    <a:pt x="159653" y="221422"/>
                  </a:lnTo>
                  <a:lnTo>
                    <a:pt x="170210" y="228856"/>
                  </a:lnTo>
                  <a:lnTo>
                    <a:pt x="171240" y="239394"/>
                  </a:lnTo>
                  <a:lnTo>
                    <a:pt x="173675" y="246086"/>
                  </a:lnTo>
                  <a:lnTo>
                    <a:pt x="172014" y="258554"/>
                  </a:lnTo>
                  <a:lnTo>
                    <a:pt x="153674" y="253097"/>
                  </a:lnTo>
                  <a:lnTo>
                    <a:pt x="135011" y="2470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3" name="Freeform 57">
              <a:extLst>
                <a:ext uri="{FF2B5EF4-FFF2-40B4-BE49-F238E27FC236}">
                  <a16:creationId xmlns:a16="http://schemas.microsoft.com/office/drawing/2014/main" id="{C0654319-5797-4AE5-81BC-B2B3778A39B4}"/>
                </a:ext>
              </a:extLst>
            </p:cNvPr>
            <p:cNvSpPr>
              <a:spLocks noChangeAspect="1"/>
            </p:cNvSpPr>
            <p:nvPr>
              <p:custDataLst>
                <p:tags r:id="rId63"/>
              </p:custDataLst>
            </p:nvPr>
          </p:nvSpPr>
          <p:spPr>
            <a:xfrm>
              <a:off x="4641887" y="4406537"/>
              <a:ext cx="438383" cy="429210"/>
            </a:xfrm>
            <a:custGeom>
              <a:avLst/>
              <a:gdLst/>
              <a:ahLst/>
              <a:cxnLst/>
              <a:rect l="0" t="0" r="0" b="0"/>
              <a:pathLst>
                <a:path w="438383" h="429210">
                  <a:moveTo>
                    <a:pt x="430527" y="40400"/>
                  </a:moveTo>
                  <a:lnTo>
                    <a:pt x="429131" y="67413"/>
                  </a:lnTo>
                  <a:lnTo>
                    <a:pt x="438382" y="70540"/>
                  </a:lnTo>
                  <a:lnTo>
                    <a:pt x="430961" y="78740"/>
                  </a:lnTo>
                  <a:lnTo>
                    <a:pt x="422094" y="84872"/>
                  </a:lnTo>
                  <a:lnTo>
                    <a:pt x="413268" y="96912"/>
                  </a:lnTo>
                  <a:lnTo>
                    <a:pt x="408412" y="107644"/>
                  </a:lnTo>
                  <a:lnTo>
                    <a:pt x="407113" y="126173"/>
                  </a:lnTo>
                  <a:lnTo>
                    <a:pt x="401766" y="134993"/>
                  </a:lnTo>
                  <a:lnTo>
                    <a:pt x="401573" y="152396"/>
                  </a:lnTo>
                  <a:lnTo>
                    <a:pt x="394935" y="158832"/>
                  </a:lnTo>
                  <a:lnTo>
                    <a:pt x="394079" y="172572"/>
                  </a:lnTo>
                  <a:lnTo>
                    <a:pt x="390909" y="174353"/>
                  </a:lnTo>
                  <a:lnTo>
                    <a:pt x="388773" y="186988"/>
                  </a:lnTo>
                  <a:lnTo>
                    <a:pt x="394577" y="197492"/>
                  </a:lnTo>
                  <a:lnTo>
                    <a:pt x="396045" y="225374"/>
                  </a:lnTo>
                  <a:lnTo>
                    <a:pt x="400200" y="246661"/>
                  </a:lnTo>
                  <a:lnTo>
                    <a:pt x="397891" y="258702"/>
                  </a:lnTo>
                  <a:lnTo>
                    <a:pt x="402509" y="272141"/>
                  </a:lnTo>
                  <a:lnTo>
                    <a:pt x="415896" y="285125"/>
                  </a:lnTo>
                  <a:lnTo>
                    <a:pt x="428361" y="314380"/>
                  </a:lnTo>
                  <a:lnTo>
                    <a:pt x="419268" y="312015"/>
                  </a:lnTo>
                  <a:lnTo>
                    <a:pt x="388264" y="315938"/>
                  </a:lnTo>
                  <a:lnTo>
                    <a:pt x="382077" y="318716"/>
                  </a:lnTo>
                  <a:lnTo>
                    <a:pt x="375499" y="333564"/>
                  </a:lnTo>
                  <a:lnTo>
                    <a:pt x="380665" y="343832"/>
                  </a:lnTo>
                  <a:lnTo>
                    <a:pt x="376565" y="371440"/>
                  </a:lnTo>
                  <a:lnTo>
                    <a:pt x="373707" y="394901"/>
                  </a:lnTo>
                  <a:lnTo>
                    <a:pt x="379943" y="399065"/>
                  </a:lnTo>
                  <a:lnTo>
                    <a:pt x="396081" y="408180"/>
                  </a:lnTo>
                  <a:lnTo>
                    <a:pt x="402416" y="403920"/>
                  </a:lnTo>
                  <a:lnTo>
                    <a:pt x="404346" y="429209"/>
                  </a:lnTo>
                  <a:lnTo>
                    <a:pt x="386680" y="429014"/>
                  </a:lnTo>
                  <a:lnTo>
                    <a:pt x="377200" y="416099"/>
                  </a:lnTo>
                  <a:lnTo>
                    <a:pt x="368695" y="406112"/>
                  </a:lnTo>
                  <a:lnTo>
                    <a:pt x="351006" y="402839"/>
                  </a:lnTo>
                  <a:lnTo>
                    <a:pt x="345827" y="390576"/>
                  </a:lnTo>
                  <a:lnTo>
                    <a:pt x="331716" y="397962"/>
                  </a:lnTo>
                  <a:lnTo>
                    <a:pt x="313232" y="394698"/>
                  </a:lnTo>
                  <a:lnTo>
                    <a:pt x="305518" y="384080"/>
                  </a:lnTo>
                  <a:lnTo>
                    <a:pt x="290862" y="381924"/>
                  </a:lnTo>
                  <a:lnTo>
                    <a:pt x="280044" y="382488"/>
                  </a:lnTo>
                  <a:lnTo>
                    <a:pt x="278720" y="375226"/>
                  </a:lnTo>
                  <a:lnTo>
                    <a:pt x="270757" y="374638"/>
                  </a:lnTo>
                  <a:lnTo>
                    <a:pt x="260245" y="373261"/>
                  </a:lnTo>
                  <a:lnTo>
                    <a:pt x="245946" y="376759"/>
                  </a:lnTo>
                  <a:lnTo>
                    <a:pt x="235916" y="376185"/>
                  </a:lnTo>
                  <a:lnTo>
                    <a:pt x="230202" y="378328"/>
                  </a:lnTo>
                  <a:lnTo>
                    <a:pt x="231437" y="350562"/>
                  </a:lnTo>
                  <a:lnTo>
                    <a:pt x="223737" y="341917"/>
                  </a:lnTo>
                  <a:lnTo>
                    <a:pt x="222043" y="327603"/>
                  </a:lnTo>
                  <a:lnTo>
                    <a:pt x="225444" y="313587"/>
                  </a:lnTo>
                  <a:lnTo>
                    <a:pt x="220766" y="304624"/>
                  </a:lnTo>
                  <a:lnTo>
                    <a:pt x="220343" y="290018"/>
                  </a:lnTo>
                  <a:lnTo>
                    <a:pt x="192335" y="290221"/>
                  </a:lnTo>
                  <a:lnTo>
                    <a:pt x="194345" y="281863"/>
                  </a:lnTo>
                  <a:lnTo>
                    <a:pt x="182568" y="281950"/>
                  </a:lnTo>
                  <a:lnTo>
                    <a:pt x="181324" y="285969"/>
                  </a:lnTo>
                  <a:lnTo>
                    <a:pt x="167007" y="286875"/>
                  </a:lnTo>
                  <a:lnTo>
                    <a:pt x="161216" y="300400"/>
                  </a:lnTo>
                  <a:lnTo>
                    <a:pt x="157757" y="306207"/>
                  </a:lnTo>
                  <a:lnTo>
                    <a:pt x="145002" y="302927"/>
                  </a:lnTo>
                  <a:lnTo>
                    <a:pt x="137386" y="306194"/>
                  </a:lnTo>
                  <a:lnTo>
                    <a:pt x="122122" y="308073"/>
                  </a:lnTo>
                  <a:lnTo>
                    <a:pt x="113282" y="295931"/>
                  </a:lnTo>
                  <a:lnTo>
                    <a:pt x="107978" y="288427"/>
                  </a:lnTo>
                  <a:lnTo>
                    <a:pt x="101353" y="274520"/>
                  </a:lnTo>
                  <a:lnTo>
                    <a:pt x="95659" y="257254"/>
                  </a:lnTo>
                  <a:lnTo>
                    <a:pt x="27544" y="256947"/>
                  </a:lnTo>
                  <a:lnTo>
                    <a:pt x="19448" y="259731"/>
                  </a:lnTo>
                  <a:lnTo>
                    <a:pt x="12761" y="259297"/>
                  </a:lnTo>
                  <a:lnTo>
                    <a:pt x="3234" y="262411"/>
                  </a:lnTo>
                  <a:lnTo>
                    <a:pt x="0" y="255227"/>
                  </a:lnTo>
                  <a:lnTo>
                    <a:pt x="5872" y="252781"/>
                  </a:lnTo>
                  <a:lnTo>
                    <a:pt x="6594" y="242689"/>
                  </a:lnTo>
                  <a:lnTo>
                    <a:pt x="10371" y="236739"/>
                  </a:lnTo>
                  <a:lnTo>
                    <a:pt x="18771" y="231876"/>
                  </a:lnTo>
                  <a:lnTo>
                    <a:pt x="24835" y="234233"/>
                  </a:lnTo>
                  <a:lnTo>
                    <a:pt x="32729" y="225377"/>
                  </a:lnTo>
                  <a:lnTo>
                    <a:pt x="45303" y="225605"/>
                  </a:lnTo>
                  <a:lnTo>
                    <a:pt x="46782" y="232154"/>
                  </a:lnTo>
                  <a:lnTo>
                    <a:pt x="55405" y="236252"/>
                  </a:lnTo>
                  <a:lnTo>
                    <a:pt x="68987" y="221755"/>
                  </a:lnTo>
                  <a:lnTo>
                    <a:pt x="82433" y="210464"/>
                  </a:lnTo>
                  <a:lnTo>
                    <a:pt x="88267" y="203067"/>
                  </a:lnTo>
                  <a:lnTo>
                    <a:pt x="87494" y="184058"/>
                  </a:lnTo>
                  <a:lnTo>
                    <a:pt x="97519" y="161623"/>
                  </a:lnTo>
                  <a:lnTo>
                    <a:pt x="108096" y="149730"/>
                  </a:lnTo>
                  <a:lnTo>
                    <a:pt x="123294" y="138603"/>
                  </a:lnTo>
                  <a:lnTo>
                    <a:pt x="125947" y="131240"/>
                  </a:lnTo>
                  <a:lnTo>
                    <a:pt x="126522" y="122774"/>
                  </a:lnTo>
                  <a:lnTo>
                    <a:pt x="130284" y="114765"/>
                  </a:lnTo>
                  <a:lnTo>
                    <a:pt x="129075" y="101682"/>
                  </a:lnTo>
                  <a:lnTo>
                    <a:pt x="131953" y="81224"/>
                  </a:lnTo>
                  <a:lnTo>
                    <a:pt x="136464" y="66816"/>
                  </a:lnTo>
                  <a:lnTo>
                    <a:pt x="143378" y="54465"/>
                  </a:lnTo>
                  <a:lnTo>
                    <a:pt x="144746" y="40511"/>
                  </a:lnTo>
                  <a:lnTo>
                    <a:pt x="146821" y="24389"/>
                  </a:lnTo>
                  <a:lnTo>
                    <a:pt x="155808" y="12647"/>
                  </a:lnTo>
                  <a:lnTo>
                    <a:pt x="168168" y="5197"/>
                  </a:lnTo>
                  <a:lnTo>
                    <a:pt x="187163" y="13060"/>
                  </a:lnTo>
                  <a:lnTo>
                    <a:pt x="201864" y="21592"/>
                  </a:lnTo>
                  <a:lnTo>
                    <a:pt x="218750" y="23868"/>
                  </a:lnTo>
                  <a:lnTo>
                    <a:pt x="235970" y="28381"/>
                  </a:lnTo>
                  <a:lnTo>
                    <a:pt x="242871" y="14416"/>
                  </a:lnTo>
                  <a:lnTo>
                    <a:pt x="246042" y="12633"/>
                  </a:lnTo>
                  <a:lnTo>
                    <a:pt x="256562" y="14956"/>
                  </a:lnTo>
                  <a:lnTo>
                    <a:pt x="282260" y="3409"/>
                  </a:lnTo>
                  <a:lnTo>
                    <a:pt x="291366" y="8304"/>
                  </a:lnTo>
                  <a:lnTo>
                    <a:pt x="298840" y="7610"/>
                  </a:lnTo>
                  <a:lnTo>
                    <a:pt x="302302" y="1983"/>
                  </a:lnTo>
                  <a:lnTo>
                    <a:pt x="310880" y="0"/>
                  </a:lnTo>
                  <a:lnTo>
                    <a:pt x="328246" y="2435"/>
                  </a:lnTo>
                  <a:lnTo>
                    <a:pt x="343049" y="2968"/>
                  </a:lnTo>
                  <a:lnTo>
                    <a:pt x="350670" y="513"/>
                  </a:lnTo>
                  <a:lnTo>
                    <a:pt x="364652" y="19611"/>
                  </a:lnTo>
                  <a:lnTo>
                    <a:pt x="375017" y="22416"/>
                  </a:lnTo>
                  <a:lnTo>
                    <a:pt x="381196" y="18532"/>
                  </a:lnTo>
                  <a:lnTo>
                    <a:pt x="391869" y="20054"/>
                  </a:lnTo>
                  <a:lnTo>
                    <a:pt x="404724" y="15162"/>
                  </a:lnTo>
                  <a:lnTo>
                    <a:pt x="410207" y="250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4" name="Freeform 58">
              <a:extLst>
                <a:ext uri="{FF2B5EF4-FFF2-40B4-BE49-F238E27FC236}">
                  <a16:creationId xmlns:a16="http://schemas.microsoft.com/office/drawing/2014/main" id="{C9F232D6-FE1B-4E91-A3AB-82300D554230}"/>
                </a:ext>
              </a:extLst>
            </p:cNvPr>
            <p:cNvSpPr>
              <a:spLocks noChangeAspect="1"/>
            </p:cNvSpPr>
            <p:nvPr>
              <p:custDataLst>
                <p:tags r:id="rId64"/>
              </p:custDataLst>
            </p:nvPr>
          </p:nvSpPr>
          <p:spPr>
            <a:xfrm>
              <a:off x="4616760" y="4441875"/>
              <a:ext cx="169874" cy="202483"/>
            </a:xfrm>
            <a:custGeom>
              <a:avLst/>
              <a:gdLst/>
              <a:ahLst/>
              <a:cxnLst/>
              <a:rect l="0" t="0" r="0" b="0"/>
              <a:pathLst>
                <a:path w="169874" h="202483">
                  <a:moveTo>
                    <a:pt x="43898" y="196538"/>
                  </a:moveTo>
                  <a:lnTo>
                    <a:pt x="35248" y="188603"/>
                  </a:lnTo>
                  <a:lnTo>
                    <a:pt x="28273" y="192493"/>
                  </a:lnTo>
                  <a:lnTo>
                    <a:pt x="18956" y="202482"/>
                  </a:lnTo>
                  <a:lnTo>
                    <a:pt x="0" y="177985"/>
                  </a:lnTo>
                  <a:lnTo>
                    <a:pt x="17575" y="165227"/>
                  </a:lnTo>
                  <a:lnTo>
                    <a:pt x="8870" y="149949"/>
                  </a:lnTo>
                  <a:lnTo>
                    <a:pt x="16786" y="144141"/>
                  </a:lnTo>
                  <a:lnTo>
                    <a:pt x="32361" y="141312"/>
                  </a:lnTo>
                  <a:lnTo>
                    <a:pt x="34198" y="131078"/>
                  </a:lnTo>
                  <a:lnTo>
                    <a:pt x="46532" y="142168"/>
                  </a:lnTo>
                  <a:lnTo>
                    <a:pt x="66909" y="143140"/>
                  </a:lnTo>
                  <a:lnTo>
                    <a:pt x="73991" y="132227"/>
                  </a:lnTo>
                  <a:lnTo>
                    <a:pt x="76905" y="116876"/>
                  </a:lnTo>
                  <a:lnTo>
                    <a:pt x="74388" y="98852"/>
                  </a:lnTo>
                  <a:lnTo>
                    <a:pt x="63468" y="85201"/>
                  </a:lnTo>
                  <a:lnTo>
                    <a:pt x="73461" y="58466"/>
                  </a:lnTo>
                  <a:lnTo>
                    <a:pt x="67699" y="53878"/>
                  </a:lnTo>
                  <a:lnTo>
                    <a:pt x="50525" y="55759"/>
                  </a:lnTo>
                  <a:lnTo>
                    <a:pt x="44073" y="43829"/>
                  </a:lnTo>
                  <a:lnTo>
                    <a:pt x="45752" y="33756"/>
                  </a:lnTo>
                  <a:lnTo>
                    <a:pt x="74882" y="34662"/>
                  </a:lnTo>
                  <a:lnTo>
                    <a:pt x="93545" y="40755"/>
                  </a:lnTo>
                  <a:lnTo>
                    <a:pt x="111885" y="46212"/>
                  </a:lnTo>
                  <a:lnTo>
                    <a:pt x="113546" y="33744"/>
                  </a:lnTo>
                  <a:lnTo>
                    <a:pt x="125646" y="12247"/>
                  </a:lnTo>
                  <a:lnTo>
                    <a:pt x="139403" y="0"/>
                  </a:lnTo>
                  <a:lnTo>
                    <a:pt x="155027" y="3883"/>
                  </a:lnTo>
                  <a:lnTo>
                    <a:pt x="169873" y="5173"/>
                  </a:lnTo>
                  <a:lnTo>
                    <a:pt x="168505" y="19127"/>
                  </a:lnTo>
                  <a:lnTo>
                    <a:pt x="161591" y="31478"/>
                  </a:lnTo>
                  <a:lnTo>
                    <a:pt x="157080" y="45886"/>
                  </a:lnTo>
                  <a:lnTo>
                    <a:pt x="154202" y="66344"/>
                  </a:lnTo>
                  <a:lnTo>
                    <a:pt x="155411" y="79427"/>
                  </a:lnTo>
                  <a:lnTo>
                    <a:pt x="151649" y="87436"/>
                  </a:lnTo>
                  <a:lnTo>
                    <a:pt x="151074" y="95902"/>
                  </a:lnTo>
                  <a:lnTo>
                    <a:pt x="148421" y="103265"/>
                  </a:lnTo>
                  <a:lnTo>
                    <a:pt x="133223" y="114392"/>
                  </a:lnTo>
                  <a:lnTo>
                    <a:pt x="122646" y="126285"/>
                  </a:lnTo>
                  <a:lnTo>
                    <a:pt x="112621" y="148720"/>
                  </a:lnTo>
                  <a:lnTo>
                    <a:pt x="113394" y="167729"/>
                  </a:lnTo>
                  <a:lnTo>
                    <a:pt x="107560" y="175126"/>
                  </a:lnTo>
                  <a:lnTo>
                    <a:pt x="94114" y="186417"/>
                  </a:lnTo>
                  <a:lnTo>
                    <a:pt x="80532" y="200914"/>
                  </a:lnTo>
                  <a:lnTo>
                    <a:pt x="71909" y="196816"/>
                  </a:lnTo>
                  <a:lnTo>
                    <a:pt x="70430" y="190267"/>
                  </a:lnTo>
                  <a:lnTo>
                    <a:pt x="57856" y="190039"/>
                  </a:lnTo>
                  <a:lnTo>
                    <a:pt x="49962" y="1988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5" name="Freeform 59">
              <a:extLst>
                <a:ext uri="{FF2B5EF4-FFF2-40B4-BE49-F238E27FC236}">
                  <a16:creationId xmlns:a16="http://schemas.microsoft.com/office/drawing/2014/main" id="{6A331123-E307-4B88-8E74-A9309EB9023E}"/>
                </a:ext>
              </a:extLst>
            </p:cNvPr>
            <p:cNvSpPr>
              <a:spLocks noChangeAspect="1"/>
            </p:cNvSpPr>
            <p:nvPr>
              <p:custDataLst>
                <p:tags r:id="rId65"/>
              </p:custDataLst>
            </p:nvPr>
          </p:nvSpPr>
          <p:spPr>
            <a:xfrm>
              <a:off x="5116223" y="3668254"/>
              <a:ext cx="42582" cy="17594"/>
            </a:xfrm>
            <a:custGeom>
              <a:avLst/>
              <a:gdLst/>
              <a:ahLst/>
              <a:cxnLst/>
              <a:rect l="0" t="0" r="0" b="0"/>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6" name="Freeform 60">
              <a:extLst>
                <a:ext uri="{FF2B5EF4-FFF2-40B4-BE49-F238E27FC236}">
                  <a16:creationId xmlns:a16="http://schemas.microsoft.com/office/drawing/2014/main" id="{CB706C65-8D6B-4B37-A267-FAA9DA40FC8E}"/>
                </a:ext>
              </a:extLst>
            </p:cNvPr>
            <p:cNvSpPr>
              <a:spLocks noChangeAspect="1"/>
            </p:cNvSpPr>
            <p:nvPr>
              <p:custDataLst>
                <p:tags r:id="rId66"/>
              </p:custDataLst>
            </p:nvPr>
          </p:nvSpPr>
          <p:spPr>
            <a:xfrm>
              <a:off x="5105257" y="3681327"/>
              <a:ext cx="40354" cy="15705"/>
            </a:xfrm>
            <a:custGeom>
              <a:avLst/>
              <a:gdLst/>
              <a:ahLst/>
              <a:cxnLst/>
              <a:rect l="0" t="0" r="0" b="0"/>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7" name="Freeform 61">
              <a:extLst>
                <a:ext uri="{FF2B5EF4-FFF2-40B4-BE49-F238E27FC236}">
                  <a16:creationId xmlns:a16="http://schemas.microsoft.com/office/drawing/2014/main" id="{70A1D33C-7B9A-4D33-B475-2E0604A3D0A7}"/>
                </a:ext>
              </a:extLst>
            </p:cNvPr>
            <p:cNvSpPr>
              <a:spLocks noChangeAspect="1"/>
            </p:cNvSpPr>
            <p:nvPr>
              <p:custDataLst>
                <p:tags r:id="rId67"/>
              </p:custDataLst>
            </p:nvPr>
          </p:nvSpPr>
          <p:spPr>
            <a:xfrm>
              <a:off x="4643221" y="3232858"/>
              <a:ext cx="152647" cy="77061"/>
            </a:xfrm>
            <a:custGeom>
              <a:avLst/>
              <a:gdLst/>
              <a:ahLst/>
              <a:cxnLst/>
              <a:rect l="0" t="0" r="0" b="0"/>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8" name="Freeform 62">
              <a:extLst>
                <a:ext uri="{FF2B5EF4-FFF2-40B4-BE49-F238E27FC236}">
                  <a16:creationId xmlns:a16="http://schemas.microsoft.com/office/drawing/2014/main" id="{9305DAD7-0DC2-4ED5-B8F5-EBF74716C1E7}"/>
                </a:ext>
              </a:extLst>
            </p:cNvPr>
            <p:cNvSpPr>
              <a:spLocks noChangeAspect="1"/>
            </p:cNvSpPr>
            <p:nvPr>
              <p:custDataLst>
                <p:tags r:id="rId68"/>
              </p:custDataLst>
            </p:nvPr>
          </p:nvSpPr>
          <p:spPr>
            <a:xfrm>
              <a:off x="4498921" y="3111903"/>
              <a:ext cx="208399" cy="234888"/>
            </a:xfrm>
            <a:custGeom>
              <a:avLst/>
              <a:gdLst/>
              <a:ahLst/>
              <a:cxnLst/>
              <a:rect l="0" t="0" r="0" b="0"/>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9" name="Freeform 63">
              <a:extLst>
                <a:ext uri="{FF2B5EF4-FFF2-40B4-BE49-F238E27FC236}">
                  <a16:creationId xmlns:a16="http://schemas.microsoft.com/office/drawing/2014/main" id="{0E3F7DB8-907C-47AF-868B-BCF76FB95975}"/>
                </a:ext>
              </a:extLst>
            </p:cNvPr>
            <p:cNvSpPr>
              <a:spLocks noChangeAspect="1"/>
            </p:cNvSpPr>
            <p:nvPr>
              <p:custDataLst>
                <p:tags r:id="rId69"/>
              </p:custDataLst>
            </p:nvPr>
          </p:nvSpPr>
          <p:spPr>
            <a:xfrm>
              <a:off x="5322351" y="4233281"/>
              <a:ext cx="38228" cy="41485"/>
            </a:xfrm>
            <a:custGeom>
              <a:avLst/>
              <a:gdLst/>
              <a:ahLst/>
              <a:cxnLst/>
              <a:rect l="0" t="0" r="0" b="0"/>
              <a:pathLst>
                <a:path w="38228" h="41485">
                  <a:moveTo>
                    <a:pt x="32766" y="0"/>
                  </a:moveTo>
                  <a:lnTo>
                    <a:pt x="38227" y="7254"/>
                  </a:lnTo>
                  <a:lnTo>
                    <a:pt x="37501" y="16979"/>
                  </a:lnTo>
                  <a:lnTo>
                    <a:pt x="24332" y="22579"/>
                  </a:lnTo>
                  <a:lnTo>
                    <a:pt x="34245" y="28978"/>
                  </a:lnTo>
                  <a:lnTo>
                    <a:pt x="25740" y="41484"/>
                  </a:lnTo>
                  <a:lnTo>
                    <a:pt x="20617" y="37321"/>
                  </a:lnTo>
                  <a:lnTo>
                    <a:pt x="15059" y="38977"/>
                  </a:lnTo>
                  <a:lnTo>
                    <a:pt x="2166" y="38587"/>
                  </a:lnTo>
                  <a:lnTo>
                    <a:pt x="1797" y="31478"/>
                  </a:lnTo>
                  <a:lnTo>
                    <a:pt x="0" y="25022"/>
                  </a:lnTo>
                  <a:lnTo>
                    <a:pt x="7808" y="14051"/>
                  </a:lnTo>
                  <a:lnTo>
                    <a:pt x="15923" y="3690"/>
                  </a:lnTo>
                  <a:lnTo>
                    <a:pt x="25804" y="572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0" name="Freeform 64">
              <a:extLst>
                <a:ext uri="{FF2B5EF4-FFF2-40B4-BE49-F238E27FC236}">
                  <a16:creationId xmlns:a16="http://schemas.microsoft.com/office/drawing/2014/main" id="{083A9786-DD6B-451A-A5B1-DF41EAEA23DB}"/>
                </a:ext>
              </a:extLst>
            </p:cNvPr>
            <p:cNvSpPr>
              <a:spLocks noChangeAspect="1"/>
            </p:cNvSpPr>
            <p:nvPr>
              <p:custDataLst>
                <p:tags r:id="rId70"/>
              </p:custDataLst>
            </p:nvPr>
          </p:nvSpPr>
          <p:spPr>
            <a:xfrm>
              <a:off x="4160227" y="3630027"/>
              <a:ext cx="477441" cy="452765"/>
            </a:xfrm>
            <a:custGeom>
              <a:avLst/>
              <a:gdLst/>
              <a:ahLst/>
              <a:cxnLst/>
              <a:rect l="0" t="0" r="0" b="0"/>
              <a:pathLst>
                <a:path w="477441" h="452765">
                  <a:moveTo>
                    <a:pt x="477440" y="346187"/>
                  </a:moveTo>
                  <a:lnTo>
                    <a:pt x="398345" y="392453"/>
                  </a:lnTo>
                  <a:lnTo>
                    <a:pt x="331513" y="439739"/>
                  </a:lnTo>
                  <a:lnTo>
                    <a:pt x="298963" y="450421"/>
                  </a:lnTo>
                  <a:lnTo>
                    <a:pt x="273358" y="452764"/>
                  </a:lnTo>
                  <a:lnTo>
                    <a:pt x="273093" y="437524"/>
                  </a:lnTo>
                  <a:lnTo>
                    <a:pt x="262404" y="433621"/>
                  </a:lnTo>
                  <a:lnTo>
                    <a:pt x="248033" y="426754"/>
                  </a:lnTo>
                  <a:lnTo>
                    <a:pt x="242545" y="415485"/>
                  </a:lnTo>
                  <a:lnTo>
                    <a:pt x="164680" y="362715"/>
                  </a:lnTo>
                  <a:lnTo>
                    <a:pt x="86816" y="309412"/>
                  </a:lnTo>
                  <a:lnTo>
                    <a:pt x="0" y="249566"/>
                  </a:lnTo>
                  <a:lnTo>
                    <a:pt x="445" y="244743"/>
                  </a:lnTo>
                  <a:lnTo>
                    <a:pt x="435" y="243075"/>
                  </a:lnTo>
                  <a:lnTo>
                    <a:pt x="238" y="213450"/>
                  </a:lnTo>
                  <a:lnTo>
                    <a:pt x="37514" y="194895"/>
                  </a:lnTo>
                  <a:lnTo>
                    <a:pt x="60564" y="191050"/>
                  </a:lnTo>
                  <a:lnTo>
                    <a:pt x="79457" y="184265"/>
                  </a:lnTo>
                  <a:lnTo>
                    <a:pt x="88286" y="171593"/>
                  </a:lnTo>
                  <a:lnTo>
                    <a:pt x="115274" y="161549"/>
                  </a:lnTo>
                  <a:lnTo>
                    <a:pt x="116265" y="142691"/>
                  </a:lnTo>
                  <a:lnTo>
                    <a:pt x="129619" y="140464"/>
                  </a:lnTo>
                  <a:lnTo>
                    <a:pt x="140061" y="131004"/>
                  </a:lnTo>
                  <a:lnTo>
                    <a:pt x="170270" y="126684"/>
                  </a:lnTo>
                  <a:lnTo>
                    <a:pt x="174502" y="116706"/>
                  </a:lnTo>
                  <a:lnTo>
                    <a:pt x="168420" y="111240"/>
                  </a:lnTo>
                  <a:lnTo>
                    <a:pt x="160447" y="83959"/>
                  </a:lnTo>
                  <a:lnTo>
                    <a:pt x="159073" y="68149"/>
                  </a:lnTo>
                  <a:lnTo>
                    <a:pt x="150372" y="51424"/>
                  </a:lnTo>
                  <a:lnTo>
                    <a:pt x="172562" y="37091"/>
                  </a:lnTo>
                  <a:lnTo>
                    <a:pt x="197517" y="32519"/>
                  </a:lnTo>
                  <a:lnTo>
                    <a:pt x="212090" y="21643"/>
                  </a:lnTo>
                  <a:lnTo>
                    <a:pt x="234320" y="13597"/>
                  </a:lnTo>
                  <a:lnTo>
                    <a:pt x="273440" y="8876"/>
                  </a:lnTo>
                  <a:lnTo>
                    <a:pt x="311620" y="6725"/>
                  </a:lnTo>
                  <a:lnTo>
                    <a:pt x="323262" y="10662"/>
                  </a:lnTo>
                  <a:lnTo>
                    <a:pt x="344999" y="206"/>
                  </a:lnTo>
                  <a:lnTo>
                    <a:pt x="369664" y="0"/>
                  </a:lnTo>
                  <a:lnTo>
                    <a:pt x="379052" y="6177"/>
                  </a:lnTo>
                  <a:lnTo>
                    <a:pt x="394838" y="4567"/>
                  </a:lnTo>
                  <a:lnTo>
                    <a:pt x="390149" y="18158"/>
                  </a:lnTo>
                  <a:lnTo>
                    <a:pt x="393809" y="43261"/>
                  </a:lnTo>
                  <a:lnTo>
                    <a:pt x="388375" y="64833"/>
                  </a:lnTo>
                  <a:lnTo>
                    <a:pt x="374145" y="79348"/>
                  </a:lnTo>
                  <a:lnTo>
                    <a:pt x="376179" y="98858"/>
                  </a:lnTo>
                  <a:lnTo>
                    <a:pt x="395057" y="114217"/>
                  </a:lnTo>
                  <a:lnTo>
                    <a:pt x="395257" y="120438"/>
                  </a:lnTo>
                  <a:lnTo>
                    <a:pt x="409487" y="130790"/>
                  </a:lnTo>
                  <a:lnTo>
                    <a:pt x="419333" y="176498"/>
                  </a:lnTo>
                  <a:lnTo>
                    <a:pt x="426800" y="198789"/>
                  </a:lnTo>
                  <a:lnTo>
                    <a:pt x="428055" y="210471"/>
                  </a:lnTo>
                  <a:lnTo>
                    <a:pt x="423989" y="230905"/>
                  </a:lnTo>
                  <a:lnTo>
                    <a:pt x="425657" y="242282"/>
                  </a:lnTo>
                  <a:lnTo>
                    <a:pt x="422724" y="255901"/>
                  </a:lnTo>
                  <a:lnTo>
                    <a:pt x="424737" y="271495"/>
                  </a:lnTo>
                  <a:lnTo>
                    <a:pt x="415576" y="281830"/>
                  </a:lnTo>
                  <a:lnTo>
                    <a:pt x="429225" y="299802"/>
                  </a:lnTo>
                  <a:lnTo>
                    <a:pt x="430092" y="310336"/>
                  </a:lnTo>
                  <a:lnTo>
                    <a:pt x="438300" y="324010"/>
                  </a:lnTo>
                  <a:lnTo>
                    <a:pt x="449091" y="319522"/>
                  </a:lnTo>
                  <a:lnTo>
                    <a:pt x="467311" y="3308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1" name="Freeform 65">
              <a:extLst>
                <a:ext uri="{FF2B5EF4-FFF2-40B4-BE49-F238E27FC236}">
                  <a16:creationId xmlns:a16="http://schemas.microsoft.com/office/drawing/2014/main" id="{237A900B-E6FA-436B-AEA4-5978DBA69A50}"/>
                </a:ext>
              </a:extLst>
            </p:cNvPr>
            <p:cNvSpPr>
              <a:spLocks noChangeAspect="1"/>
            </p:cNvSpPr>
            <p:nvPr>
              <p:custDataLst>
                <p:tags r:id="rId71"/>
              </p:custDataLst>
            </p:nvPr>
          </p:nvSpPr>
          <p:spPr>
            <a:xfrm>
              <a:off x="4930830" y="3774036"/>
              <a:ext cx="280829" cy="237937"/>
            </a:xfrm>
            <a:custGeom>
              <a:avLst/>
              <a:gdLst/>
              <a:ahLst/>
              <a:cxnLst/>
              <a:rect l="0" t="0" r="0" b="0"/>
              <a:pathLst>
                <a:path w="280829" h="237937">
                  <a:moveTo>
                    <a:pt x="235964" y="52848"/>
                  </a:moveTo>
                  <a:lnTo>
                    <a:pt x="229481" y="62960"/>
                  </a:lnTo>
                  <a:lnTo>
                    <a:pt x="224513" y="81900"/>
                  </a:lnTo>
                  <a:lnTo>
                    <a:pt x="218234" y="94906"/>
                  </a:lnTo>
                  <a:lnTo>
                    <a:pt x="212852" y="99259"/>
                  </a:lnTo>
                  <a:lnTo>
                    <a:pt x="205160" y="91212"/>
                  </a:lnTo>
                  <a:lnTo>
                    <a:pt x="194742" y="80057"/>
                  </a:lnTo>
                  <a:lnTo>
                    <a:pt x="178271" y="44029"/>
                  </a:lnTo>
                  <a:lnTo>
                    <a:pt x="175899" y="46316"/>
                  </a:lnTo>
                  <a:lnTo>
                    <a:pt x="185464" y="72854"/>
                  </a:lnTo>
                  <a:lnTo>
                    <a:pt x="199635" y="97983"/>
                  </a:lnTo>
                  <a:lnTo>
                    <a:pt x="217081" y="136637"/>
                  </a:lnTo>
                  <a:lnTo>
                    <a:pt x="225606" y="150053"/>
                  </a:lnTo>
                  <a:lnTo>
                    <a:pt x="233020" y="163950"/>
                  </a:lnTo>
                  <a:lnTo>
                    <a:pt x="253733" y="191072"/>
                  </a:lnTo>
                  <a:lnTo>
                    <a:pt x="249146" y="195330"/>
                  </a:lnTo>
                  <a:lnTo>
                    <a:pt x="249891" y="211172"/>
                  </a:lnTo>
                  <a:lnTo>
                    <a:pt x="276776" y="232973"/>
                  </a:lnTo>
                  <a:lnTo>
                    <a:pt x="280828" y="237936"/>
                  </a:lnTo>
                  <a:lnTo>
                    <a:pt x="189276" y="237936"/>
                  </a:lnTo>
                  <a:lnTo>
                    <a:pt x="99716" y="237936"/>
                  </a:lnTo>
                  <a:lnTo>
                    <a:pt x="6923" y="237936"/>
                  </a:lnTo>
                  <a:lnTo>
                    <a:pt x="6923" y="147984"/>
                  </a:lnTo>
                  <a:lnTo>
                    <a:pt x="6923" y="59460"/>
                  </a:lnTo>
                  <a:lnTo>
                    <a:pt x="0" y="39151"/>
                  </a:lnTo>
                  <a:lnTo>
                    <a:pt x="5945" y="23516"/>
                  </a:lnTo>
                  <a:lnTo>
                    <a:pt x="2373" y="12650"/>
                  </a:lnTo>
                  <a:lnTo>
                    <a:pt x="10728" y="422"/>
                  </a:lnTo>
                  <a:lnTo>
                    <a:pt x="41440" y="0"/>
                  </a:lnTo>
                  <a:lnTo>
                    <a:pt x="63652" y="6743"/>
                  </a:lnTo>
                  <a:lnTo>
                    <a:pt x="86570" y="14266"/>
                  </a:lnTo>
                  <a:lnTo>
                    <a:pt x="97258" y="18224"/>
                  </a:lnTo>
                  <a:lnTo>
                    <a:pt x="115029" y="10167"/>
                  </a:lnTo>
                  <a:lnTo>
                    <a:pt x="124530" y="2865"/>
                  </a:lnTo>
                  <a:lnTo>
                    <a:pt x="144887" y="761"/>
                  </a:lnTo>
                  <a:lnTo>
                    <a:pt x="161299" y="3982"/>
                  </a:lnTo>
                  <a:lnTo>
                    <a:pt x="167588" y="16609"/>
                  </a:lnTo>
                  <a:lnTo>
                    <a:pt x="172945" y="8296"/>
                  </a:lnTo>
                  <a:lnTo>
                    <a:pt x="191445" y="14309"/>
                  </a:lnTo>
                  <a:lnTo>
                    <a:pt x="209437" y="15748"/>
                  </a:lnTo>
                  <a:lnTo>
                    <a:pt x="220795" y="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2" name="Freeform 66">
              <a:extLst>
                <a:ext uri="{FF2B5EF4-FFF2-40B4-BE49-F238E27FC236}">
                  <a16:creationId xmlns:a16="http://schemas.microsoft.com/office/drawing/2014/main" id="{8D94F4EB-75FF-4044-8120-030782682C1A}"/>
                </a:ext>
              </a:extLst>
            </p:cNvPr>
            <p:cNvSpPr>
              <a:spLocks noChangeAspect="1"/>
            </p:cNvSpPr>
            <p:nvPr>
              <p:custDataLst>
                <p:tags r:id="rId72"/>
              </p:custDataLst>
            </p:nvPr>
          </p:nvSpPr>
          <p:spPr>
            <a:xfrm>
              <a:off x="5199123" y="4108078"/>
              <a:ext cx="155995" cy="130929"/>
            </a:xfrm>
            <a:custGeom>
              <a:avLst/>
              <a:gdLst/>
              <a:ahLst/>
              <a:cxnLst/>
              <a:rect l="0" t="0" r="0" b="0"/>
              <a:pathLst>
                <a:path w="155995" h="130929">
                  <a:moveTo>
                    <a:pt x="139151" y="128893"/>
                  </a:moveTo>
                  <a:lnTo>
                    <a:pt x="131261" y="121305"/>
                  </a:lnTo>
                  <a:lnTo>
                    <a:pt x="121770" y="107540"/>
                  </a:lnTo>
                  <a:lnTo>
                    <a:pt x="111535" y="99990"/>
                  </a:lnTo>
                  <a:lnTo>
                    <a:pt x="105566" y="91865"/>
                  </a:lnTo>
                  <a:lnTo>
                    <a:pt x="85476" y="82422"/>
                  </a:lnTo>
                  <a:lnTo>
                    <a:pt x="69650" y="82140"/>
                  </a:lnTo>
                  <a:lnTo>
                    <a:pt x="64082" y="77211"/>
                  </a:lnTo>
                  <a:lnTo>
                    <a:pt x="50545" y="82755"/>
                  </a:lnTo>
                  <a:lnTo>
                    <a:pt x="36537" y="72050"/>
                  </a:lnTo>
                  <a:lnTo>
                    <a:pt x="29328" y="89641"/>
                  </a:lnTo>
                  <a:lnTo>
                    <a:pt x="2454" y="84719"/>
                  </a:lnTo>
                  <a:lnTo>
                    <a:pt x="0" y="75281"/>
                  </a:lnTo>
                  <a:lnTo>
                    <a:pt x="9941" y="40547"/>
                  </a:lnTo>
                  <a:lnTo>
                    <a:pt x="12219" y="24781"/>
                  </a:lnTo>
                  <a:lnTo>
                    <a:pt x="19488" y="17498"/>
                  </a:lnTo>
                  <a:lnTo>
                    <a:pt x="36489" y="13589"/>
                  </a:lnTo>
                  <a:lnTo>
                    <a:pt x="48171" y="0"/>
                  </a:lnTo>
                  <a:lnTo>
                    <a:pt x="61571" y="27534"/>
                  </a:lnTo>
                  <a:lnTo>
                    <a:pt x="67930" y="49288"/>
                  </a:lnTo>
                  <a:lnTo>
                    <a:pt x="80584" y="60806"/>
                  </a:lnTo>
                  <a:lnTo>
                    <a:pt x="112091" y="83094"/>
                  </a:lnTo>
                  <a:lnTo>
                    <a:pt x="124918" y="96515"/>
                  </a:lnTo>
                  <a:lnTo>
                    <a:pt x="137426" y="110080"/>
                  </a:lnTo>
                  <a:lnTo>
                    <a:pt x="144645" y="118147"/>
                  </a:lnTo>
                  <a:lnTo>
                    <a:pt x="155994" y="125203"/>
                  </a:lnTo>
                  <a:lnTo>
                    <a:pt x="149032" y="130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3" name="Freeform 67">
              <a:extLst>
                <a:ext uri="{FF2B5EF4-FFF2-40B4-BE49-F238E27FC236}">
                  <a16:creationId xmlns:a16="http://schemas.microsoft.com/office/drawing/2014/main" id="{CEDB804C-D74E-4155-8557-1492CE3EF96A}"/>
                </a:ext>
              </a:extLst>
            </p:cNvPr>
            <p:cNvSpPr>
              <a:spLocks noChangeAspect="1"/>
            </p:cNvSpPr>
            <p:nvPr>
              <p:custDataLst>
                <p:tags r:id="rId73"/>
              </p:custDataLst>
            </p:nvPr>
          </p:nvSpPr>
          <p:spPr>
            <a:xfrm>
              <a:off x="4143873" y="3448764"/>
              <a:ext cx="286974" cy="212252"/>
            </a:xfrm>
            <a:custGeom>
              <a:avLst/>
              <a:gdLst/>
              <a:ahLst/>
              <a:cxnLst/>
              <a:rect l="0" t="0" r="0" b="0"/>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4" name="Freeform 68">
              <a:extLst>
                <a:ext uri="{FF2B5EF4-FFF2-40B4-BE49-F238E27FC236}">
                  <a16:creationId xmlns:a16="http://schemas.microsoft.com/office/drawing/2014/main" id="{5EF4BB47-BF7C-44A0-8C22-3FA1632E6C96}"/>
                </a:ext>
              </a:extLst>
            </p:cNvPr>
            <p:cNvSpPr>
              <a:spLocks noChangeAspect="1"/>
            </p:cNvSpPr>
            <p:nvPr>
              <p:custDataLst>
                <p:tags r:id="rId74"/>
              </p:custDataLst>
            </p:nvPr>
          </p:nvSpPr>
          <p:spPr>
            <a:xfrm>
              <a:off x="4899432" y="2958486"/>
              <a:ext cx="110610" cy="72100"/>
            </a:xfrm>
            <a:custGeom>
              <a:avLst/>
              <a:gdLst/>
              <a:ahLst/>
              <a:cxnLst/>
              <a:rect l="0" t="0" r="0" b="0"/>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5" name="Freeform 69">
              <a:extLst>
                <a:ext uri="{FF2B5EF4-FFF2-40B4-BE49-F238E27FC236}">
                  <a16:creationId xmlns:a16="http://schemas.microsoft.com/office/drawing/2014/main" id="{C256398F-E4BD-4736-B685-B0F346F1633C}"/>
                </a:ext>
              </a:extLst>
            </p:cNvPr>
            <p:cNvSpPr>
              <a:spLocks noChangeAspect="1"/>
            </p:cNvSpPr>
            <p:nvPr>
              <p:custDataLst>
                <p:tags r:id="rId75"/>
              </p:custDataLst>
            </p:nvPr>
          </p:nvSpPr>
          <p:spPr>
            <a:xfrm>
              <a:off x="5121357" y="4180128"/>
              <a:ext cx="342438" cy="268823"/>
            </a:xfrm>
            <a:custGeom>
              <a:avLst/>
              <a:gdLst/>
              <a:ahLst/>
              <a:cxnLst/>
              <a:rect l="0" t="0" r="0" b="0"/>
              <a:pathLst>
                <a:path w="342438" h="268823">
                  <a:moveTo>
                    <a:pt x="114303" y="0"/>
                  </a:moveTo>
                  <a:lnTo>
                    <a:pt x="128311" y="10705"/>
                  </a:lnTo>
                  <a:lnTo>
                    <a:pt x="141848" y="5161"/>
                  </a:lnTo>
                  <a:lnTo>
                    <a:pt x="147416" y="10090"/>
                  </a:lnTo>
                  <a:lnTo>
                    <a:pt x="163243" y="10372"/>
                  </a:lnTo>
                  <a:lnTo>
                    <a:pt x="183332" y="19815"/>
                  </a:lnTo>
                  <a:lnTo>
                    <a:pt x="189302" y="27939"/>
                  </a:lnTo>
                  <a:lnTo>
                    <a:pt x="199536" y="35490"/>
                  </a:lnTo>
                  <a:lnTo>
                    <a:pt x="209027" y="49255"/>
                  </a:lnTo>
                  <a:lnTo>
                    <a:pt x="216917" y="56843"/>
                  </a:lnTo>
                  <a:lnTo>
                    <a:pt x="208802" y="67204"/>
                  </a:lnTo>
                  <a:lnTo>
                    <a:pt x="200994" y="78175"/>
                  </a:lnTo>
                  <a:lnTo>
                    <a:pt x="202791" y="84631"/>
                  </a:lnTo>
                  <a:lnTo>
                    <a:pt x="203160" y="91740"/>
                  </a:lnTo>
                  <a:lnTo>
                    <a:pt x="216053" y="92130"/>
                  </a:lnTo>
                  <a:lnTo>
                    <a:pt x="221611" y="90474"/>
                  </a:lnTo>
                  <a:lnTo>
                    <a:pt x="226734" y="94637"/>
                  </a:lnTo>
                  <a:lnTo>
                    <a:pt x="221699" y="102908"/>
                  </a:lnTo>
                  <a:lnTo>
                    <a:pt x="230225" y="115751"/>
                  </a:lnTo>
                  <a:lnTo>
                    <a:pt x="238740" y="126968"/>
                  </a:lnTo>
                  <a:lnTo>
                    <a:pt x="247552" y="135278"/>
                  </a:lnTo>
                  <a:lnTo>
                    <a:pt x="323023" y="162869"/>
                  </a:lnTo>
                  <a:lnTo>
                    <a:pt x="342437" y="162726"/>
                  </a:lnTo>
                  <a:lnTo>
                    <a:pt x="277210" y="232298"/>
                  </a:lnTo>
                  <a:lnTo>
                    <a:pt x="247139" y="233318"/>
                  </a:lnTo>
                  <a:lnTo>
                    <a:pt x="226568" y="249624"/>
                  </a:lnTo>
                  <a:lnTo>
                    <a:pt x="211771" y="250050"/>
                  </a:lnTo>
                  <a:lnTo>
                    <a:pt x="205457" y="257338"/>
                  </a:lnTo>
                  <a:lnTo>
                    <a:pt x="189685" y="257334"/>
                  </a:lnTo>
                  <a:lnTo>
                    <a:pt x="180375" y="249521"/>
                  </a:lnTo>
                  <a:lnTo>
                    <a:pt x="159288" y="259191"/>
                  </a:lnTo>
                  <a:lnTo>
                    <a:pt x="152466" y="268822"/>
                  </a:lnTo>
                  <a:lnTo>
                    <a:pt x="137073" y="267004"/>
                  </a:lnTo>
                  <a:lnTo>
                    <a:pt x="131963" y="264339"/>
                  </a:lnTo>
                  <a:lnTo>
                    <a:pt x="126558" y="264975"/>
                  </a:lnTo>
                  <a:lnTo>
                    <a:pt x="119262" y="264742"/>
                  </a:lnTo>
                  <a:lnTo>
                    <a:pt x="90044" y="245108"/>
                  </a:lnTo>
                  <a:lnTo>
                    <a:pt x="73978" y="245108"/>
                  </a:lnTo>
                  <a:lnTo>
                    <a:pt x="66092" y="237496"/>
                  </a:lnTo>
                  <a:lnTo>
                    <a:pt x="66092" y="224508"/>
                  </a:lnTo>
                  <a:lnTo>
                    <a:pt x="54102" y="220624"/>
                  </a:lnTo>
                  <a:lnTo>
                    <a:pt x="40460" y="195415"/>
                  </a:lnTo>
                  <a:lnTo>
                    <a:pt x="29918" y="190039"/>
                  </a:lnTo>
                  <a:lnTo>
                    <a:pt x="25874" y="180765"/>
                  </a:lnTo>
                  <a:lnTo>
                    <a:pt x="14175" y="169453"/>
                  </a:lnTo>
                  <a:lnTo>
                    <a:pt x="0" y="167790"/>
                  </a:lnTo>
                  <a:lnTo>
                    <a:pt x="7862" y="154558"/>
                  </a:lnTo>
                  <a:lnTo>
                    <a:pt x="20113" y="153987"/>
                  </a:lnTo>
                  <a:lnTo>
                    <a:pt x="23563" y="146887"/>
                  </a:lnTo>
                  <a:lnTo>
                    <a:pt x="23255" y="125965"/>
                  </a:lnTo>
                  <a:lnTo>
                    <a:pt x="30083" y="101566"/>
                  </a:lnTo>
                  <a:lnTo>
                    <a:pt x="41017" y="95027"/>
                  </a:lnTo>
                  <a:lnTo>
                    <a:pt x="43337" y="85476"/>
                  </a:lnTo>
                  <a:lnTo>
                    <a:pt x="53236" y="67605"/>
                  </a:lnTo>
                  <a:lnTo>
                    <a:pt x="67158" y="55998"/>
                  </a:lnTo>
                  <a:lnTo>
                    <a:pt x="76543" y="32876"/>
                  </a:lnTo>
                  <a:lnTo>
                    <a:pt x="80220" y="12669"/>
                  </a:lnTo>
                  <a:lnTo>
                    <a:pt x="107094" y="175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6" name="Freeform 70">
              <a:extLst>
                <a:ext uri="{FF2B5EF4-FFF2-40B4-BE49-F238E27FC236}">
                  <a16:creationId xmlns:a16="http://schemas.microsoft.com/office/drawing/2014/main" id="{8C45EAC1-1BD4-4354-8CD0-C93E3012FC85}"/>
                </a:ext>
              </a:extLst>
            </p:cNvPr>
            <p:cNvSpPr>
              <a:spLocks noChangeAspect="1"/>
            </p:cNvSpPr>
            <p:nvPr>
              <p:custDataLst>
                <p:tags r:id="rId76"/>
              </p:custDataLst>
            </p:nvPr>
          </p:nvSpPr>
          <p:spPr>
            <a:xfrm>
              <a:off x="4837242" y="2562085"/>
              <a:ext cx="250921" cy="388320"/>
            </a:xfrm>
            <a:custGeom>
              <a:avLst/>
              <a:gdLst/>
              <a:ahLst/>
              <a:cxnLst/>
              <a:rect l="0" t="0" r="0" b="0"/>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7" name="Freeform 71">
              <a:extLst>
                <a:ext uri="{FF2B5EF4-FFF2-40B4-BE49-F238E27FC236}">
                  <a16:creationId xmlns:a16="http://schemas.microsoft.com/office/drawing/2014/main" id="{77EF7EA9-85F8-43F0-B909-5B5883748EC9}"/>
                </a:ext>
              </a:extLst>
            </p:cNvPr>
            <p:cNvSpPr>
              <a:spLocks noChangeAspect="1"/>
            </p:cNvSpPr>
            <p:nvPr>
              <p:custDataLst>
                <p:tags r:id="rId77"/>
              </p:custDataLst>
            </p:nvPr>
          </p:nvSpPr>
          <p:spPr>
            <a:xfrm>
              <a:off x="4254682" y="3231904"/>
              <a:ext cx="3963580" cy="2550519"/>
            </a:xfrm>
            <a:custGeom>
              <a:avLst/>
              <a:gdLst>
                <a:gd name="connsiteX0" fmla="*/ 1697208 w 3963580"/>
                <a:gd name="connsiteY0" fmla="*/ 2516185 h 2550519"/>
                <a:gd name="connsiteX1" fmla="*/ 1712096 w 3963580"/>
                <a:gd name="connsiteY1" fmla="*/ 2525545 h 2550519"/>
                <a:gd name="connsiteX2" fmla="*/ 1733909 w 3963580"/>
                <a:gd name="connsiteY2" fmla="*/ 2529268 h 2550519"/>
                <a:gd name="connsiteX3" fmla="*/ 1734717 w 3963580"/>
                <a:gd name="connsiteY3" fmla="*/ 2534938 h 2550519"/>
                <a:gd name="connsiteX4" fmla="*/ 1728254 w 3963580"/>
                <a:gd name="connsiteY4" fmla="*/ 2548566 h 2550519"/>
                <a:gd name="connsiteX5" fmla="*/ 1692822 w 3963580"/>
                <a:gd name="connsiteY5" fmla="*/ 2550519 h 2550519"/>
                <a:gd name="connsiteX6" fmla="*/ 1692245 w 3963580"/>
                <a:gd name="connsiteY6" fmla="*/ 2534565 h 2550519"/>
                <a:gd name="connsiteX7" fmla="*/ 1695650 w 3963580"/>
                <a:gd name="connsiteY7" fmla="*/ 2522273 h 2550519"/>
                <a:gd name="connsiteX8" fmla="*/ 3892245 w 3963580"/>
                <a:gd name="connsiteY8" fmla="*/ 1766377 h 2550519"/>
                <a:gd name="connsiteX9" fmla="*/ 3902180 w 3963580"/>
                <a:gd name="connsiteY9" fmla="*/ 1766722 h 2550519"/>
                <a:gd name="connsiteX10" fmla="*/ 3915107 w 3963580"/>
                <a:gd name="connsiteY10" fmla="*/ 1774896 h 2550519"/>
                <a:gd name="connsiteX11" fmla="*/ 3925263 w 3963580"/>
                <a:gd name="connsiteY11" fmla="*/ 1783082 h 2550519"/>
                <a:gd name="connsiteX12" fmla="*/ 3932649 w 3963580"/>
                <a:gd name="connsiteY12" fmla="*/ 1789831 h 2550519"/>
                <a:gd name="connsiteX13" fmla="*/ 3951577 w 3963580"/>
                <a:gd name="connsiteY13" fmla="*/ 1804806 h 2550519"/>
                <a:gd name="connsiteX14" fmla="*/ 3963580 w 3963580"/>
                <a:gd name="connsiteY14" fmla="*/ 1815941 h 2550519"/>
                <a:gd name="connsiteX15" fmla="*/ 3954810 w 3963580"/>
                <a:gd name="connsiteY15" fmla="*/ 1821760 h 2550519"/>
                <a:gd name="connsiteX16" fmla="*/ 3942107 w 3963580"/>
                <a:gd name="connsiteY16" fmla="*/ 1815207 h 2550519"/>
                <a:gd name="connsiteX17" fmla="*/ 3925595 w 3963580"/>
                <a:gd name="connsiteY17" fmla="*/ 1804312 h 2550519"/>
                <a:gd name="connsiteX18" fmla="*/ 3910716 w 3963580"/>
                <a:gd name="connsiteY18" fmla="*/ 1791515 h 2550519"/>
                <a:gd name="connsiteX19" fmla="*/ 3895440 w 3963580"/>
                <a:gd name="connsiteY19" fmla="*/ 1774529 h 2550519"/>
                <a:gd name="connsiteX20" fmla="*/ 322750 w 3963580"/>
                <a:gd name="connsiteY20" fmla="*/ 237592 h 2550519"/>
                <a:gd name="connsiteX21" fmla="*/ 326674 w 3963580"/>
                <a:gd name="connsiteY21" fmla="*/ 261485 h 2550519"/>
                <a:gd name="connsiteX22" fmla="*/ 319051 w 3963580"/>
                <a:gd name="connsiteY22" fmla="*/ 282847 h 2550519"/>
                <a:gd name="connsiteX23" fmla="*/ 308571 w 3963580"/>
                <a:gd name="connsiteY23" fmla="*/ 277231 h 2550519"/>
                <a:gd name="connsiteX24" fmla="*/ 303227 w 3963580"/>
                <a:gd name="connsiteY24" fmla="*/ 258597 h 2550519"/>
                <a:gd name="connsiteX25" fmla="*/ 307885 w 3963580"/>
                <a:gd name="connsiteY25" fmla="*/ 248256 h 2550519"/>
                <a:gd name="connsiteX26" fmla="*/ 164024 w 3963580"/>
                <a:gd name="connsiteY26" fmla="*/ 0 h 2550519"/>
                <a:gd name="connsiteX27" fmla="*/ 167367 w 3963580"/>
                <a:gd name="connsiteY27" fmla="*/ 10719 h 2550519"/>
                <a:gd name="connsiteX28" fmla="*/ 178096 w 3963580"/>
                <a:gd name="connsiteY28" fmla="*/ 11221 h 2550519"/>
                <a:gd name="connsiteX29" fmla="*/ 188828 w 3963580"/>
                <a:gd name="connsiteY29" fmla="*/ 23398 h 2550519"/>
                <a:gd name="connsiteX30" fmla="*/ 204936 w 3963580"/>
                <a:gd name="connsiteY30" fmla="*/ 37629 h 2550519"/>
                <a:gd name="connsiteX31" fmla="*/ 216782 w 3963580"/>
                <a:gd name="connsiteY31" fmla="*/ 35284 h 2550519"/>
                <a:gd name="connsiteX32" fmla="*/ 236976 w 3963580"/>
                <a:gd name="connsiteY32" fmla="*/ 48983 h 2550519"/>
                <a:gd name="connsiteX33" fmla="*/ 242139 w 3963580"/>
                <a:gd name="connsiteY33" fmla="*/ 51583 h 2550519"/>
                <a:gd name="connsiteX34" fmla="*/ 248800 w 3963580"/>
                <a:gd name="connsiteY34" fmla="*/ 50950 h 2550519"/>
                <a:gd name="connsiteX35" fmla="*/ 259693 w 3963580"/>
                <a:gd name="connsiteY35" fmla="*/ 58779 h 2550519"/>
                <a:gd name="connsiteX36" fmla="*/ 292956 w 3963580"/>
                <a:gd name="connsiteY36" fmla="*/ 64272 h 2550519"/>
                <a:gd name="connsiteX37" fmla="*/ 281286 w 3963580"/>
                <a:gd name="connsiteY37" fmla="*/ 84594 h 2550519"/>
                <a:gd name="connsiteX38" fmla="*/ 278356 w 3963580"/>
                <a:gd name="connsiteY38" fmla="*/ 105573 h 2550519"/>
                <a:gd name="connsiteX39" fmla="*/ 272019 w 3963580"/>
                <a:gd name="connsiteY39" fmla="*/ 110578 h 2550519"/>
                <a:gd name="connsiteX40" fmla="*/ 261501 w 3963580"/>
                <a:gd name="connsiteY40" fmla="*/ 107882 h 2550519"/>
                <a:gd name="connsiteX41" fmla="*/ 262244 w 3963580"/>
                <a:gd name="connsiteY41" fmla="*/ 115318 h 2550519"/>
                <a:gd name="connsiteX42" fmla="*/ 245362 w 3963580"/>
                <a:gd name="connsiteY42" fmla="*/ 131691 h 2550519"/>
                <a:gd name="connsiteX43" fmla="*/ 245021 w 3963580"/>
                <a:gd name="connsiteY43" fmla="*/ 144812 h 2550519"/>
                <a:gd name="connsiteX44" fmla="*/ 256043 w 3963580"/>
                <a:gd name="connsiteY44" fmla="*/ 140279 h 2550519"/>
                <a:gd name="connsiteX45" fmla="*/ 263972 w 3963580"/>
                <a:gd name="connsiteY45" fmla="*/ 152948 h 2550519"/>
                <a:gd name="connsiteX46" fmla="*/ 263020 w 3963580"/>
                <a:gd name="connsiteY46" fmla="*/ 161081 h 2550519"/>
                <a:gd name="connsiteX47" fmla="*/ 269813 w 3963580"/>
                <a:gd name="connsiteY47" fmla="*/ 171851 h 2550519"/>
                <a:gd name="connsiteX48" fmla="*/ 261810 w 3963580"/>
                <a:gd name="connsiteY48" fmla="*/ 180557 h 2550519"/>
                <a:gd name="connsiteX49" fmla="*/ 267757 w 3963580"/>
                <a:gd name="connsiteY49" fmla="*/ 202555 h 2550519"/>
                <a:gd name="connsiteX50" fmla="*/ 280268 w 3963580"/>
                <a:gd name="connsiteY50" fmla="*/ 206145 h 2550519"/>
                <a:gd name="connsiteX51" fmla="*/ 277628 w 3963580"/>
                <a:gd name="connsiteY51" fmla="*/ 218395 h 2550519"/>
                <a:gd name="connsiteX52" fmla="*/ 256716 w 3963580"/>
                <a:gd name="connsiteY52" fmla="*/ 234263 h 2550519"/>
                <a:gd name="connsiteX53" fmla="*/ 211191 w 3963580"/>
                <a:gd name="connsiteY53" fmla="*/ 226669 h 2550519"/>
                <a:gd name="connsiteX54" fmla="*/ 177569 w 3963580"/>
                <a:gd name="connsiteY54" fmla="*/ 235767 h 2550519"/>
                <a:gd name="connsiteX55" fmla="*/ 174928 w 3963580"/>
                <a:gd name="connsiteY55" fmla="*/ 252576 h 2550519"/>
                <a:gd name="connsiteX56" fmla="*/ 148171 w 3963580"/>
                <a:gd name="connsiteY56" fmla="*/ 256183 h 2550519"/>
                <a:gd name="connsiteX57" fmla="*/ 122198 w 3963580"/>
                <a:gd name="connsiteY57" fmla="*/ 243580 h 2550519"/>
                <a:gd name="connsiteX58" fmla="*/ 113807 w 3963580"/>
                <a:gd name="connsiteY58" fmla="*/ 249609 h 2550519"/>
                <a:gd name="connsiteX59" fmla="*/ 71315 w 3963580"/>
                <a:gd name="connsiteY59" fmla="*/ 236919 h 2550519"/>
                <a:gd name="connsiteX60" fmla="*/ 62115 w 3963580"/>
                <a:gd name="connsiteY60" fmla="*/ 226019 h 2550519"/>
                <a:gd name="connsiteX61" fmla="*/ 74052 w 3963580"/>
                <a:gd name="connsiteY61" fmla="*/ 209122 h 2550519"/>
                <a:gd name="connsiteX62" fmla="*/ 78447 w 3963580"/>
                <a:gd name="connsiteY62" fmla="*/ 152263 h 2550519"/>
                <a:gd name="connsiteX63" fmla="*/ 54628 w 3963580"/>
                <a:gd name="connsiteY63" fmla="*/ 121837 h 2550519"/>
                <a:gd name="connsiteX64" fmla="*/ 37603 w 3963580"/>
                <a:gd name="connsiteY64" fmla="*/ 107046 h 2550519"/>
                <a:gd name="connsiteX65" fmla="*/ 2327 w 3963580"/>
                <a:gd name="connsiteY65" fmla="*/ 95747 h 2550519"/>
                <a:gd name="connsiteX66" fmla="*/ 0 w 3963580"/>
                <a:gd name="connsiteY66" fmla="*/ 74192 h 2550519"/>
                <a:gd name="connsiteX67" fmla="*/ 29927 w 3963580"/>
                <a:gd name="connsiteY67" fmla="*/ 67728 h 2550519"/>
                <a:gd name="connsiteX68" fmla="*/ 68690 w 3963580"/>
                <a:gd name="connsiteY68" fmla="*/ 75372 h 2550519"/>
                <a:gd name="connsiteX69" fmla="*/ 61373 w 3963580"/>
                <a:gd name="connsiteY69" fmla="*/ 41574 h 2550519"/>
                <a:gd name="connsiteX70" fmla="*/ 83164 w 3963580"/>
                <a:gd name="connsiteY70" fmla="*/ 54434 h 2550519"/>
                <a:gd name="connsiteX71" fmla="*/ 136906 w 3963580"/>
                <a:gd name="connsiteY71" fmla="*/ 31008 h 2550519"/>
                <a:gd name="connsiteX72" fmla="*/ 143836 w 3963580"/>
                <a:gd name="connsiteY72" fmla="*/ 6160 h 25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8" name="Freeform 72">
              <a:extLst>
                <a:ext uri="{FF2B5EF4-FFF2-40B4-BE49-F238E27FC236}">
                  <a16:creationId xmlns:a16="http://schemas.microsoft.com/office/drawing/2014/main" id="{E3D51829-2BF3-446F-B11C-C8DDDD049D31}"/>
                </a:ext>
              </a:extLst>
            </p:cNvPr>
            <p:cNvSpPr>
              <a:spLocks noChangeAspect="1"/>
            </p:cNvSpPr>
            <p:nvPr>
              <p:custDataLst>
                <p:tags r:id="rId78"/>
              </p:custDataLst>
            </p:nvPr>
          </p:nvSpPr>
          <p:spPr>
            <a:xfrm>
              <a:off x="4563768" y="4474253"/>
              <a:ext cx="129898" cy="145608"/>
            </a:xfrm>
            <a:custGeom>
              <a:avLst/>
              <a:gdLst/>
              <a:ahLst/>
              <a:cxnLst/>
              <a:rect l="0" t="0" r="0" b="0"/>
              <a:pathLst>
                <a:path w="129898" h="145608">
                  <a:moveTo>
                    <a:pt x="52992" y="145607"/>
                  </a:moveTo>
                  <a:lnTo>
                    <a:pt x="29272" y="122281"/>
                  </a:lnTo>
                  <a:lnTo>
                    <a:pt x="14017" y="103221"/>
                  </a:lnTo>
                  <a:lnTo>
                    <a:pt x="0" y="79371"/>
                  </a:lnTo>
                  <a:lnTo>
                    <a:pt x="741" y="71701"/>
                  </a:lnTo>
                  <a:lnTo>
                    <a:pt x="5780" y="64321"/>
                  </a:lnTo>
                  <a:lnTo>
                    <a:pt x="11388" y="47516"/>
                  </a:lnTo>
                  <a:lnTo>
                    <a:pt x="16040" y="30401"/>
                  </a:lnTo>
                  <a:lnTo>
                    <a:pt x="23828" y="29067"/>
                  </a:lnTo>
                  <a:lnTo>
                    <a:pt x="57408" y="29303"/>
                  </a:lnTo>
                  <a:lnTo>
                    <a:pt x="57209" y="1518"/>
                  </a:lnTo>
                  <a:lnTo>
                    <a:pt x="68178" y="0"/>
                  </a:lnTo>
                  <a:lnTo>
                    <a:pt x="82206" y="3094"/>
                  </a:lnTo>
                  <a:lnTo>
                    <a:pt x="95870" y="119"/>
                  </a:lnTo>
                  <a:lnTo>
                    <a:pt x="98744" y="1378"/>
                  </a:lnTo>
                  <a:lnTo>
                    <a:pt x="97065" y="11451"/>
                  </a:lnTo>
                  <a:lnTo>
                    <a:pt x="103517" y="23381"/>
                  </a:lnTo>
                  <a:lnTo>
                    <a:pt x="120691" y="21500"/>
                  </a:lnTo>
                  <a:lnTo>
                    <a:pt x="126453" y="26088"/>
                  </a:lnTo>
                  <a:lnTo>
                    <a:pt x="116460" y="52823"/>
                  </a:lnTo>
                  <a:lnTo>
                    <a:pt x="127380" y="66474"/>
                  </a:lnTo>
                  <a:lnTo>
                    <a:pt x="129897" y="84498"/>
                  </a:lnTo>
                  <a:lnTo>
                    <a:pt x="126983" y="99849"/>
                  </a:lnTo>
                  <a:lnTo>
                    <a:pt x="119901" y="110762"/>
                  </a:lnTo>
                  <a:lnTo>
                    <a:pt x="99524" y="109790"/>
                  </a:lnTo>
                  <a:lnTo>
                    <a:pt x="87190" y="98700"/>
                  </a:lnTo>
                  <a:lnTo>
                    <a:pt x="85353" y="108934"/>
                  </a:lnTo>
                  <a:lnTo>
                    <a:pt x="69778" y="111763"/>
                  </a:lnTo>
                  <a:lnTo>
                    <a:pt x="61862" y="117571"/>
                  </a:lnTo>
                  <a:lnTo>
                    <a:pt x="70567" y="1328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9" name="Freeform 73">
              <a:extLst>
                <a:ext uri="{FF2B5EF4-FFF2-40B4-BE49-F238E27FC236}">
                  <a16:creationId xmlns:a16="http://schemas.microsoft.com/office/drawing/2014/main" id="{8AB189EB-7F71-4AB5-91D4-CDFDC43492C9}"/>
                </a:ext>
              </a:extLst>
            </p:cNvPr>
            <p:cNvSpPr>
              <a:spLocks noChangeAspect="1"/>
            </p:cNvSpPr>
            <p:nvPr>
              <p:custDataLst>
                <p:tags r:id="rId79"/>
              </p:custDataLst>
            </p:nvPr>
          </p:nvSpPr>
          <p:spPr>
            <a:xfrm>
              <a:off x="5282955" y="3454260"/>
              <a:ext cx="154260" cy="69175"/>
            </a:xfrm>
            <a:custGeom>
              <a:avLst/>
              <a:gdLst/>
              <a:ahLst/>
              <a:cxnLst/>
              <a:rect l="0" t="0" r="0" b="0"/>
              <a:pathLst>
                <a:path w="154260" h="69175">
                  <a:moveTo>
                    <a:pt x="36911" y="56199"/>
                  </a:moveTo>
                  <a:lnTo>
                    <a:pt x="40352" y="44385"/>
                  </a:lnTo>
                  <a:lnTo>
                    <a:pt x="34589" y="25426"/>
                  </a:lnTo>
                  <a:lnTo>
                    <a:pt x="21247" y="15134"/>
                  </a:lnTo>
                  <a:lnTo>
                    <a:pt x="8457" y="11914"/>
                  </a:lnTo>
                  <a:lnTo>
                    <a:pt x="0" y="3320"/>
                  </a:lnTo>
                  <a:lnTo>
                    <a:pt x="2815" y="0"/>
                  </a:lnTo>
                  <a:lnTo>
                    <a:pt x="22325" y="4804"/>
                  </a:lnTo>
                  <a:lnTo>
                    <a:pt x="56307" y="9345"/>
                  </a:lnTo>
                  <a:lnTo>
                    <a:pt x="87737" y="22756"/>
                  </a:lnTo>
                  <a:lnTo>
                    <a:pt x="91781" y="27938"/>
                  </a:lnTo>
                  <a:lnTo>
                    <a:pt x="105779" y="23561"/>
                  </a:lnTo>
                  <a:lnTo>
                    <a:pt x="127307" y="29392"/>
                  </a:lnTo>
                  <a:lnTo>
                    <a:pt x="134374" y="40795"/>
                  </a:lnTo>
                  <a:lnTo>
                    <a:pt x="148882" y="47217"/>
                  </a:lnTo>
                  <a:lnTo>
                    <a:pt x="142891" y="51030"/>
                  </a:lnTo>
                  <a:lnTo>
                    <a:pt x="154259" y="65951"/>
                  </a:lnTo>
                  <a:lnTo>
                    <a:pt x="151114" y="69174"/>
                  </a:lnTo>
                  <a:lnTo>
                    <a:pt x="138671" y="67541"/>
                  </a:lnTo>
                  <a:lnTo>
                    <a:pt x="121471" y="59624"/>
                  </a:lnTo>
                  <a:lnTo>
                    <a:pt x="115817" y="64123"/>
                  </a:lnTo>
                  <a:lnTo>
                    <a:pt x="83738" y="68413"/>
                  </a:lnTo>
                  <a:lnTo>
                    <a:pt x="61505" y="548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0" name="Freeform 74">
              <a:extLst>
                <a:ext uri="{FF2B5EF4-FFF2-40B4-BE49-F238E27FC236}">
                  <a16:creationId xmlns:a16="http://schemas.microsoft.com/office/drawing/2014/main" id="{92486339-37FA-4E01-B9B6-D72558B8848B}"/>
                </a:ext>
              </a:extLst>
            </p:cNvPr>
            <p:cNvSpPr>
              <a:spLocks noChangeAspect="1"/>
            </p:cNvSpPr>
            <p:nvPr>
              <p:custDataLst>
                <p:tags r:id="rId80"/>
              </p:custDataLst>
            </p:nvPr>
          </p:nvSpPr>
          <p:spPr>
            <a:xfrm>
              <a:off x="4285798" y="4270760"/>
              <a:ext cx="99360" cy="148403"/>
            </a:xfrm>
            <a:custGeom>
              <a:avLst/>
              <a:gdLst/>
              <a:ahLst/>
              <a:cxnLst/>
              <a:rect l="0" t="0" r="0" b="0"/>
              <a:pathLst>
                <a:path w="99360" h="148403">
                  <a:moveTo>
                    <a:pt x="99359" y="120201"/>
                  </a:moveTo>
                  <a:lnTo>
                    <a:pt x="63171" y="133754"/>
                  </a:lnTo>
                  <a:lnTo>
                    <a:pt x="50337" y="141691"/>
                  </a:lnTo>
                  <a:lnTo>
                    <a:pt x="29538" y="148402"/>
                  </a:lnTo>
                  <a:lnTo>
                    <a:pt x="8962" y="141831"/>
                  </a:lnTo>
                  <a:lnTo>
                    <a:pt x="10010" y="132699"/>
                  </a:lnTo>
                  <a:lnTo>
                    <a:pt x="0" y="112750"/>
                  </a:lnTo>
                  <a:lnTo>
                    <a:pt x="6019" y="86565"/>
                  </a:lnTo>
                  <a:lnTo>
                    <a:pt x="15746" y="67062"/>
                  </a:lnTo>
                  <a:lnTo>
                    <a:pt x="9622" y="33961"/>
                  </a:lnTo>
                  <a:lnTo>
                    <a:pt x="6474" y="16411"/>
                  </a:lnTo>
                  <a:lnTo>
                    <a:pt x="7016" y="3168"/>
                  </a:lnTo>
                  <a:lnTo>
                    <a:pt x="47112" y="2068"/>
                  </a:lnTo>
                  <a:lnTo>
                    <a:pt x="57309" y="3770"/>
                  </a:lnTo>
                  <a:lnTo>
                    <a:pt x="64762" y="0"/>
                  </a:lnTo>
                  <a:lnTo>
                    <a:pt x="75438" y="1861"/>
                  </a:lnTo>
                  <a:lnTo>
                    <a:pt x="73739" y="9140"/>
                  </a:lnTo>
                  <a:lnTo>
                    <a:pt x="83373" y="21172"/>
                  </a:lnTo>
                  <a:lnTo>
                    <a:pt x="83335" y="38094"/>
                  </a:lnTo>
                  <a:lnTo>
                    <a:pt x="85534" y="56425"/>
                  </a:lnTo>
                  <a:lnTo>
                    <a:pt x="91324" y="64904"/>
                  </a:lnTo>
                  <a:lnTo>
                    <a:pt x="86221" y="85821"/>
                  </a:lnTo>
                  <a:lnTo>
                    <a:pt x="88054" y="97360"/>
                  </a:lnTo>
                  <a:lnTo>
                    <a:pt x="94207" y="1120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1" name="Freeform 75">
              <a:extLst>
                <a:ext uri="{FF2B5EF4-FFF2-40B4-BE49-F238E27FC236}">
                  <a16:creationId xmlns:a16="http://schemas.microsoft.com/office/drawing/2014/main" id="{7D9CA9A0-3092-4110-9A33-F1251E65068B}"/>
                </a:ext>
              </a:extLst>
            </p:cNvPr>
            <p:cNvSpPr>
              <a:spLocks noChangeAspect="1"/>
            </p:cNvSpPr>
            <p:nvPr>
              <p:custDataLst>
                <p:tags r:id="rId81"/>
              </p:custDataLst>
            </p:nvPr>
          </p:nvSpPr>
          <p:spPr>
            <a:xfrm>
              <a:off x="4011438" y="4235941"/>
              <a:ext cx="168464" cy="123025"/>
            </a:xfrm>
            <a:custGeom>
              <a:avLst/>
              <a:gdLst/>
              <a:ahLst/>
              <a:cxnLst/>
              <a:rect l="0" t="0" r="0" b="0"/>
              <a:pathLst>
                <a:path w="168464" h="123025">
                  <a:moveTo>
                    <a:pt x="154447" y="114274"/>
                  </a:moveTo>
                  <a:lnTo>
                    <a:pt x="147919" y="113678"/>
                  </a:lnTo>
                  <a:lnTo>
                    <a:pt x="143211" y="123024"/>
                  </a:lnTo>
                  <a:lnTo>
                    <a:pt x="136685" y="122910"/>
                  </a:lnTo>
                  <a:lnTo>
                    <a:pt x="132194" y="117968"/>
                  </a:lnTo>
                  <a:lnTo>
                    <a:pt x="133719" y="108643"/>
                  </a:lnTo>
                  <a:lnTo>
                    <a:pt x="124069" y="94410"/>
                  </a:lnTo>
                  <a:lnTo>
                    <a:pt x="118039" y="97027"/>
                  </a:lnTo>
                  <a:lnTo>
                    <a:pt x="113111" y="97545"/>
                  </a:lnTo>
                  <a:lnTo>
                    <a:pt x="106754" y="98877"/>
                  </a:lnTo>
                  <a:lnTo>
                    <a:pt x="107012" y="90353"/>
                  </a:lnTo>
                  <a:lnTo>
                    <a:pt x="103308" y="84267"/>
                  </a:lnTo>
                  <a:lnTo>
                    <a:pt x="104055" y="77502"/>
                  </a:lnTo>
                  <a:lnTo>
                    <a:pt x="99052" y="67714"/>
                  </a:lnTo>
                  <a:lnTo>
                    <a:pt x="92627" y="59380"/>
                  </a:lnTo>
                  <a:lnTo>
                    <a:pt x="74166" y="59354"/>
                  </a:lnTo>
                  <a:lnTo>
                    <a:pt x="68786" y="63745"/>
                  </a:lnTo>
                  <a:lnTo>
                    <a:pt x="62425" y="64275"/>
                  </a:lnTo>
                  <a:lnTo>
                    <a:pt x="58483" y="69299"/>
                  </a:lnTo>
                  <a:lnTo>
                    <a:pt x="55823" y="75761"/>
                  </a:lnTo>
                  <a:lnTo>
                    <a:pt x="43483" y="85992"/>
                  </a:lnTo>
                  <a:lnTo>
                    <a:pt x="33359" y="72221"/>
                  </a:lnTo>
                  <a:lnTo>
                    <a:pt x="24382" y="63102"/>
                  </a:lnTo>
                  <a:lnTo>
                    <a:pt x="18472" y="60083"/>
                  </a:lnTo>
                  <a:lnTo>
                    <a:pt x="12710" y="55449"/>
                  </a:lnTo>
                  <a:lnTo>
                    <a:pt x="10089" y="45141"/>
                  </a:lnTo>
                  <a:lnTo>
                    <a:pt x="6712" y="39998"/>
                  </a:lnTo>
                  <a:lnTo>
                    <a:pt x="0" y="36172"/>
                  </a:lnTo>
                  <a:lnTo>
                    <a:pt x="10263" y="24780"/>
                  </a:lnTo>
                  <a:lnTo>
                    <a:pt x="17269" y="25214"/>
                  </a:lnTo>
                  <a:lnTo>
                    <a:pt x="23289" y="21288"/>
                  </a:lnTo>
                  <a:lnTo>
                    <a:pt x="28381" y="21251"/>
                  </a:lnTo>
                  <a:lnTo>
                    <a:pt x="32019" y="18150"/>
                  </a:lnTo>
                  <a:lnTo>
                    <a:pt x="30055" y="10392"/>
                  </a:lnTo>
                  <a:lnTo>
                    <a:pt x="32583" y="7944"/>
                  </a:lnTo>
                  <a:lnTo>
                    <a:pt x="33005" y="0"/>
                  </a:lnTo>
                  <a:lnTo>
                    <a:pt x="44146" y="242"/>
                  </a:lnTo>
                  <a:lnTo>
                    <a:pt x="60737" y="5955"/>
                  </a:lnTo>
                  <a:lnTo>
                    <a:pt x="65826" y="5431"/>
                  </a:lnTo>
                  <a:lnTo>
                    <a:pt x="67558" y="2825"/>
                  </a:lnTo>
                  <a:lnTo>
                    <a:pt x="80144" y="4678"/>
                  </a:lnTo>
                  <a:lnTo>
                    <a:pt x="83476" y="3356"/>
                  </a:lnTo>
                  <a:lnTo>
                    <a:pt x="84810" y="11933"/>
                  </a:lnTo>
                  <a:lnTo>
                    <a:pt x="88470" y="11907"/>
                  </a:lnTo>
                  <a:lnTo>
                    <a:pt x="94495" y="8786"/>
                  </a:lnTo>
                  <a:lnTo>
                    <a:pt x="98320" y="9567"/>
                  </a:lnTo>
                  <a:lnTo>
                    <a:pt x="104729" y="15512"/>
                  </a:lnTo>
                  <a:lnTo>
                    <a:pt x="114608" y="17382"/>
                  </a:lnTo>
                  <a:lnTo>
                    <a:pt x="120938" y="12316"/>
                  </a:lnTo>
                  <a:lnTo>
                    <a:pt x="128395" y="9184"/>
                  </a:lnTo>
                  <a:lnTo>
                    <a:pt x="133942" y="5903"/>
                  </a:lnTo>
                  <a:lnTo>
                    <a:pt x="138562" y="6518"/>
                  </a:lnTo>
                  <a:lnTo>
                    <a:pt x="143691" y="11664"/>
                  </a:lnTo>
                  <a:lnTo>
                    <a:pt x="146442" y="18119"/>
                  </a:lnTo>
                  <a:lnTo>
                    <a:pt x="155901" y="27917"/>
                  </a:lnTo>
                  <a:lnTo>
                    <a:pt x="151169" y="33933"/>
                  </a:lnTo>
                  <a:lnTo>
                    <a:pt x="150268" y="41532"/>
                  </a:lnTo>
                  <a:lnTo>
                    <a:pt x="155185" y="39235"/>
                  </a:lnTo>
                  <a:lnTo>
                    <a:pt x="158070" y="41959"/>
                  </a:lnTo>
                  <a:lnTo>
                    <a:pt x="156846" y="48909"/>
                  </a:lnTo>
                  <a:lnTo>
                    <a:pt x="163896" y="55634"/>
                  </a:lnTo>
                  <a:lnTo>
                    <a:pt x="159293" y="57442"/>
                  </a:lnTo>
                  <a:lnTo>
                    <a:pt x="157440" y="65354"/>
                  </a:lnTo>
                  <a:lnTo>
                    <a:pt x="162761" y="74980"/>
                  </a:lnTo>
                  <a:lnTo>
                    <a:pt x="168463" y="93605"/>
                  </a:lnTo>
                  <a:lnTo>
                    <a:pt x="159890" y="96400"/>
                  </a:lnTo>
                  <a:lnTo>
                    <a:pt x="157684" y="99631"/>
                  </a:lnTo>
                  <a:lnTo>
                    <a:pt x="159467" y="104118"/>
                  </a:lnTo>
                  <a:lnTo>
                    <a:pt x="158107" y="1142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2" name="Freeform 76">
              <a:extLst>
                <a:ext uri="{FF2B5EF4-FFF2-40B4-BE49-F238E27FC236}">
                  <a16:creationId xmlns:a16="http://schemas.microsoft.com/office/drawing/2014/main" id="{239FCB2A-27B8-4DB6-93BA-E66E893AE718}"/>
                </a:ext>
              </a:extLst>
            </p:cNvPr>
            <p:cNvSpPr>
              <a:spLocks noChangeAspect="1"/>
            </p:cNvSpPr>
            <p:nvPr>
              <p:custDataLst>
                <p:tags r:id="rId82"/>
              </p:custDataLst>
            </p:nvPr>
          </p:nvSpPr>
          <p:spPr>
            <a:xfrm>
              <a:off x="3971939" y="4205641"/>
              <a:ext cx="69170" cy="17536"/>
            </a:xfrm>
            <a:custGeom>
              <a:avLst/>
              <a:gdLst/>
              <a:ahLst/>
              <a:cxnLst/>
              <a:rect l="0" t="0" r="0" b="0"/>
              <a:pathLst>
                <a:path w="69170" h="17536">
                  <a:moveTo>
                    <a:pt x="0" y="17040"/>
                  </a:moveTo>
                  <a:lnTo>
                    <a:pt x="2950" y="6620"/>
                  </a:lnTo>
                  <a:lnTo>
                    <a:pt x="28090" y="5947"/>
                  </a:lnTo>
                  <a:lnTo>
                    <a:pt x="33303" y="379"/>
                  </a:lnTo>
                  <a:lnTo>
                    <a:pt x="40621" y="0"/>
                  </a:lnTo>
                  <a:lnTo>
                    <a:pt x="49731" y="5788"/>
                  </a:lnTo>
                  <a:lnTo>
                    <a:pt x="56895" y="5898"/>
                  </a:lnTo>
                  <a:lnTo>
                    <a:pt x="64505" y="1939"/>
                  </a:lnTo>
                  <a:lnTo>
                    <a:pt x="69169" y="8733"/>
                  </a:lnTo>
                  <a:lnTo>
                    <a:pt x="59180" y="14006"/>
                  </a:lnTo>
                  <a:lnTo>
                    <a:pt x="49150" y="13592"/>
                  </a:lnTo>
                  <a:lnTo>
                    <a:pt x="39249" y="8628"/>
                  </a:lnTo>
                  <a:lnTo>
                    <a:pt x="30693" y="14053"/>
                  </a:lnTo>
                  <a:lnTo>
                    <a:pt x="26557" y="14246"/>
                  </a:lnTo>
                  <a:lnTo>
                    <a:pt x="21011" y="175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3" name="Freeform 77">
              <a:extLst>
                <a:ext uri="{FF2B5EF4-FFF2-40B4-BE49-F238E27FC236}">
                  <a16:creationId xmlns:a16="http://schemas.microsoft.com/office/drawing/2014/main" id="{DE6CC1B7-DB5C-470C-872D-58228C36D1DF}"/>
                </a:ext>
              </a:extLst>
            </p:cNvPr>
            <p:cNvSpPr>
              <a:spLocks noChangeAspect="1"/>
            </p:cNvSpPr>
            <p:nvPr>
              <p:custDataLst>
                <p:tags r:id="rId83"/>
              </p:custDataLst>
            </p:nvPr>
          </p:nvSpPr>
          <p:spPr>
            <a:xfrm>
              <a:off x="3975726" y="4234956"/>
              <a:ext cx="68718" cy="37158"/>
            </a:xfrm>
            <a:custGeom>
              <a:avLst/>
              <a:gdLst/>
              <a:ahLst/>
              <a:cxnLst/>
              <a:rect l="0" t="0" r="0" b="0"/>
              <a:pathLst>
                <a:path w="68718" h="37158">
                  <a:moveTo>
                    <a:pt x="35712" y="37157"/>
                  </a:moveTo>
                  <a:lnTo>
                    <a:pt x="23389" y="27387"/>
                  </a:lnTo>
                  <a:lnTo>
                    <a:pt x="13671" y="25841"/>
                  </a:lnTo>
                  <a:lnTo>
                    <a:pt x="8372" y="19246"/>
                  </a:lnTo>
                  <a:lnTo>
                    <a:pt x="8506" y="15684"/>
                  </a:lnTo>
                  <a:lnTo>
                    <a:pt x="1468" y="10715"/>
                  </a:lnTo>
                  <a:lnTo>
                    <a:pt x="0" y="5704"/>
                  </a:lnTo>
                  <a:lnTo>
                    <a:pt x="12228" y="1885"/>
                  </a:lnTo>
                  <a:lnTo>
                    <a:pt x="19872" y="2640"/>
                  </a:lnTo>
                  <a:lnTo>
                    <a:pt x="26060" y="0"/>
                  </a:lnTo>
                  <a:lnTo>
                    <a:pt x="68717" y="985"/>
                  </a:lnTo>
                  <a:lnTo>
                    <a:pt x="68295" y="8929"/>
                  </a:lnTo>
                  <a:lnTo>
                    <a:pt x="65767" y="11377"/>
                  </a:lnTo>
                  <a:lnTo>
                    <a:pt x="67731" y="19135"/>
                  </a:lnTo>
                  <a:lnTo>
                    <a:pt x="64093" y="22236"/>
                  </a:lnTo>
                  <a:lnTo>
                    <a:pt x="59001" y="22273"/>
                  </a:lnTo>
                  <a:lnTo>
                    <a:pt x="52981" y="26199"/>
                  </a:lnTo>
                  <a:lnTo>
                    <a:pt x="45975" y="257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4" name="Freeform 78">
              <a:extLst>
                <a:ext uri="{FF2B5EF4-FFF2-40B4-BE49-F238E27FC236}">
                  <a16:creationId xmlns:a16="http://schemas.microsoft.com/office/drawing/2014/main" id="{302CE259-D9A6-479C-BE5B-493C054A800D}"/>
                </a:ext>
              </a:extLst>
            </p:cNvPr>
            <p:cNvSpPr>
              <a:spLocks noChangeAspect="1"/>
            </p:cNvSpPr>
            <p:nvPr>
              <p:custDataLst>
                <p:tags r:id="rId84"/>
              </p:custDataLst>
            </p:nvPr>
          </p:nvSpPr>
          <p:spPr>
            <a:xfrm>
              <a:off x="4575485" y="4475244"/>
              <a:ext cx="45692" cy="29411"/>
            </a:xfrm>
            <a:custGeom>
              <a:avLst/>
              <a:gdLst/>
              <a:ahLst/>
              <a:cxnLst/>
              <a:rect l="0" t="0" r="0" b="0"/>
              <a:pathLst>
                <a:path w="45692" h="29411">
                  <a:moveTo>
                    <a:pt x="4323" y="29410"/>
                  </a:moveTo>
                  <a:lnTo>
                    <a:pt x="0" y="25929"/>
                  </a:lnTo>
                  <a:lnTo>
                    <a:pt x="7930" y="0"/>
                  </a:lnTo>
                  <a:lnTo>
                    <a:pt x="45492" y="527"/>
                  </a:lnTo>
                  <a:lnTo>
                    <a:pt x="45691" y="28312"/>
                  </a:lnTo>
                  <a:lnTo>
                    <a:pt x="12111" y="280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5" name="Freeform 79">
              <a:extLst>
                <a:ext uri="{FF2B5EF4-FFF2-40B4-BE49-F238E27FC236}">
                  <a16:creationId xmlns:a16="http://schemas.microsoft.com/office/drawing/2014/main" id="{FDFE4BA6-FC49-4881-8518-9DE16AA640EF}"/>
                </a:ext>
              </a:extLst>
            </p:cNvPr>
            <p:cNvSpPr>
              <a:spLocks noChangeAspect="1"/>
            </p:cNvSpPr>
            <p:nvPr>
              <p:custDataLst>
                <p:tags r:id="rId85"/>
              </p:custDataLst>
            </p:nvPr>
          </p:nvSpPr>
          <p:spPr>
            <a:xfrm>
              <a:off x="4825803" y="3502410"/>
              <a:ext cx="148979" cy="185536"/>
            </a:xfrm>
            <a:custGeom>
              <a:avLst/>
              <a:gdLst/>
              <a:ahLst/>
              <a:cxnLst/>
              <a:rect l="l" t="t" r="r" b="b"/>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6" name="Freeform 80">
              <a:extLst>
                <a:ext uri="{FF2B5EF4-FFF2-40B4-BE49-F238E27FC236}">
                  <a16:creationId xmlns:a16="http://schemas.microsoft.com/office/drawing/2014/main" id="{D62064C9-C25E-43E6-9045-BD69764D37B8}"/>
                </a:ext>
              </a:extLst>
            </p:cNvPr>
            <p:cNvSpPr>
              <a:spLocks noChangeAspect="1"/>
            </p:cNvSpPr>
            <p:nvPr>
              <p:custDataLst>
                <p:tags r:id="rId86"/>
              </p:custDataLst>
            </p:nvPr>
          </p:nvSpPr>
          <p:spPr>
            <a:xfrm>
              <a:off x="4675926" y="3370037"/>
              <a:ext cx="132345" cy="114250"/>
            </a:xfrm>
            <a:custGeom>
              <a:avLst/>
              <a:gdLst/>
              <a:ahLst/>
              <a:cxnLst/>
              <a:rect l="0" t="0" r="0" b="0"/>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7" name="Freeform 81">
              <a:extLst>
                <a:ext uri="{FF2B5EF4-FFF2-40B4-BE49-F238E27FC236}">
                  <a16:creationId xmlns:a16="http://schemas.microsoft.com/office/drawing/2014/main" id="{C749362B-35FC-41FD-ABC6-2DFE5E8B829E}"/>
                </a:ext>
              </a:extLst>
            </p:cNvPr>
            <p:cNvSpPr>
              <a:spLocks noChangeAspect="1"/>
            </p:cNvSpPr>
            <p:nvPr>
              <p:custDataLst>
                <p:tags r:id="rId87"/>
              </p:custDataLst>
            </p:nvPr>
          </p:nvSpPr>
          <p:spPr>
            <a:xfrm>
              <a:off x="4734679" y="3307886"/>
              <a:ext cx="150228" cy="83637"/>
            </a:xfrm>
            <a:custGeom>
              <a:avLst/>
              <a:gdLst/>
              <a:ahLst/>
              <a:cxnLst/>
              <a:rect l="0" t="0" r="0" b="0"/>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8" name="Freeform 82">
              <a:extLst>
                <a:ext uri="{FF2B5EF4-FFF2-40B4-BE49-F238E27FC236}">
                  <a16:creationId xmlns:a16="http://schemas.microsoft.com/office/drawing/2014/main" id="{7859D991-ED0D-492D-930E-2CE5379FF287}"/>
                </a:ext>
              </a:extLst>
            </p:cNvPr>
            <p:cNvSpPr>
              <a:spLocks noChangeAspect="1"/>
            </p:cNvSpPr>
            <p:nvPr>
              <p:custDataLst>
                <p:tags r:id="rId88"/>
              </p:custDataLst>
            </p:nvPr>
          </p:nvSpPr>
          <p:spPr>
            <a:xfrm>
              <a:off x="6560305" y="4401358"/>
              <a:ext cx="1055820" cy="366587"/>
            </a:xfrm>
            <a:custGeom>
              <a:avLst/>
              <a:gdLst/>
              <a:ahLst/>
              <a:cxnLst/>
              <a:rect l="l" t="t" r="r" b="b"/>
              <a:pathLst>
                <a:path w="1055820" h="366587">
                  <a:moveTo>
                    <a:pt x="568002" y="343315"/>
                  </a:moveTo>
                  <a:lnTo>
                    <a:pt x="580130" y="350408"/>
                  </a:lnTo>
                  <a:lnTo>
                    <a:pt x="588204" y="357486"/>
                  </a:lnTo>
                  <a:lnTo>
                    <a:pt x="586821" y="363779"/>
                  </a:lnTo>
                  <a:lnTo>
                    <a:pt x="577112" y="364224"/>
                  </a:lnTo>
                  <a:lnTo>
                    <a:pt x="546477" y="347894"/>
                  </a:lnTo>
                  <a:close/>
                  <a:moveTo>
                    <a:pt x="684993" y="332412"/>
                  </a:moveTo>
                  <a:lnTo>
                    <a:pt x="687332" y="336999"/>
                  </a:lnTo>
                  <a:lnTo>
                    <a:pt x="687760" y="344057"/>
                  </a:lnTo>
                  <a:lnTo>
                    <a:pt x="672696" y="361457"/>
                  </a:lnTo>
                  <a:lnTo>
                    <a:pt x="652938" y="366587"/>
                  </a:lnTo>
                  <a:lnTo>
                    <a:pt x="650168" y="363788"/>
                  </a:lnTo>
                  <a:lnTo>
                    <a:pt x="652246" y="355863"/>
                  </a:lnTo>
                  <a:lnTo>
                    <a:pt x="662172" y="341655"/>
                  </a:lnTo>
                  <a:close/>
                  <a:moveTo>
                    <a:pt x="521829" y="313882"/>
                  </a:moveTo>
                  <a:lnTo>
                    <a:pt x="530153" y="320079"/>
                  </a:lnTo>
                  <a:lnTo>
                    <a:pt x="544414" y="318180"/>
                  </a:lnTo>
                  <a:lnTo>
                    <a:pt x="550140" y="328063"/>
                  </a:lnTo>
                  <a:lnTo>
                    <a:pt x="523454" y="332734"/>
                  </a:lnTo>
                  <a:lnTo>
                    <a:pt x="507465" y="335857"/>
                  </a:lnTo>
                  <a:lnTo>
                    <a:pt x="495057" y="335672"/>
                  </a:lnTo>
                  <a:lnTo>
                    <a:pt x="502988" y="322282"/>
                  </a:lnTo>
                  <a:lnTo>
                    <a:pt x="515644" y="322099"/>
                  </a:lnTo>
                  <a:close/>
                  <a:moveTo>
                    <a:pt x="637324" y="313848"/>
                  </a:moveTo>
                  <a:lnTo>
                    <a:pt x="633941" y="326760"/>
                  </a:lnTo>
                  <a:lnTo>
                    <a:pt x="599260" y="333362"/>
                  </a:lnTo>
                  <a:lnTo>
                    <a:pt x="568558" y="330495"/>
                  </a:lnTo>
                  <a:lnTo>
                    <a:pt x="568477" y="321996"/>
                  </a:lnTo>
                  <a:lnTo>
                    <a:pt x="586809" y="317164"/>
                  </a:lnTo>
                  <a:lnTo>
                    <a:pt x="601272" y="324131"/>
                  </a:lnTo>
                  <a:lnTo>
                    <a:pt x="616638" y="322362"/>
                  </a:lnTo>
                  <a:close/>
                  <a:moveTo>
                    <a:pt x="248338" y="262860"/>
                  </a:moveTo>
                  <a:lnTo>
                    <a:pt x="276345" y="264228"/>
                  </a:lnTo>
                  <a:lnTo>
                    <a:pt x="294974" y="273282"/>
                  </a:lnTo>
                  <a:lnTo>
                    <a:pt x="304548" y="275048"/>
                  </a:lnTo>
                  <a:lnTo>
                    <a:pt x="307702" y="283294"/>
                  </a:lnTo>
                  <a:lnTo>
                    <a:pt x="351923" y="285605"/>
                  </a:lnTo>
                  <a:lnTo>
                    <a:pt x="357009" y="276050"/>
                  </a:lnTo>
                  <a:lnTo>
                    <a:pt x="399833" y="287198"/>
                  </a:lnTo>
                  <a:lnTo>
                    <a:pt x="408234" y="302237"/>
                  </a:lnTo>
                  <a:lnTo>
                    <a:pt x="442861" y="306469"/>
                  </a:lnTo>
                  <a:lnTo>
                    <a:pt x="471174" y="320275"/>
                  </a:lnTo>
                  <a:lnTo>
                    <a:pt x="444837" y="329133"/>
                  </a:lnTo>
                  <a:lnTo>
                    <a:pt x="419451" y="319767"/>
                  </a:lnTo>
                  <a:lnTo>
                    <a:pt x="398560" y="320400"/>
                  </a:lnTo>
                  <a:lnTo>
                    <a:pt x="374609" y="318679"/>
                  </a:lnTo>
                  <a:lnTo>
                    <a:pt x="353006" y="314507"/>
                  </a:lnTo>
                  <a:lnTo>
                    <a:pt x="326265" y="305637"/>
                  </a:lnTo>
                  <a:lnTo>
                    <a:pt x="309322" y="303337"/>
                  </a:lnTo>
                  <a:lnTo>
                    <a:pt x="299722" y="306240"/>
                  </a:lnTo>
                  <a:lnTo>
                    <a:pt x="257627" y="296682"/>
                  </a:lnTo>
                  <a:lnTo>
                    <a:pt x="253622" y="286707"/>
                  </a:lnTo>
                  <a:lnTo>
                    <a:pt x="232499" y="285003"/>
                  </a:lnTo>
                  <a:close/>
                  <a:moveTo>
                    <a:pt x="904993" y="252420"/>
                  </a:moveTo>
                  <a:lnTo>
                    <a:pt x="910241" y="259193"/>
                  </a:lnTo>
                  <a:lnTo>
                    <a:pt x="910186" y="270238"/>
                  </a:lnTo>
                  <a:lnTo>
                    <a:pt x="898310" y="286019"/>
                  </a:lnTo>
                  <a:lnTo>
                    <a:pt x="896063" y="268571"/>
                  </a:lnTo>
                  <a:lnTo>
                    <a:pt x="900161" y="260246"/>
                  </a:lnTo>
                  <a:close/>
                  <a:moveTo>
                    <a:pt x="731896" y="198869"/>
                  </a:moveTo>
                  <a:lnTo>
                    <a:pt x="737634" y="206488"/>
                  </a:lnTo>
                  <a:lnTo>
                    <a:pt x="728994" y="214159"/>
                  </a:lnTo>
                  <a:lnTo>
                    <a:pt x="713041" y="209916"/>
                  </a:lnTo>
                  <a:lnTo>
                    <a:pt x="708546" y="199977"/>
                  </a:lnTo>
                  <a:close/>
                  <a:moveTo>
                    <a:pt x="786610" y="191311"/>
                  </a:moveTo>
                  <a:lnTo>
                    <a:pt x="812009" y="198047"/>
                  </a:lnTo>
                  <a:lnTo>
                    <a:pt x="820400" y="215719"/>
                  </a:lnTo>
                  <a:lnTo>
                    <a:pt x="800911" y="206193"/>
                  </a:lnTo>
                  <a:lnTo>
                    <a:pt x="781630" y="204260"/>
                  </a:lnTo>
                  <a:lnTo>
                    <a:pt x="768599" y="205786"/>
                  </a:lnTo>
                  <a:lnTo>
                    <a:pt x="752630" y="204972"/>
                  </a:lnTo>
                  <a:lnTo>
                    <a:pt x="758100" y="192269"/>
                  </a:lnTo>
                  <a:close/>
                  <a:moveTo>
                    <a:pt x="856069" y="135143"/>
                  </a:moveTo>
                  <a:lnTo>
                    <a:pt x="893127" y="144622"/>
                  </a:lnTo>
                  <a:lnTo>
                    <a:pt x="896769" y="153202"/>
                  </a:lnTo>
                  <a:lnTo>
                    <a:pt x="903215" y="190549"/>
                  </a:lnTo>
                  <a:lnTo>
                    <a:pt x="927105" y="204378"/>
                  </a:lnTo>
                  <a:lnTo>
                    <a:pt x="946396" y="179874"/>
                  </a:lnTo>
                  <a:lnTo>
                    <a:pt x="972882" y="165938"/>
                  </a:lnTo>
                  <a:lnTo>
                    <a:pt x="993402" y="165919"/>
                  </a:lnTo>
                  <a:lnTo>
                    <a:pt x="1013142" y="173969"/>
                  </a:lnTo>
                  <a:lnTo>
                    <a:pt x="1030263" y="182230"/>
                  </a:lnTo>
                  <a:lnTo>
                    <a:pt x="1055043" y="186644"/>
                  </a:lnTo>
                  <a:lnTo>
                    <a:pt x="1055432" y="262005"/>
                  </a:lnTo>
                  <a:lnTo>
                    <a:pt x="1055820" y="337649"/>
                  </a:lnTo>
                  <a:lnTo>
                    <a:pt x="1035266" y="318563"/>
                  </a:lnTo>
                  <a:lnTo>
                    <a:pt x="1011823" y="313890"/>
                  </a:lnTo>
                  <a:lnTo>
                    <a:pt x="1006138" y="320510"/>
                  </a:lnTo>
                  <a:lnTo>
                    <a:pt x="976892" y="321225"/>
                  </a:lnTo>
                  <a:lnTo>
                    <a:pt x="986693" y="302322"/>
                  </a:lnTo>
                  <a:lnTo>
                    <a:pt x="1001225" y="295878"/>
                  </a:lnTo>
                  <a:lnTo>
                    <a:pt x="995207" y="270665"/>
                  </a:lnTo>
                  <a:lnTo>
                    <a:pt x="984125" y="251224"/>
                  </a:lnTo>
                  <a:lnTo>
                    <a:pt x="939377" y="231629"/>
                  </a:lnTo>
                  <a:lnTo>
                    <a:pt x="920342" y="229696"/>
                  </a:lnTo>
                  <a:lnTo>
                    <a:pt x="885678" y="208332"/>
                  </a:lnTo>
                  <a:lnTo>
                    <a:pt x="878865" y="219565"/>
                  </a:lnTo>
                  <a:lnTo>
                    <a:pt x="870007" y="221603"/>
                  </a:lnTo>
                  <a:lnTo>
                    <a:pt x="864767" y="213126"/>
                  </a:lnTo>
                  <a:lnTo>
                    <a:pt x="864694" y="203085"/>
                  </a:lnTo>
                  <a:lnTo>
                    <a:pt x="847060" y="191735"/>
                  </a:lnTo>
                  <a:lnTo>
                    <a:pt x="871920" y="183417"/>
                  </a:lnTo>
                  <a:lnTo>
                    <a:pt x="888383" y="183866"/>
                  </a:lnTo>
                  <a:lnTo>
                    <a:pt x="886448" y="177738"/>
                  </a:lnTo>
                  <a:lnTo>
                    <a:pt x="852659" y="177692"/>
                  </a:lnTo>
                  <a:lnTo>
                    <a:pt x="843514" y="163944"/>
                  </a:lnTo>
                  <a:lnTo>
                    <a:pt x="822892" y="159681"/>
                  </a:lnTo>
                  <a:lnTo>
                    <a:pt x="813122" y="148258"/>
                  </a:lnTo>
                  <a:lnTo>
                    <a:pt x="844237" y="142666"/>
                  </a:lnTo>
                  <a:close/>
                  <a:moveTo>
                    <a:pt x="687239" y="88678"/>
                  </a:moveTo>
                  <a:lnTo>
                    <a:pt x="691268" y="93837"/>
                  </a:lnTo>
                  <a:lnTo>
                    <a:pt x="672721" y="116736"/>
                  </a:lnTo>
                  <a:lnTo>
                    <a:pt x="655374" y="121174"/>
                  </a:lnTo>
                  <a:lnTo>
                    <a:pt x="633158" y="116661"/>
                  </a:lnTo>
                  <a:lnTo>
                    <a:pt x="594695" y="117813"/>
                  </a:lnTo>
                  <a:lnTo>
                    <a:pt x="574528" y="121136"/>
                  </a:lnTo>
                  <a:lnTo>
                    <a:pt x="571246" y="138608"/>
                  </a:lnTo>
                  <a:lnTo>
                    <a:pt x="591906" y="159136"/>
                  </a:lnTo>
                  <a:lnTo>
                    <a:pt x="604369" y="148679"/>
                  </a:lnTo>
                  <a:lnTo>
                    <a:pt x="647412" y="140824"/>
                  </a:lnTo>
                  <a:lnTo>
                    <a:pt x="645515" y="151456"/>
                  </a:lnTo>
                  <a:lnTo>
                    <a:pt x="635458" y="148102"/>
                  </a:lnTo>
                  <a:lnTo>
                    <a:pt x="625436" y="161628"/>
                  </a:lnTo>
                  <a:lnTo>
                    <a:pt x="605117" y="170578"/>
                  </a:lnTo>
                  <a:lnTo>
                    <a:pt x="626961" y="200180"/>
                  </a:lnTo>
                  <a:lnTo>
                    <a:pt x="622744" y="208116"/>
                  </a:lnTo>
                  <a:lnTo>
                    <a:pt x="643497" y="234802"/>
                  </a:lnTo>
                  <a:lnTo>
                    <a:pt x="643297" y="250002"/>
                  </a:lnTo>
                  <a:lnTo>
                    <a:pt x="630976" y="256808"/>
                  </a:lnTo>
                  <a:lnTo>
                    <a:pt x="621925" y="248667"/>
                  </a:lnTo>
                  <a:lnTo>
                    <a:pt x="633078" y="229724"/>
                  </a:lnTo>
                  <a:lnTo>
                    <a:pt x="610426" y="238680"/>
                  </a:lnTo>
                  <a:lnTo>
                    <a:pt x="604683" y="232277"/>
                  </a:lnTo>
                  <a:lnTo>
                    <a:pt x="607678" y="223349"/>
                  </a:lnTo>
                  <a:lnTo>
                    <a:pt x="591034" y="209794"/>
                  </a:lnTo>
                  <a:lnTo>
                    <a:pt x="592748" y="187279"/>
                  </a:lnTo>
                  <a:lnTo>
                    <a:pt x="577353" y="194301"/>
                  </a:lnTo>
                  <a:lnTo>
                    <a:pt x="579306" y="221247"/>
                  </a:lnTo>
                  <a:lnTo>
                    <a:pt x="580244" y="254346"/>
                  </a:lnTo>
                  <a:lnTo>
                    <a:pt x="565607" y="257707"/>
                  </a:lnTo>
                  <a:lnTo>
                    <a:pt x="555689" y="250912"/>
                  </a:lnTo>
                  <a:lnTo>
                    <a:pt x="562307" y="229614"/>
                  </a:lnTo>
                  <a:lnTo>
                    <a:pt x="558734" y="207305"/>
                  </a:lnTo>
                  <a:lnTo>
                    <a:pt x="549028" y="207134"/>
                  </a:lnTo>
                  <a:lnTo>
                    <a:pt x="541859" y="191307"/>
                  </a:lnTo>
                  <a:lnTo>
                    <a:pt x="551397" y="176181"/>
                  </a:lnTo>
                  <a:lnTo>
                    <a:pt x="554685" y="157849"/>
                  </a:lnTo>
                  <a:lnTo>
                    <a:pt x="566286" y="123052"/>
                  </a:lnTo>
                  <a:lnTo>
                    <a:pt x="571127" y="113537"/>
                  </a:lnTo>
                  <a:lnTo>
                    <a:pt x="590749" y="96391"/>
                  </a:lnTo>
                  <a:lnTo>
                    <a:pt x="608777" y="103207"/>
                  </a:lnTo>
                  <a:lnTo>
                    <a:pt x="637879" y="106410"/>
                  </a:lnTo>
                  <a:lnTo>
                    <a:pt x="664422" y="105443"/>
                  </a:lnTo>
                  <a:close/>
                  <a:moveTo>
                    <a:pt x="753403" y="76409"/>
                  </a:moveTo>
                  <a:lnTo>
                    <a:pt x="755060" y="89018"/>
                  </a:lnTo>
                  <a:lnTo>
                    <a:pt x="768688" y="91044"/>
                  </a:lnTo>
                  <a:lnTo>
                    <a:pt x="770851" y="100473"/>
                  </a:lnTo>
                  <a:lnTo>
                    <a:pt x="769644" y="120646"/>
                  </a:lnTo>
                  <a:lnTo>
                    <a:pt x="757737" y="118385"/>
                  </a:lnTo>
                  <a:lnTo>
                    <a:pt x="754226" y="132431"/>
                  </a:lnTo>
                  <a:lnTo>
                    <a:pt x="763736" y="144618"/>
                  </a:lnTo>
                  <a:lnTo>
                    <a:pt x="757272" y="147388"/>
                  </a:lnTo>
                  <a:lnTo>
                    <a:pt x="747957" y="132766"/>
                  </a:lnTo>
                  <a:lnTo>
                    <a:pt x="741103" y="103259"/>
                  </a:lnTo>
                  <a:lnTo>
                    <a:pt x="745743" y="84812"/>
                  </a:lnTo>
                  <a:close/>
                  <a:moveTo>
                    <a:pt x="474868" y="27146"/>
                  </a:moveTo>
                  <a:lnTo>
                    <a:pt x="501406" y="27157"/>
                  </a:lnTo>
                  <a:lnTo>
                    <a:pt x="521414" y="31054"/>
                  </a:lnTo>
                  <a:lnTo>
                    <a:pt x="508285" y="51928"/>
                  </a:lnTo>
                  <a:lnTo>
                    <a:pt x="525253" y="73798"/>
                  </a:lnTo>
                  <a:lnTo>
                    <a:pt x="521267" y="84421"/>
                  </a:lnTo>
                  <a:lnTo>
                    <a:pt x="547145" y="105786"/>
                  </a:lnTo>
                  <a:lnTo>
                    <a:pt x="519795" y="108510"/>
                  </a:lnTo>
                  <a:lnTo>
                    <a:pt x="512096" y="124247"/>
                  </a:lnTo>
                  <a:lnTo>
                    <a:pt x="513096" y="145165"/>
                  </a:lnTo>
                  <a:lnTo>
                    <a:pt x="490899" y="160954"/>
                  </a:lnTo>
                  <a:lnTo>
                    <a:pt x="490293" y="183950"/>
                  </a:lnTo>
                  <a:lnTo>
                    <a:pt x="481390" y="219286"/>
                  </a:lnTo>
                  <a:lnTo>
                    <a:pt x="477992" y="211064"/>
                  </a:lnTo>
                  <a:lnTo>
                    <a:pt x="451769" y="221465"/>
                  </a:lnTo>
                  <a:lnTo>
                    <a:pt x="442624" y="207335"/>
                  </a:lnTo>
                  <a:lnTo>
                    <a:pt x="426167" y="206028"/>
                  </a:lnTo>
                  <a:lnTo>
                    <a:pt x="414656" y="198625"/>
                  </a:lnTo>
                  <a:lnTo>
                    <a:pt x="387214" y="206935"/>
                  </a:lnTo>
                  <a:lnTo>
                    <a:pt x="378792" y="195752"/>
                  </a:lnTo>
                  <a:lnTo>
                    <a:pt x="363672" y="197023"/>
                  </a:lnTo>
                  <a:lnTo>
                    <a:pt x="344643" y="194357"/>
                  </a:lnTo>
                  <a:lnTo>
                    <a:pt x="341113" y="163384"/>
                  </a:lnTo>
                  <a:lnTo>
                    <a:pt x="329595" y="156966"/>
                  </a:lnTo>
                  <a:lnTo>
                    <a:pt x="318514" y="137219"/>
                  </a:lnTo>
                  <a:lnTo>
                    <a:pt x="315300" y="117025"/>
                  </a:lnTo>
                  <a:lnTo>
                    <a:pt x="317989" y="95635"/>
                  </a:lnTo>
                  <a:lnTo>
                    <a:pt x="331703" y="80292"/>
                  </a:lnTo>
                  <a:lnTo>
                    <a:pt x="335557" y="95723"/>
                  </a:lnTo>
                  <a:lnTo>
                    <a:pt x="351341" y="108766"/>
                  </a:lnTo>
                  <a:lnTo>
                    <a:pt x="366232" y="104072"/>
                  </a:lnTo>
                  <a:lnTo>
                    <a:pt x="380968" y="105735"/>
                  </a:lnTo>
                  <a:lnTo>
                    <a:pt x="394419" y="94061"/>
                  </a:lnTo>
                  <a:lnTo>
                    <a:pt x="405488" y="92037"/>
                  </a:lnTo>
                  <a:lnTo>
                    <a:pt x="427325" y="98507"/>
                  </a:lnTo>
                  <a:lnTo>
                    <a:pt x="446149" y="93586"/>
                  </a:lnTo>
                  <a:lnTo>
                    <a:pt x="457983" y="61468"/>
                  </a:lnTo>
                  <a:lnTo>
                    <a:pt x="466871" y="53434"/>
                  </a:lnTo>
                  <a:close/>
                  <a:moveTo>
                    <a:pt x="0" y="0"/>
                  </a:moveTo>
                  <a:lnTo>
                    <a:pt x="14861" y="933"/>
                  </a:lnTo>
                  <a:lnTo>
                    <a:pt x="50593" y="5405"/>
                  </a:lnTo>
                  <a:lnTo>
                    <a:pt x="71005" y="28029"/>
                  </a:lnTo>
                  <a:lnTo>
                    <a:pt x="88857" y="43703"/>
                  </a:lnTo>
                  <a:lnTo>
                    <a:pt x="101586" y="53317"/>
                  </a:lnTo>
                  <a:lnTo>
                    <a:pt x="123455" y="78146"/>
                  </a:lnTo>
                  <a:lnTo>
                    <a:pt x="146920" y="78508"/>
                  </a:lnTo>
                  <a:lnTo>
                    <a:pt x="166315" y="94325"/>
                  </a:lnTo>
                  <a:lnTo>
                    <a:pt x="179671" y="113655"/>
                  </a:lnTo>
                  <a:lnTo>
                    <a:pt x="197249" y="124199"/>
                  </a:lnTo>
                  <a:lnTo>
                    <a:pt x="187999" y="143046"/>
                  </a:lnTo>
                  <a:lnTo>
                    <a:pt x="201229" y="151063"/>
                  </a:lnTo>
                  <a:lnTo>
                    <a:pt x="209521" y="151655"/>
                  </a:lnTo>
                  <a:lnTo>
                    <a:pt x="213433" y="167759"/>
                  </a:lnTo>
                  <a:lnTo>
                    <a:pt x="221475" y="180646"/>
                  </a:lnTo>
                  <a:lnTo>
                    <a:pt x="238423" y="182687"/>
                  </a:lnTo>
                  <a:lnTo>
                    <a:pt x="249651" y="197308"/>
                  </a:lnTo>
                  <a:lnTo>
                    <a:pt x="243855" y="226056"/>
                  </a:lnTo>
                  <a:lnTo>
                    <a:pt x="242936" y="261851"/>
                  </a:lnTo>
                  <a:lnTo>
                    <a:pt x="217377" y="262336"/>
                  </a:lnTo>
                  <a:lnTo>
                    <a:pt x="197938" y="242983"/>
                  </a:lnTo>
                  <a:lnTo>
                    <a:pt x="168301" y="224084"/>
                  </a:lnTo>
                  <a:lnTo>
                    <a:pt x="158419" y="210072"/>
                  </a:lnTo>
                  <a:lnTo>
                    <a:pt x="140944" y="191255"/>
                  </a:lnTo>
                  <a:lnTo>
                    <a:pt x="129481" y="173945"/>
                  </a:lnTo>
                  <a:lnTo>
                    <a:pt x="111926" y="141624"/>
                  </a:lnTo>
                  <a:lnTo>
                    <a:pt x="91654" y="122385"/>
                  </a:lnTo>
                  <a:lnTo>
                    <a:pt x="84874" y="102539"/>
                  </a:lnTo>
                  <a:lnTo>
                    <a:pt x="76364" y="84517"/>
                  </a:lnTo>
                  <a:lnTo>
                    <a:pt x="55549" y="69975"/>
                  </a:lnTo>
                  <a:lnTo>
                    <a:pt x="43485" y="50210"/>
                  </a:lnTo>
                  <a:lnTo>
                    <a:pt x="26106" y="37266"/>
                  </a:lnTo>
                  <a:lnTo>
                    <a:pt x="2027" y="117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9" name="Freeform 83">
              <a:extLst>
                <a:ext uri="{FF2B5EF4-FFF2-40B4-BE49-F238E27FC236}">
                  <a16:creationId xmlns:a16="http://schemas.microsoft.com/office/drawing/2014/main" id="{042B3A76-33B2-4C56-A338-F0F4A7327B2C}"/>
                </a:ext>
              </a:extLst>
            </p:cNvPr>
            <p:cNvSpPr>
              <a:spLocks noChangeAspect="1"/>
            </p:cNvSpPr>
            <p:nvPr>
              <p:custDataLst>
                <p:tags r:id="rId89"/>
              </p:custDataLst>
            </p:nvPr>
          </p:nvSpPr>
          <p:spPr>
            <a:xfrm>
              <a:off x="5934386" y="3672917"/>
              <a:ext cx="674613" cy="670808"/>
            </a:xfrm>
            <a:custGeom>
              <a:avLst/>
              <a:gdLst/>
              <a:ahLst/>
              <a:cxnLst/>
              <a:rect l="0" t="0" r="0" b="0"/>
              <a:pathLst>
                <a:path w="674613" h="670808">
                  <a:moveTo>
                    <a:pt x="222997" y="0"/>
                  </a:moveTo>
                  <a:lnTo>
                    <a:pt x="247807" y="30621"/>
                  </a:lnTo>
                  <a:lnTo>
                    <a:pt x="245471" y="51779"/>
                  </a:lnTo>
                  <a:lnTo>
                    <a:pt x="254654" y="64991"/>
                  </a:lnTo>
                  <a:lnTo>
                    <a:pt x="253898" y="78126"/>
                  </a:lnTo>
                  <a:lnTo>
                    <a:pt x="237331" y="74674"/>
                  </a:lnTo>
                  <a:lnTo>
                    <a:pt x="243805" y="102899"/>
                  </a:lnTo>
                  <a:lnTo>
                    <a:pt x="266483" y="119021"/>
                  </a:lnTo>
                  <a:lnTo>
                    <a:pt x="298565" y="136748"/>
                  </a:lnTo>
                  <a:lnTo>
                    <a:pt x="283919" y="148206"/>
                  </a:lnTo>
                  <a:lnTo>
                    <a:pt x="274956" y="171735"/>
                  </a:lnTo>
                  <a:lnTo>
                    <a:pt x="297318" y="181215"/>
                  </a:lnTo>
                  <a:lnTo>
                    <a:pt x="319080" y="193476"/>
                  </a:lnTo>
                  <a:lnTo>
                    <a:pt x="349185" y="207453"/>
                  </a:lnTo>
                  <a:lnTo>
                    <a:pt x="380827" y="210676"/>
                  </a:lnTo>
                  <a:lnTo>
                    <a:pt x="394140" y="223304"/>
                  </a:lnTo>
                  <a:lnTo>
                    <a:pt x="411974" y="225664"/>
                  </a:lnTo>
                  <a:lnTo>
                    <a:pt x="439744" y="231435"/>
                  </a:lnTo>
                  <a:lnTo>
                    <a:pt x="458966" y="231021"/>
                  </a:lnTo>
                  <a:lnTo>
                    <a:pt x="461611" y="221216"/>
                  </a:lnTo>
                  <a:lnTo>
                    <a:pt x="458571" y="205430"/>
                  </a:lnTo>
                  <a:lnTo>
                    <a:pt x="460356" y="194697"/>
                  </a:lnTo>
                  <a:lnTo>
                    <a:pt x="474434" y="189447"/>
                  </a:lnTo>
                  <a:lnTo>
                    <a:pt x="476371" y="209075"/>
                  </a:lnTo>
                  <a:lnTo>
                    <a:pt x="476865" y="214054"/>
                  </a:lnTo>
                  <a:lnTo>
                    <a:pt x="497844" y="223472"/>
                  </a:lnTo>
                  <a:lnTo>
                    <a:pt x="512357" y="219596"/>
                  </a:lnTo>
                  <a:lnTo>
                    <a:pt x="531845" y="221260"/>
                  </a:lnTo>
                  <a:lnTo>
                    <a:pt x="550680" y="220524"/>
                  </a:lnTo>
                  <a:lnTo>
                    <a:pt x="552301" y="205261"/>
                  </a:lnTo>
                  <a:lnTo>
                    <a:pt x="542905" y="197311"/>
                  </a:lnTo>
                  <a:lnTo>
                    <a:pt x="561520" y="194190"/>
                  </a:lnTo>
                  <a:lnTo>
                    <a:pt x="582530" y="175592"/>
                  </a:lnTo>
                  <a:lnTo>
                    <a:pt x="609136" y="159603"/>
                  </a:lnTo>
                  <a:lnTo>
                    <a:pt x="628499" y="165780"/>
                  </a:lnTo>
                  <a:lnTo>
                    <a:pt x="644953" y="155190"/>
                  </a:lnTo>
                  <a:lnTo>
                    <a:pt x="655778" y="170819"/>
                  </a:lnTo>
                  <a:lnTo>
                    <a:pt x="647981" y="181342"/>
                  </a:lnTo>
                  <a:lnTo>
                    <a:pt x="672870" y="185080"/>
                  </a:lnTo>
                  <a:lnTo>
                    <a:pt x="674612" y="194548"/>
                  </a:lnTo>
                  <a:lnTo>
                    <a:pt x="666520" y="199123"/>
                  </a:lnTo>
                  <a:lnTo>
                    <a:pt x="668413" y="214431"/>
                  </a:lnTo>
                  <a:lnTo>
                    <a:pt x="651917" y="209938"/>
                  </a:lnTo>
                  <a:lnTo>
                    <a:pt x="622035" y="227086"/>
                  </a:lnTo>
                  <a:lnTo>
                    <a:pt x="622736" y="241238"/>
                  </a:lnTo>
                  <a:lnTo>
                    <a:pt x="609997" y="261904"/>
                  </a:lnTo>
                  <a:lnTo>
                    <a:pt x="608829" y="273868"/>
                  </a:lnTo>
                  <a:lnTo>
                    <a:pt x="598536" y="294047"/>
                  </a:lnTo>
                  <a:lnTo>
                    <a:pt x="580495" y="288480"/>
                  </a:lnTo>
                  <a:lnTo>
                    <a:pt x="579599" y="313722"/>
                  </a:lnTo>
                  <a:lnTo>
                    <a:pt x="574381" y="322001"/>
                  </a:lnTo>
                  <a:lnTo>
                    <a:pt x="576824" y="332308"/>
                  </a:lnTo>
                  <a:lnTo>
                    <a:pt x="565435" y="338056"/>
                  </a:lnTo>
                  <a:lnTo>
                    <a:pt x="553278" y="299497"/>
                  </a:lnTo>
                  <a:lnTo>
                    <a:pt x="546904" y="299574"/>
                  </a:lnTo>
                  <a:lnTo>
                    <a:pt x="543131" y="315143"/>
                  </a:lnTo>
                  <a:lnTo>
                    <a:pt x="530493" y="302521"/>
                  </a:lnTo>
                  <a:lnTo>
                    <a:pt x="537621" y="288625"/>
                  </a:lnTo>
                  <a:lnTo>
                    <a:pt x="547947" y="287212"/>
                  </a:lnTo>
                  <a:lnTo>
                    <a:pt x="558590" y="266470"/>
                  </a:lnTo>
                  <a:lnTo>
                    <a:pt x="545281" y="262275"/>
                  </a:lnTo>
                  <a:lnTo>
                    <a:pt x="523874" y="262639"/>
                  </a:lnTo>
                  <a:lnTo>
                    <a:pt x="501911" y="259267"/>
                  </a:lnTo>
                  <a:lnTo>
                    <a:pt x="499874" y="242132"/>
                  </a:lnTo>
                  <a:lnTo>
                    <a:pt x="488855" y="240914"/>
                  </a:lnTo>
                  <a:lnTo>
                    <a:pt x="470573" y="230231"/>
                  </a:lnTo>
                  <a:lnTo>
                    <a:pt x="462418" y="246993"/>
                  </a:lnTo>
                  <a:lnTo>
                    <a:pt x="479079" y="260031"/>
                  </a:lnTo>
                  <a:lnTo>
                    <a:pt x="464648" y="269186"/>
                  </a:lnTo>
                  <a:lnTo>
                    <a:pt x="459524" y="278124"/>
                  </a:lnTo>
                  <a:lnTo>
                    <a:pt x="473733" y="284684"/>
                  </a:lnTo>
                  <a:lnTo>
                    <a:pt x="469804" y="299408"/>
                  </a:lnTo>
                  <a:lnTo>
                    <a:pt x="477804" y="317723"/>
                  </a:lnTo>
                  <a:lnTo>
                    <a:pt x="481396" y="337706"/>
                  </a:lnTo>
                  <a:lnTo>
                    <a:pt x="478091" y="346543"/>
                  </a:lnTo>
                  <a:lnTo>
                    <a:pt x="462389" y="346238"/>
                  </a:lnTo>
                  <a:lnTo>
                    <a:pt x="433933" y="351257"/>
                  </a:lnTo>
                  <a:lnTo>
                    <a:pt x="435259" y="369404"/>
                  </a:lnTo>
                  <a:lnTo>
                    <a:pt x="422937" y="383638"/>
                  </a:lnTo>
                  <a:lnTo>
                    <a:pt x="389719" y="399788"/>
                  </a:lnTo>
                  <a:lnTo>
                    <a:pt x="363883" y="427920"/>
                  </a:lnTo>
                  <a:lnTo>
                    <a:pt x="346530" y="442952"/>
                  </a:lnTo>
                  <a:lnTo>
                    <a:pt x="323530" y="458515"/>
                  </a:lnTo>
                  <a:lnTo>
                    <a:pt x="323494" y="469431"/>
                  </a:lnTo>
                  <a:lnTo>
                    <a:pt x="311987" y="475273"/>
                  </a:lnTo>
                  <a:lnTo>
                    <a:pt x="291196" y="483757"/>
                  </a:lnTo>
                  <a:lnTo>
                    <a:pt x="280414" y="485006"/>
                  </a:lnTo>
                  <a:lnTo>
                    <a:pt x="273493" y="503034"/>
                  </a:lnTo>
                  <a:lnTo>
                    <a:pt x="278299" y="533682"/>
                  </a:lnTo>
                  <a:lnTo>
                    <a:pt x="279523" y="553170"/>
                  </a:lnTo>
                  <a:lnTo>
                    <a:pt x="269742" y="575440"/>
                  </a:lnTo>
                  <a:lnTo>
                    <a:pt x="269637" y="615142"/>
                  </a:lnTo>
                  <a:lnTo>
                    <a:pt x="257692" y="616272"/>
                  </a:lnTo>
                  <a:lnTo>
                    <a:pt x="247185" y="634048"/>
                  </a:lnTo>
                  <a:lnTo>
                    <a:pt x="254211" y="641722"/>
                  </a:lnTo>
                  <a:lnTo>
                    <a:pt x="233165" y="648318"/>
                  </a:lnTo>
                  <a:lnTo>
                    <a:pt x="225391" y="664130"/>
                  </a:lnTo>
                  <a:lnTo>
                    <a:pt x="216129" y="670807"/>
                  </a:lnTo>
                  <a:lnTo>
                    <a:pt x="194271" y="649104"/>
                  </a:lnTo>
                  <a:lnTo>
                    <a:pt x="183586" y="616487"/>
                  </a:lnTo>
                  <a:lnTo>
                    <a:pt x="174732" y="592937"/>
                  </a:lnTo>
                  <a:lnTo>
                    <a:pt x="166644" y="581876"/>
                  </a:lnTo>
                  <a:lnTo>
                    <a:pt x="154381" y="559372"/>
                  </a:lnTo>
                  <a:lnTo>
                    <a:pt x="148654" y="529993"/>
                  </a:lnTo>
                  <a:lnTo>
                    <a:pt x="144664" y="515282"/>
                  </a:lnTo>
                  <a:lnTo>
                    <a:pt x="123667" y="482841"/>
                  </a:lnTo>
                  <a:lnTo>
                    <a:pt x="114104" y="436823"/>
                  </a:lnTo>
                  <a:lnTo>
                    <a:pt x="107202" y="406263"/>
                  </a:lnTo>
                  <a:lnTo>
                    <a:pt x="107284" y="377198"/>
                  </a:lnTo>
                  <a:lnTo>
                    <a:pt x="102808" y="354628"/>
                  </a:lnTo>
                  <a:lnTo>
                    <a:pt x="69216" y="369064"/>
                  </a:lnTo>
                  <a:lnTo>
                    <a:pt x="52947" y="366175"/>
                  </a:lnTo>
                  <a:lnTo>
                    <a:pt x="22794" y="336892"/>
                  </a:lnTo>
                  <a:lnTo>
                    <a:pt x="33892" y="328128"/>
                  </a:lnTo>
                  <a:lnTo>
                    <a:pt x="27075" y="318598"/>
                  </a:lnTo>
                  <a:lnTo>
                    <a:pt x="0" y="297924"/>
                  </a:lnTo>
                  <a:lnTo>
                    <a:pt x="15372" y="281614"/>
                  </a:lnTo>
                  <a:lnTo>
                    <a:pt x="66169" y="281678"/>
                  </a:lnTo>
                  <a:lnTo>
                    <a:pt x="61586" y="260611"/>
                  </a:lnTo>
                  <a:lnTo>
                    <a:pt x="48617" y="248124"/>
                  </a:lnTo>
                  <a:lnTo>
                    <a:pt x="45987" y="229109"/>
                  </a:lnTo>
                  <a:lnTo>
                    <a:pt x="30879" y="217977"/>
                  </a:lnTo>
                  <a:lnTo>
                    <a:pt x="56318" y="191885"/>
                  </a:lnTo>
                  <a:lnTo>
                    <a:pt x="83121" y="193783"/>
                  </a:lnTo>
                  <a:lnTo>
                    <a:pt x="107267" y="167541"/>
                  </a:lnTo>
                  <a:lnTo>
                    <a:pt x="121738" y="141983"/>
                  </a:lnTo>
                  <a:lnTo>
                    <a:pt x="144145" y="116553"/>
                  </a:lnTo>
                  <a:lnTo>
                    <a:pt x="143788" y="98388"/>
                  </a:lnTo>
                  <a:lnTo>
                    <a:pt x="163471" y="83584"/>
                  </a:lnTo>
                  <a:lnTo>
                    <a:pt x="144842" y="70901"/>
                  </a:lnTo>
                  <a:lnTo>
                    <a:pt x="136826" y="53452"/>
                  </a:lnTo>
                  <a:lnTo>
                    <a:pt x="128647" y="30731"/>
                  </a:lnTo>
                  <a:lnTo>
                    <a:pt x="139963" y="19498"/>
                  </a:lnTo>
                  <a:lnTo>
                    <a:pt x="174976" y="25858"/>
                  </a:lnTo>
                  <a:lnTo>
                    <a:pt x="200705" y="2198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0" name="Freeform 84">
              <a:extLst>
                <a:ext uri="{FF2B5EF4-FFF2-40B4-BE49-F238E27FC236}">
                  <a16:creationId xmlns:a16="http://schemas.microsoft.com/office/drawing/2014/main" id="{4824F064-A0BB-45F8-AE36-1428073DE191}"/>
                </a:ext>
              </a:extLst>
            </p:cNvPr>
            <p:cNvSpPr>
              <a:spLocks noChangeAspect="1"/>
            </p:cNvSpPr>
            <p:nvPr>
              <p:custDataLst>
                <p:tags r:id="rId90"/>
              </p:custDataLst>
            </p:nvPr>
          </p:nvSpPr>
          <p:spPr>
            <a:xfrm>
              <a:off x="4130389" y="3107133"/>
              <a:ext cx="91041" cy="108813"/>
            </a:xfrm>
            <a:custGeom>
              <a:avLst/>
              <a:gdLst/>
              <a:ahLst/>
              <a:cxnLst/>
              <a:rect l="0" t="0" r="0" b="0"/>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1" name="Freeform 85">
              <a:extLst>
                <a:ext uri="{FF2B5EF4-FFF2-40B4-BE49-F238E27FC236}">
                  <a16:creationId xmlns:a16="http://schemas.microsoft.com/office/drawing/2014/main" id="{87BD1848-543F-437A-8F52-60F06B06FF81}"/>
                </a:ext>
              </a:extLst>
            </p:cNvPr>
            <p:cNvSpPr>
              <a:spLocks noChangeAspect="1"/>
            </p:cNvSpPr>
            <p:nvPr>
              <p:custDataLst>
                <p:tags r:id="rId91"/>
              </p:custDataLst>
            </p:nvPr>
          </p:nvSpPr>
          <p:spPr>
            <a:xfrm>
              <a:off x="5378845" y="3560345"/>
              <a:ext cx="443360" cy="376548"/>
            </a:xfrm>
            <a:custGeom>
              <a:avLst/>
              <a:gdLst/>
              <a:ahLst/>
              <a:cxnLst/>
              <a:rect l="0" t="0" r="0" b="0"/>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2" name="Freeform 86">
              <a:extLst>
                <a:ext uri="{FF2B5EF4-FFF2-40B4-BE49-F238E27FC236}">
                  <a16:creationId xmlns:a16="http://schemas.microsoft.com/office/drawing/2014/main" id="{D2B7101E-DC5C-4019-BEE6-E4AFCF23BD39}"/>
                </a:ext>
              </a:extLst>
            </p:cNvPr>
            <p:cNvSpPr>
              <a:spLocks noChangeAspect="1"/>
            </p:cNvSpPr>
            <p:nvPr>
              <p:custDataLst>
                <p:tags r:id="rId92"/>
              </p:custDataLst>
            </p:nvPr>
          </p:nvSpPr>
          <p:spPr>
            <a:xfrm>
              <a:off x="5256118" y="3622928"/>
              <a:ext cx="225648" cy="214079"/>
            </a:xfrm>
            <a:custGeom>
              <a:avLst/>
              <a:gdLst/>
              <a:ahLst/>
              <a:cxnLst/>
              <a:rect l="0" t="0" r="0" b="0"/>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3" name="Freeform 87">
              <a:extLst>
                <a:ext uri="{FF2B5EF4-FFF2-40B4-BE49-F238E27FC236}">
                  <a16:creationId xmlns:a16="http://schemas.microsoft.com/office/drawing/2014/main" id="{7DDAC36D-F45E-424F-B55D-DCEE45DAEDD4}"/>
                </a:ext>
              </a:extLst>
            </p:cNvPr>
            <p:cNvSpPr>
              <a:spLocks noChangeAspect="1"/>
            </p:cNvSpPr>
            <p:nvPr>
              <p:custDataLst>
                <p:tags r:id="rId93"/>
              </p:custDataLst>
            </p:nvPr>
          </p:nvSpPr>
          <p:spPr>
            <a:xfrm>
              <a:off x="3799173" y="2707375"/>
              <a:ext cx="247366" cy="113679"/>
            </a:xfrm>
            <a:custGeom>
              <a:avLst/>
              <a:gdLst/>
              <a:ahLst/>
              <a:cxnLst/>
              <a:rect l="0" t="0" r="0" b="0"/>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4" name="Freeform 88">
              <a:extLst>
                <a:ext uri="{FF2B5EF4-FFF2-40B4-BE49-F238E27FC236}">
                  <a16:creationId xmlns:a16="http://schemas.microsoft.com/office/drawing/2014/main" id="{164D573A-C50F-43C1-B094-589D5DB5635E}"/>
                </a:ext>
              </a:extLst>
            </p:cNvPr>
            <p:cNvSpPr>
              <a:spLocks noChangeAspect="1"/>
            </p:cNvSpPr>
            <p:nvPr>
              <p:custDataLst>
                <p:tags r:id="rId94"/>
              </p:custDataLst>
            </p:nvPr>
          </p:nvSpPr>
          <p:spPr>
            <a:xfrm>
              <a:off x="5151624" y="3730608"/>
              <a:ext cx="36263" cy="96277"/>
            </a:xfrm>
            <a:custGeom>
              <a:avLst/>
              <a:gdLst/>
              <a:ahLst/>
              <a:cxnLst/>
              <a:rect l="0" t="0" r="0" b="0"/>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5" name="Freeform 89">
              <a:extLst>
                <a:ext uri="{FF2B5EF4-FFF2-40B4-BE49-F238E27FC236}">
                  <a16:creationId xmlns:a16="http://schemas.microsoft.com/office/drawing/2014/main" id="{AF4FFCDB-93A4-485C-8BA4-06644681589E}"/>
                </a:ext>
              </a:extLst>
            </p:cNvPr>
            <p:cNvSpPr>
              <a:spLocks noChangeAspect="1"/>
            </p:cNvSpPr>
            <p:nvPr>
              <p:custDataLst>
                <p:tags r:id="rId95"/>
              </p:custDataLst>
            </p:nvPr>
          </p:nvSpPr>
          <p:spPr>
            <a:xfrm>
              <a:off x="4516493" y="3352254"/>
              <a:ext cx="270767" cy="290991"/>
            </a:xfrm>
            <a:custGeom>
              <a:avLst/>
              <a:gdLst/>
              <a:ahLst/>
              <a:cxnLst/>
              <a:rect l="l" t="t" r="r" b="b"/>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6" name="Freeform 90">
              <a:extLst>
                <a:ext uri="{FF2B5EF4-FFF2-40B4-BE49-F238E27FC236}">
                  <a16:creationId xmlns:a16="http://schemas.microsoft.com/office/drawing/2014/main" id="{55981A7E-BCD1-4456-A501-30757330C4A8}"/>
                </a:ext>
              </a:extLst>
            </p:cNvPr>
            <p:cNvSpPr>
              <a:spLocks noChangeAspect="1"/>
            </p:cNvSpPr>
            <p:nvPr>
              <p:custDataLst>
                <p:tags r:id="rId96"/>
              </p:custDataLst>
            </p:nvPr>
          </p:nvSpPr>
          <p:spPr>
            <a:xfrm>
              <a:off x="5166794" y="3727992"/>
              <a:ext cx="98630" cy="106540"/>
            </a:xfrm>
            <a:custGeom>
              <a:avLst/>
              <a:gdLst/>
              <a:ahLst/>
              <a:cxnLst/>
              <a:rect l="0" t="0" r="0" b="0"/>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7" name="Freeform 91">
              <a:extLst>
                <a:ext uri="{FF2B5EF4-FFF2-40B4-BE49-F238E27FC236}">
                  <a16:creationId xmlns:a16="http://schemas.microsoft.com/office/drawing/2014/main" id="{3EB62192-4B46-4F72-821B-E24C703D2514}"/>
                </a:ext>
              </a:extLst>
            </p:cNvPr>
            <p:cNvSpPr>
              <a:spLocks noChangeAspect="1"/>
            </p:cNvSpPr>
            <p:nvPr>
              <p:custDataLst>
                <p:tags r:id="rId97"/>
              </p:custDataLst>
            </p:nvPr>
          </p:nvSpPr>
          <p:spPr>
            <a:xfrm>
              <a:off x="7347779" y="3397496"/>
              <a:ext cx="372432" cy="390709"/>
            </a:xfrm>
            <a:custGeom>
              <a:avLst/>
              <a:gdLst/>
              <a:ahLst/>
              <a:cxnLst/>
              <a:rect l="l" t="t" r="r" b="b"/>
              <a:pathLst>
                <a:path w="372432" h="390709">
                  <a:moveTo>
                    <a:pt x="103771" y="304924"/>
                  </a:moveTo>
                  <a:lnTo>
                    <a:pt x="120721" y="310532"/>
                  </a:lnTo>
                  <a:lnTo>
                    <a:pt x="123675" y="319430"/>
                  </a:lnTo>
                  <a:lnTo>
                    <a:pt x="110680" y="335080"/>
                  </a:lnTo>
                  <a:lnTo>
                    <a:pt x="101206" y="326792"/>
                  </a:lnTo>
                  <a:lnTo>
                    <a:pt x="89371" y="332798"/>
                  </a:lnTo>
                  <a:lnTo>
                    <a:pt x="83245" y="347873"/>
                  </a:lnTo>
                  <a:lnTo>
                    <a:pt x="68201" y="340541"/>
                  </a:lnTo>
                  <a:lnTo>
                    <a:pt x="68387" y="328300"/>
                  </a:lnTo>
                  <a:lnTo>
                    <a:pt x="81156" y="312842"/>
                  </a:lnTo>
                  <a:lnTo>
                    <a:pt x="94281" y="315844"/>
                  </a:lnTo>
                  <a:close/>
                  <a:moveTo>
                    <a:pt x="276081" y="117295"/>
                  </a:moveTo>
                  <a:lnTo>
                    <a:pt x="288667" y="155275"/>
                  </a:lnTo>
                  <a:lnTo>
                    <a:pt x="287983" y="177264"/>
                  </a:lnTo>
                  <a:lnTo>
                    <a:pt x="266629" y="204362"/>
                  </a:lnTo>
                  <a:lnTo>
                    <a:pt x="267019" y="231902"/>
                  </a:lnTo>
                  <a:lnTo>
                    <a:pt x="258325" y="253046"/>
                  </a:lnTo>
                  <a:lnTo>
                    <a:pt x="262349" y="266255"/>
                  </a:lnTo>
                  <a:lnTo>
                    <a:pt x="250328" y="284747"/>
                  </a:lnTo>
                  <a:lnTo>
                    <a:pt x="220833" y="297039"/>
                  </a:lnTo>
                  <a:lnTo>
                    <a:pt x="180256" y="298638"/>
                  </a:lnTo>
                  <a:lnTo>
                    <a:pt x="147372" y="328270"/>
                  </a:lnTo>
                  <a:lnTo>
                    <a:pt x="131860" y="318322"/>
                  </a:lnTo>
                  <a:lnTo>
                    <a:pt x="130901" y="298892"/>
                  </a:lnTo>
                  <a:lnTo>
                    <a:pt x="90758" y="304637"/>
                  </a:lnTo>
                  <a:lnTo>
                    <a:pt x="63438" y="316873"/>
                  </a:lnTo>
                  <a:lnTo>
                    <a:pt x="36417" y="317371"/>
                  </a:lnTo>
                  <a:lnTo>
                    <a:pt x="59821" y="336401"/>
                  </a:lnTo>
                  <a:lnTo>
                    <a:pt x="44418" y="379993"/>
                  </a:lnTo>
                  <a:lnTo>
                    <a:pt x="29497" y="390709"/>
                  </a:lnTo>
                  <a:lnTo>
                    <a:pt x="18327" y="380812"/>
                  </a:lnTo>
                  <a:lnTo>
                    <a:pt x="23988" y="357764"/>
                  </a:lnTo>
                  <a:lnTo>
                    <a:pt x="9377" y="350297"/>
                  </a:lnTo>
                  <a:lnTo>
                    <a:pt x="0" y="332631"/>
                  </a:lnTo>
                  <a:lnTo>
                    <a:pt x="21824" y="324666"/>
                  </a:lnTo>
                  <a:lnTo>
                    <a:pt x="33931" y="308362"/>
                  </a:lnTo>
                  <a:lnTo>
                    <a:pt x="57147" y="294897"/>
                  </a:lnTo>
                  <a:lnTo>
                    <a:pt x="74077" y="277011"/>
                  </a:lnTo>
                  <a:lnTo>
                    <a:pt x="120026" y="269181"/>
                  </a:lnTo>
                  <a:lnTo>
                    <a:pt x="144707" y="274552"/>
                  </a:lnTo>
                  <a:lnTo>
                    <a:pt x="168858" y="227569"/>
                  </a:lnTo>
                  <a:lnTo>
                    <a:pt x="184249" y="240255"/>
                  </a:lnTo>
                  <a:lnTo>
                    <a:pt x="218112" y="213635"/>
                  </a:lnTo>
                  <a:lnTo>
                    <a:pt x="231241" y="203237"/>
                  </a:lnTo>
                  <a:lnTo>
                    <a:pt x="245746" y="170285"/>
                  </a:lnTo>
                  <a:lnTo>
                    <a:pt x="241789" y="139676"/>
                  </a:lnTo>
                  <a:lnTo>
                    <a:pt x="251540" y="122348"/>
                  </a:lnTo>
                  <a:close/>
                  <a:moveTo>
                    <a:pt x="289900" y="0"/>
                  </a:moveTo>
                  <a:lnTo>
                    <a:pt x="317027" y="29715"/>
                  </a:lnTo>
                  <a:lnTo>
                    <a:pt x="334738" y="39246"/>
                  </a:lnTo>
                  <a:lnTo>
                    <a:pt x="350972" y="45273"/>
                  </a:lnTo>
                  <a:lnTo>
                    <a:pt x="367300" y="33279"/>
                  </a:lnTo>
                  <a:lnTo>
                    <a:pt x="372432" y="64938"/>
                  </a:lnTo>
                  <a:lnTo>
                    <a:pt x="338189" y="72605"/>
                  </a:lnTo>
                  <a:lnTo>
                    <a:pt x="317973" y="100254"/>
                  </a:lnTo>
                  <a:lnTo>
                    <a:pt x="281679" y="81251"/>
                  </a:lnTo>
                  <a:lnTo>
                    <a:pt x="269117" y="111612"/>
                  </a:lnTo>
                  <a:lnTo>
                    <a:pt x="243445" y="112027"/>
                  </a:lnTo>
                  <a:lnTo>
                    <a:pt x="240270" y="84457"/>
                  </a:lnTo>
                  <a:lnTo>
                    <a:pt x="251685" y="62941"/>
                  </a:lnTo>
                  <a:lnTo>
                    <a:pt x="276348" y="61381"/>
                  </a:lnTo>
                  <a:lnTo>
                    <a:pt x="283074" y="222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8" name="Freeform 92">
              <a:extLst>
                <a:ext uri="{FF2B5EF4-FFF2-40B4-BE49-F238E27FC236}">
                  <a16:creationId xmlns:a16="http://schemas.microsoft.com/office/drawing/2014/main" id="{9FE0BCA1-DBA5-4AD5-959B-B0B88D0C3A66}"/>
                </a:ext>
              </a:extLst>
            </p:cNvPr>
            <p:cNvSpPr>
              <a:spLocks noChangeAspect="1"/>
            </p:cNvSpPr>
            <p:nvPr>
              <p:custDataLst>
                <p:tags r:id="rId98"/>
              </p:custDataLst>
            </p:nvPr>
          </p:nvSpPr>
          <p:spPr>
            <a:xfrm>
              <a:off x="5433256" y="3098966"/>
              <a:ext cx="943933" cy="435498"/>
            </a:xfrm>
            <a:custGeom>
              <a:avLst/>
              <a:gdLst/>
              <a:ahLst/>
              <a:cxnLst/>
              <a:rect l="0" t="0" r="0" b="0"/>
              <a:pathLst>
                <a:path w="943933" h="435498">
                  <a:moveTo>
                    <a:pt x="565431" y="391267"/>
                  </a:moveTo>
                  <a:lnTo>
                    <a:pt x="552196" y="396398"/>
                  </a:lnTo>
                  <a:lnTo>
                    <a:pt x="521751" y="415668"/>
                  </a:lnTo>
                  <a:lnTo>
                    <a:pt x="511652" y="435323"/>
                  </a:lnTo>
                  <a:lnTo>
                    <a:pt x="503051" y="435497"/>
                  </a:lnTo>
                  <a:lnTo>
                    <a:pt x="496726" y="422501"/>
                  </a:lnTo>
                  <a:lnTo>
                    <a:pt x="467369" y="421609"/>
                  </a:lnTo>
                  <a:lnTo>
                    <a:pt x="462674" y="398995"/>
                  </a:lnTo>
                  <a:lnTo>
                    <a:pt x="451427" y="398800"/>
                  </a:lnTo>
                  <a:lnTo>
                    <a:pt x="453149" y="370874"/>
                  </a:lnTo>
                  <a:lnTo>
                    <a:pt x="425515" y="350369"/>
                  </a:lnTo>
                  <a:lnTo>
                    <a:pt x="385928" y="352566"/>
                  </a:lnTo>
                  <a:lnTo>
                    <a:pt x="358863" y="356662"/>
                  </a:lnTo>
                  <a:lnTo>
                    <a:pt x="336820" y="331212"/>
                  </a:lnTo>
                  <a:lnTo>
                    <a:pt x="317930" y="320464"/>
                  </a:lnTo>
                  <a:lnTo>
                    <a:pt x="282153" y="300007"/>
                  </a:lnTo>
                  <a:lnTo>
                    <a:pt x="277839" y="297517"/>
                  </a:lnTo>
                  <a:lnTo>
                    <a:pt x="218420" y="314428"/>
                  </a:lnTo>
                  <a:lnTo>
                    <a:pt x="219326" y="417751"/>
                  </a:lnTo>
                  <a:lnTo>
                    <a:pt x="207486" y="419094"/>
                  </a:lnTo>
                  <a:lnTo>
                    <a:pt x="191331" y="397433"/>
                  </a:lnTo>
                  <a:lnTo>
                    <a:pt x="175728" y="389656"/>
                  </a:lnTo>
                  <a:lnTo>
                    <a:pt x="149526" y="395435"/>
                  </a:lnTo>
                  <a:lnTo>
                    <a:pt x="139328" y="404651"/>
                  </a:lnTo>
                  <a:lnTo>
                    <a:pt x="138032" y="397900"/>
                  </a:lnTo>
                  <a:lnTo>
                    <a:pt x="143706" y="386325"/>
                  </a:lnTo>
                  <a:lnTo>
                    <a:pt x="139304" y="376614"/>
                  </a:lnTo>
                  <a:lnTo>
                    <a:pt x="112551" y="367086"/>
                  </a:lnTo>
                  <a:lnTo>
                    <a:pt x="102138" y="341822"/>
                  </a:lnTo>
                  <a:lnTo>
                    <a:pt x="89392" y="334664"/>
                  </a:lnTo>
                  <a:lnTo>
                    <a:pt x="88619" y="325420"/>
                  </a:lnTo>
                  <a:lnTo>
                    <a:pt x="111075" y="328117"/>
                  </a:lnTo>
                  <a:lnTo>
                    <a:pt x="111962" y="307282"/>
                  </a:lnTo>
                  <a:lnTo>
                    <a:pt x="131593" y="302633"/>
                  </a:lnTo>
                  <a:lnTo>
                    <a:pt x="151756" y="306909"/>
                  </a:lnTo>
                  <a:lnTo>
                    <a:pt x="155911" y="278858"/>
                  </a:lnTo>
                  <a:lnTo>
                    <a:pt x="151799" y="260930"/>
                  </a:lnTo>
                  <a:lnTo>
                    <a:pt x="128699" y="262337"/>
                  </a:lnTo>
                  <a:lnTo>
                    <a:pt x="109077" y="255232"/>
                  </a:lnTo>
                  <a:lnTo>
                    <a:pt x="82351" y="268019"/>
                  </a:lnTo>
                  <a:lnTo>
                    <a:pt x="60816" y="274095"/>
                  </a:lnTo>
                  <a:lnTo>
                    <a:pt x="49093" y="269410"/>
                  </a:lnTo>
                  <a:lnTo>
                    <a:pt x="51435" y="254447"/>
                  </a:lnTo>
                  <a:lnTo>
                    <a:pt x="36721" y="234895"/>
                  </a:lnTo>
                  <a:lnTo>
                    <a:pt x="19593" y="235715"/>
                  </a:lnTo>
                  <a:lnTo>
                    <a:pt x="0" y="215724"/>
                  </a:lnTo>
                  <a:lnTo>
                    <a:pt x="13324" y="193207"/>
                  </a:lnTo>
                  <a:lnTo>
                    <a:pt x="6583" y="187114"/>
                  </a:lnTo>
                  <a:lnTo>
                    <a:pt x="25000" y="154044"/>
                  </a:lnTo>
                  <a:lnTo>
                    <a:pt x="48737" y="171553"/>
                  </a:lnTo>
                  <a:lnTo>
                    <a:pt x="51612" y="149482"/>
                  </a:lnTo>
                  <a:lnTo>
                    <a:pt x="99261" y="116257"/>
                  </a:lnTo>
                  <a:lnTo>
                    <a:pt x="135317" y="115461"/>
                  </a:lnTo>
                  <a:lnTo>
                    <a:pt x="186195" y="136670"/>
                  </a:lnTo>
                  <a:lnTo>
                    <a:pt x="213526" y="148979"/>
                  </a:lnTo>
                  <a:lnTo>
                    <a:pt x="238018" y="136142"/>
                  </a:lnTo>
                  <a:lnTo>
                    <a:pt x="274611" y="135529"/>
                  </a:lnTo>
                  <a:lnTo>
                    <a:pt x="304134" y="151293"/>
                  </a:lnTo>
                  <a:lnTo>
                    <a:pt x="310840" y="142278"/>
                  </a:lnTo>
                  <a:lnTo>
                    <a:pt x="343262" y="143590"/>
                  </a:lnTo>
                  <a:lnTo>
                    <a:pt x="349046" y="129143"/>
                  </a:lnTo>
                  <a:lnTo>
                    <a:pt x="311641" y="108013"/>
                  </a:lnTo>
                  <a:lnTo>
                    <a:pt x="333795" y="92938"/>
                  </a:lnTo>
                  <a:lnTo>
                    <a:pt x="329472" y="84467"/>
                  </a:lnTo>
                  <a:lnTo>
                    <a:pt x="351631" y="76355"/>
                  </a:lnTo>
                  <a:lnTo>
                    <a:pt x="334967" y="54855"/>
                  </a:lnTo>
                  <a:lnTo>
                    <a:pt x="345551" y="44072"/>
                  </a:lnTo>
                  <a:lnTo>
                    <a:pt x="431926" y="33027"/>
                  </a:lnTo>
                  <a:lnTo>
                    <a:pt x="443198" y="25155"/>
                  </a:lnTo>
                  <a:lnTo>
                    <a:pt x="500956" y="13345"/>
                  </a:lnTo>
                  <a:lnTo>
                    <a:pt x="521709" y="0"/>
                  </a:lnTo>
                  <a:lnTo>
                    <a:pt x="563190" y="6942"/>
                  </a:lnTo>
                  <a:lnTo>
                    <a:pt x="570459" y="40046"/>
                  </a:lnTo>
                  <a:lnTo>
                    <a:pt x="594557" y="32314"/>
                  </a:lnTo>
                  <a:lnTo>
                    <a:pt x="624204" y="43142"/>
                  </a:lnTo>
                  <a:lnTo>
                    <a:pt x="622292" y="60371"/>
                  </a:lnTo>
                  <a:lnTo>
                    <a:pt x="644432" y="58576"/>
                  </a:lnTo>
                  <a:lnTo>
                    <a:pt x="702283" y="28687"/>
                  </a:lnTo>
                  <a:lnTo>
                    <a:pt x="693836" y="38659"/>
                  </a:lnTo>
                  <a:lnTo>
                    <a:pt x="723284" y="63056"/>
                  </a:lnTo>
                  <a:lnTo>
                    <a:pt x="774865" y="141591"/>
                  </a:lnTo>
                  <a:lnTo>
                    <a:pt x="787165" y="125601"/>
                  </a:lnTo>
                  <a:lnTo>
                    <a:pt x="818963" y="143191"/>
                  </a:lnTo>
                  <a:lnTo>
                    <a:pt x="852133" y="135360"/>
                  </a:lnTo>
                  <a:lnTo>
                    <a:pt x="864877" y="140845"/>
                  </a:lnTo>
                  <a:lnTo>
                    <a:pt x="875986" y="158381"/>
                  </a:lnTo>
                  <a:lnTo>
                    <a:pt x="892125" y="164245"/>
                  </a:lnTo>
                  <a:lnTo>
                    <a:pt x="901952" y="177020"/>
                  </a:lnTo>
                  <a:lnTo>
                    <a:pt x="931684" y="172999"/>
                  </a:lnTo>
                  <a:lnTo>
                    <a:pt x="943932" y="191328"/>
                  </a:lnTo>
                  <a:lnTo>
                    <a:pt x="926362" y="211134"/>
                  </a:lnTo>
                  <a:lnTo>
                    <a:pt x="907191" y="213901"/>
                  </a:lnTo>
                  <a:lnTo>
                    <a:pt x="906088" y="243422"/>
                  </a:lnTo>
                  <a:lnTo>
                    <a:pt x="893250" y="256623"/>
                  </a:lnTo>
                  <a:lnTo>
                    <a:pt x="847459" y="247019"/>
                  </a:lnTo>
                  <a:lnTo>
                    <a:pt x="830803" y="298870"/>
                  </a:lnTo>
                  <a:lnTo>
                    <a:pt x="818988" y="305249"/>
                  </a:lnTo>
                  <a:lnTo>
                    <a:pt x="773262" y="316662"/>
                  </a:lnTo>
                  <a:lnTo>
                    <a:pt x="794039" y="365759"/>
                  </a:lnTo>
                  <a:lnTo>
                    <a:pt x="778203" y="373044"/>
                  </a:lnTo>
                  <a:lnTo>
                    <a:pt x="780046" y="388937"/>
                  </a:lnTo>
                  <a:lnTo>
                    <a:pt x="765819" y="384855"/>
                  </a:lnTo>
                  <a:lnTo>
                    <a:pt x="754243" y="374832"/>
                  </a:lnTo>
                  <a:lnTo>
                    <a:pt x="719994" y="371909"/>
                  </a:lnTo>
                  <a:lnTo>
                    <a:pt x="681722" y="371144"/>
                  </a:lnTo>
                  <a:lnTo>
                    <a:pt x="673334" y="374223"/>
                  </a:lnTo>
                  <a:lnTo>
                    <a:pt x="640462" y="362451"/>
                  </a:lnTo>
                  <a:lnTo>
                    <a:pt x="627361" y="368255"/>
                  </a:lnTo>
                  <a:lnTo>
                    <a:pt x="623771" y="384738"/>
                  </a:lnTo>
                  <a:lnTo>
                    <a:pt x="585797" y="375131"/>
                  </a:lnTo>
                  <a:lnTo>
                    <a:pt x="570600" y="3790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9" name="Freeform 93">
              <a:extLst>
                <a:ext uri="{FF2B5EF4-FFF2-40B4-BE49-F238E27FC236}">
                  <a16:creationId xmlns:a16="http://schemas.microsoft.com/office/drawing/2014/main" id="{FD6409CC-ED34-44B4-8346-2EBF39B3D077}"/>
                </a:ext>
              </a:extLst>
            </p:cNvPr>
            <p:cNvSpPr>
              <a:spLocks noChangeAspect="1"/>
            </p:cNvSpPr>
            <p:nvPr>
              <p:custDataLst>
                <p:tags r:id="rId99"/>
              </p:custDataLst>
            </p:nvPr>
          </p:nvSpPr>
          <p:spPr>
            <a:xfrm>
              <a:off x="5143041" y="4400752"/>
              <a:ext cx="183774" cy="235249"/>
            </a:xfrm>
            <a:custGeom>
              <a:avLst/>
              <a:gdLst/>
              <a:ahLst/>
              <a:cxnLst/>
              <a:rect l="0" t="0" r="0" b="0"/>
              <a:pathLst>
                <a:path w="183774" h="235249">
                  <a:moveTo>
                    <a:pt x="163873" y="147031"/>
                  </a:moveTo>
                  <a:lnTo>
                    <a:pt x="177542" y="166076"/>
                  </a:lnTo>
                  <a:lnTo>
                    <a:pt x="161375" y="175296"/>
                  </a:lnTo>
                  <a:lnTo>
                    <a:pt x="155676" y="184932"/>
                  </a:lnTo>
                  <a:lnTo>
                    <a:pt x="147024" y="186625"/>
                  </a:lnTo>
                  <a:lnTo>
                    <a:pt x="143750" y="202903"/>
                  </a:lnTo>
                  <a:lnTo>
                    <a:pt x="136337" y="212227"/>
                  </a:lnTo>
                  <a:lnTo>
                    <a:pt x="131832" y="227610"/>
                  </a:lnTo>
                  <a:lnTo>
                    <a:pt x="122538" y="235248"/>
                  </a:lnTo>
                  <a:lnTo>
                    <a:pt x="89407" y="212133"/>
                  </a:lnTo>
                  <a:lnTo>
                    <a:pt x="87832" y="198728"/>
                  </a:lnTo>
                  <a:lnTo>
                    <a:pt x="4133" y="151683"/>
                  </a:lnTo>
                  <a:lnTo>
                    <a:pt x="234" y="149148"/>
                  </a:lnTo>
                  <a:lnTo>
                    <a:pt x="0" y="124684"/>
                  </a:lnTo>
                  <a:lnTo>
                    <a:pt x="6611" y="115331"/>
                  </a:lnTo>
                  <a:lnTo>
                    <a:pt x="17970" y="100050"/>
                  </a:lnTo>
                  <a:lnTo>
                    <a:pt x="26370" y="83222"/>
                  </a:lnTo>
                  <a:lnTo>
                    <a:pt x="16215" y="56709"/>
                  </a:lnTo>
                  <a:lnTo>
                    <a:pt x="13516" y="45112"/>
                  </a:lnTo>
                  <a:lnTo>
                    <a:pt x="2572" y="29062"/>
                  </a:lnTo>
                  <a:lnTo>
                    <a:pt x="16772" y="15249"/>
                  </a:lnTo>
                  <a:lnTo>
                    <a:pt x="32418" y="0"/>
                  </a:lnTo>
                  <a:lnTo>
                    <a:pt x="44408" y="3884"/>
                  </a:lnTo>
                  <a:lnTo>
                    <a:pt x="44408" y="16872"/>
                  </a:lnTo>
                  <a:lnTo>
                    <a:pt x="52294" y="24484"/>
                  </a:lnTo>
                  <a:lnTo>
                    <a:pt x="68360" y="24484"/>
                  </a:lnTo>
                  <a:lnTo>
                    <a:pt x="97578" y="44118"/>
                  </a:lnTo>
                  <a:lnTo>
                    <a:pt x="104874" y="44351"/>
                  </a:lnTo>
                  <a:lnTo>
                    <a:pt x="110279" y="43715"/>
                  </a:lnTo>
                  <a:lnTo>
                    <a:pt x="115389" y="46380"/>
                  </a:lnTo>
                  <a:lnTo>
                    <a:pt x="130782" y="48198"/>
                  </a:lnTo>
                  <a:lnTo>
                    <a:pt x="137604" y="38567"/>
                  </a:lnTo>
                  <a:lnTo>
                    <a:pt x="158691" y="28897"/>
                  </a:lnTo>
                  <a:lnTo>
                    <a:pt x="168001" y="36710"/>
                  </a:lnTo>
                  <a:lnTo>
                    <a:pt x="183773" y="36714"/>
                  </a:lnTo>
                  <a:lnTo>
                    <a:pt x="163598" y="62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0" name="Freeform 94">
              <a:extLst>
                <a:ext uri="{FF2B5EF4-FFF2-40B4-BE49-F238E27FC236}">
                  <a16:creationId xmlns:a16="http://schemas.microsoft.com/office/drawing/2014/main" id="{C9C4B6DE-4F87-454A-86A5-4542DA34A425}"/>
                </a:ext>
              </a:extLst>
            </p:cNvPr>
            <p:cNvSpPr>
              <a:spLocks noChangeAspect="1"/>
            </p:cNvSpPr>
            <p:nvPr>
              <p:custDataLst>
                <p:tags r:id="rId100"/>
              </p:custDataLst>
            </p:nvPr>
          </p:nvSpPr>
          <p:spPr>
            <a:xfrm>
              <a:off x="5964122" y="3461417"/>
              <a:ext cx="249181" cy="110678"/>
            </a:xfrm>
            <a:custGeom>
              <a:avLst/>
              <a:gdLst/>
              <a:ahLst/>
              <a:cxnLst/>
              <a:rect l="0" t="0" r="0" b="0"/>
              <a:pathLst>
                <a:path w="249181" h="110678">
                  <a:moveTo>
                    <a:pt x="34565" y="28816"/>
                  </a:moveTo>
                  <a:lnTo>
                    <a:pt x="39734" y="16619"/>
                  </a:lnTo>
                  <a:lnTo>
                    <a:pt x="54931" y="12680"/>
                  </a:lnTo>
                  <a:lnTo>
                    <a:pt x="92905" y="22287"/>
                  </a:lnTo>
                  <a:lnTo>
                    <a:pt x="96495" y="5804"/>
                  </a:lnTo>
                  <a:lnTo>
                    <a:pt x="109596" y="0"/>
                  </a:lnTo>
                  <a:lnTo>
                    <a:pt x="142468" y="11772"/>
                  </a:lnTo>
                  <a:lnTo>
                    <a:pt x="150856" y="8693"/>
                  </a:lnTo>
                  <a:lnTo>
                    <a:pt x="189128" y="9458"/>
                  </a:lnTo>
                  <a:lnTo>
                    <a:pt x="223377" y="12381"/>
                  </a:lnTo>
                  <a:lnTo>
                    <a:pt x="234953" y="22404"/>
                  </a:lnTo>
                  <a:lnTo>
                    <a:pt x="249180" y="26486"/>
                  </a:lnTo>
                  <a:lnTo>
                    <a:pt x="245935" y="32764"/>
                  </a:lnTo>
                  <a:lnTo>
                    <a:pt x="209562" y="47756"/>
                  </a:lnTo>
                  <a:lnTo>
                    <a:pt x="201334" y="58694"/>
                  </a:lnTo>
                  <a:lnTo>
                    <a:pt x="171726" y="61961"/>
                  </a:lnTo>
                  <a:lnTo>
                    <a:pt x="162998" y="79456"/>
                  </a:lnTo>
                  <a:lnTo>
                    <a:pt x="138564" y="75790"/>
                  </a:lnTo>
                  <a:lnTo>
                    <a:pt x="122615" y="81137"/>
                  </a:lnTo>
                  <a:lnTo>
                    <a:pt x="100580" y="94011"/>
                  </a:lnTo>
                  <a:lnTo>
                    <a:pt x="103760" y="100366"/>
                  </a:lnTo>
                  <a:lnTo>
                    <a:pt x="97189" y="106569"/>
                  </a:lnTo>
                  <a:lnTo>
                    <a:pt x="53547" y="110677"/>
                  </a:lnTo>
                  <a:lnTo>
                    <a:pt x="25028" y="101881"/>
                  </a:lnTo>
                  <a:lnTo>
                    <a:pt x="0" y="103982"/>
                  </a:lnTo>
                  <a:lnTo>
                    <a:pt x="2186" y="88316"/>
                  </a:lnTo>
                  <a:lnTo>
                    <a:pt x="27310" y="92874"/>
                  </a:lnTo>
                  <a:lnTo>
                    <a:pt x="35762" y="84468"/>
                  </a:lnTo>
                  <a:lnTo>
                    <a:pt x="53320" y="87154"/>
                  </a:lnTo>
                  <a:lnTo>
                    <a:pt x="82879" y="67464"/>
                  </a:lnTo>
                  <a:lnTo>
                    <a:pt x="55519" y="52979"/>
                  </a:lnTo>
                  <a:lnTo>
                    <a:pt x="39078" y="59841"/>
                  </a:lnTo>
                  <a:lnTo>
                    <a:pt x="22047" y="49474"/>
                  </a:lnTo>
                  <a:lnTo>
                    <a:pt x="41418" y="315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1" name="Freeform 95">
              <a:extLst>
                <a:ext uri="{FF2B5EF4-FFF2-40B4-BE49-F238E27FC236}">
                  <a16:creationId xmlns:a16="http://schemas.microsoft.com/office/drawing/2014/main" id="{420FF451-3BD6-43ED-AE8A-1478E700552D}"/>
                </a:ext>
              </a:extLst>
            </p:cNvPr>
            <p:cNvSpPr>
              <a:spLocks noChangeAspect="1"/>
            </p:cNvSpPr>
            <p:nvPr>
              <p:custDataLst>
                <p:tags r:id="rId101"/>
              </p:custDataLst>
            </p:nvPr>
          </p:nvSpPr>
          <p:spPr>
            <a:xfrm>
              <a:off x="6723155" y="4189298"/>
              <a:ext cx="121564" cy="95746"/>
            </a:xfrm>
            <a:custGeom>
              <a:avLst/>
              <a:gdLst/>
              <a:ahLst/>
              <a:cxnLst/>
              <a:rect l="0" t="0" r="0" b="0"/>
              <a:pathLst>
                <a:path w="121564" h="95746">
                  <a:moveTo>
                    <a:pt x="26525" y="92338"/>
                  </a:moveTo>
                  <a:lnTo>
                    <a:pt x="17141" y="80169"/>
                  </a:lnTo>
                  <a:lnTo>
                    <a:pt x="5466" y="56006"/>
                  </a:lnTo>
                  <a:lnTo>
                    <a:pt x="0" y="27679"/>
                  </a:lnTo>
                  <a:lnTo>
                    <a:pt x="14779" y="8124"/>
                  </a:lnTo>
                  <a:lnTo>
                    <a:pt x="44626" y="3625"/>
                  </a:lnTo>
                  <a:lnTo>
                    <a:pt x="66262" y="7006"/>
                  </a:lnTo>
                  <a:lnTo>
                    <a:pt x="85309" y="16235"/>
                  </a:lnTo>
                  <a:lnTo>
                    <a:pt x="95753" y="0"/>
                  </a:lnTo>
                  <a:lnTo>
                    <a:pt x="116212" y="8672"/>
                  </a:lnTo>
                  <a:lnTo>
                    <a:pt x="121563" y="24360"/>
                  </a:lnTo>
                  <a:lnTo>
                    <a:pt x="118720" y="52478"/>
                  </a:lnTo>
                  <a:lnTo>
                    <a:pt x="79921" y="70492"/>
                  </a:lnTo>
                  <a:lnTo>
                    <a:pt x="90059" y="84651"/>
                  </a:lnTo>
                  <a:lnTo>
                    <a:pt x="65827" y="86344"/>
                  </a:lnTo>
                  <a:lnTo>
                    <a:pt x="45847" y="9574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2" name="Freeform 96">
              <a:extLst>
                <a:ext uri="{FF2B5EF4-FFF2-40B4-BE49-F238E27FC236}">
                  <a16:creationId xmlns:a16="http://schemas.microsoft.com/office/drawing/2014/main" id="{C9CF3903-82DC-432A-876F-6CE1B8227E82}"/>
                </a:ext>
              </a:extLst>
            </p:cNvPr>
            <p:cNvSpPr>
              <a:spLocks noChangeAspect="1"/>
            </p:cNvSpPr>
            <p:nvPr>
              <p:custDataLst>
                <p:tags r:id="rId102"/>
              </p:custDataLst>
            </p:nvPr>
          </p:nvSpPr>
          <p:spPr>
            <a:xfrm>
              <a:off x="7271814" y="3590091"/>
              <a:ext cx="77348" cy="111676"/>
            </a:xfrm>
            <a:custGeom>
              <a:avLst/>
              <a:gdLst/>
              <a:ahLst/>
              <a:cxnLst/>
              <a:rect l="0" t="0" r="0" b="0"/>
              <a:pathLst>
                <a:path w="77348" h="111676">
                  <a:moveTo>
                    <a:pt x="51527" y="0"/>
                  </a:moveTo>
                  <a:lnTo>
                    <a:pt x="71453" y="31582"/>
                  </a:lnTo>
                  <a:lnTo>
                    <a:pt x="77166" y="48805"/>
                  </a:lnTo>
                  <a:lnTo>
                    <a:pt x="77347" y="79200"/>
                  </a:lnTo>
                  <a:lnTo>
                    <a:pt x="68646" y="93608"/>
                  </a:lnTo>
                  <a:lnTo>
                    <a:pt x="47745" y="98630"/>
                  </a:lnTo>
                  <a:lnTo>
                    <a:pt x="29295" y="109446"/>
                  </a:lnTo>
                  <a:lnTo>
                    <a:pt x="8502" y="111675"/>
                  </a:lnTo>
                  <a:lnTo>
                    <a:pt x="5921" y="97475"/>
                  </a:lnTo>
                  <a:lnTo>
                    <a:pt x="10198" y="77823"/>
                  </a:lnTo>
                  <a:lnTo>
                    <a:pt x="0" y="50360"/>
                  </a:lnTo>
                  <a:lnTo>
                    <a:pt x="17144" y="45896"/>
                  </a:lnTo>
                  <a:lnTo>
                    <a:pt x="1323" y="23119"/>
                  </a:lnTo>
                  <a:lnTo>
                    <a:pt x="2768" y="20696"/>
                  </a:lnTo>
                  <a:lnTo>
                    <a:pt x="13072" y="21647"/>
                  </a:lnTo>
                  <a:lnTo>
                    <a:pt x="22064" y="9565"/>
                  </a:lnTo>
                  <a:lnTo>
                    <a:pt x="38378" y="8266"/>
                  </a:lnTo>
                  <a:lnTo>
                    <a:pt x="48204" y="64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3" name="Freeform 97">
              <a:extLst>
                <a:ext uri="{FF2B5EF4-FFF2-40B4-BE49-F238E27FC236}">
                  <a16:creationId xmlns:a16="http://schemas.microsoft.com/office/drawing/2014/main" id="{36D090A8-181E-4B3C-A22F-2009E0ECCB5B}"/>
                </a:ext>
              </a:extLst>
            </p:cNvPr>
            <p:cNvSpPr>
              <a:spLocks noChangeAspect="1"/>
            </p:cNvSpPr>
            <p:nvPr>
              <p:custDataLst>
                <p:tags r:id="rId103"/>
              </p:custDataLst>
            </p:nvPr>
          </p:nvSpPr>
          <p:spPr>
            <a:xfrm>
              <a:off x="4823972" y="3462154"/>
              <a:ext cx="39342" cy="39699"/>
            </a:xfrm>
            <a:custGeom>
              <a:avLst/>
              <a:gdLst/>
              <a:ahLst/>
              <a:cxnLst/>
              <a:rect l="0" t="0" r="0" b="0"/>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4" name="Freeform 98">
              <a:extLst>
                <a:ext uri="{FF2B5EF4-FFF2-40B4-BE49-F238E27FC236}">
                  <a16:creationId xmlns:a16="http://schemas.microsoft.com/office/drawing/2014/main" id="{E37992EE-598A-4E16-B7C7-F98D734D7725}"/>
                </a:ext>
              </a:extLst>
            </p:cNvPr>
            <p:cNvSpPr>
              <a:spLocks noChangeAspect="1"/>
            </p:cNvSpPr>
            <p:nvPr>
              <p:custDataLst>
                <p:tags r:id="rId104"/>
              </p:custDataLst>
            </p:nvPr>
          </p:nvSpPr>
          <p:spPr>
            <a:xfrm>
              <a:off x="5435617" y="3812811"/>
              <a:ext cx="42643" cy="38569"/>
            </a:xfrm>
            <a:custGeom>
              <a:avLst/>
              <a:gdLst/>
              <a:ahLst/>
              <a:cxnLst/>
              <a:rect l="0" t="0" r="0" b="0"/>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5" name="Freeform 99">
              <a:extLst>
                <a:ext uri="{FF2B5EF4-FFF2-40B4-BE49-F238E27FC236}">
                  <a16:creationId xmlns:a16="http://schemas.microsoft.com/office/drawing/2014/main" id="{AF54E66C-DDBD-4F4C-B9A3-6E4D198F54FE}"/>
                </a:ext>
              </a:extLst>
            </p:cNvPr>
            <p:cNvSpPr>
              <a:spLocks noChangeAspect="1"/>
            </p:cNvSpPr>
            <p:nvPr>
              <p:custDataLst>
                <p:tags r:id="rId105"/>
              </p:custDataLst>
            </p:nvPr>
          </p:nvSpPr>
          <p:spPr>
            <a:xfrm>
              <a:off x="6671632" y="4000706"/>
              <a:ext cx="171933" cy="204828"/>
            </a:xfrm>
            <a:custGeom>
              <a:avLst/>
              <a:gdLst/>
              <a:ahLst/>
              <a:cxnLst/>
              <a:rect l="0" t="0" r="0" b="0"/>
              <a:pathLst>
                <a:path w="171933" h="204828">
                  <a:moveTo>
                    <a:pt x="117785" y="195598"/>
                  </a:moveTo>
                  <a:lnTo>
                    <a:pt x="125300" y="184977"/>
                  </a:lnTo>
                  <a:lnTo>
                    <a:pt x="126332" y="164995"/>
                  </a:lnTo>
                  <a:lnTo>
                    <a:pt x="107642" y="144364"/>
                  </a:lnTo>
                  <a:lnTo>
                    <a:pt x="106202" y="120929"/>
                  </a:lnTo>
                  <a:lnTo>
                    <a:pt x="88648" y="101587"/>
                  </a:lnTo>
                  <a:lnTo>
                    <a:pt x="71191" y="99949"/>
                  </a:lnTo>
                  <a:lnTo>
                    <a:pt x="66540" y="108245"/>
                  </a:lnTo>
                  <a:lnTo>
                    <a:pt x="53020" y="108934"/>
                  </a:lnTo>
                  <a:lnTo>
                    <a:pt x="46110" y="104731"/>
                  </a:lnTo>
                  <a:lnTo>
                    <a:pt x="21780" y="118940"/>
                  </a:lnTo>
                  <a:lnTo>
                    <a:pt x="21234" y="97580"/>
                  </a:lnTo>
                  <a:lnTo>
                    <a:pt x="26914" y="72382"/>
                  </a:lnTo>
                  <a:lnTo>
                    <a:pt x="11317" y="71286"/>
                  </a:lnTo>
                  <a:lnTo>
                    <a:pt x="9992" y="56868"/>
                  </a:lnTo>
                  <a:lnTo>
                    <a:pt x="0" y="49449"/>
                  </a:lnTo>
                  <a:lnTo>
                    <a:pt x="4919" y="40584"/>
                  </a:lnTo>
                  <a:lnTo>
                    <a:pt x="24560" y="24893"/>
                  </a:lnTo>
                  <a:lnTo>
                    <a:pt x="26637" y="30565"/>
                  </a:lnTo>
                  <a:lnTo>
                    <a:pt x="38943" y="31223"/>
                  </a:lnTo>
                  <a:lnTo>
                    <a:pt x="35455" y="3555"/>
                  </a:lnTo>
                  <a:lnTo>
                    <a:pt x="47421" y="0"/>
                  </a:lnTo>
                  <a:lnTo>
                    <a:pt x="60912" y="19127"/>
                  </a:lnTo>
                  <a:lnTo>
                    <a:pt x="71276" y="41055"/>
                  </a:lnTo>
                  <a:lnTo>
                    <a:pt x="99693" y="41244"/>
                  </a:lnTo>
                  <a:lnTo>
                    <a:pt x="108640" y="62213"/>
                  </a:lnTo>
                  <a:lnTo>
                    <a:pt x="93886" y="68497"/>
                  </a:lnTo>
                  <a:lnTo>
                    <a:pt x="87264" y="77111"/>
                  </a:lnTo>
                  <a:lnTo>
                    <a:pt x="114919" y="91418"/>
                  </a:lnTo>
                  <a:lnTo>
                    <a:pt x="134105" y="119586"/>
                  </a:lnTo>
                  <a:lnTo>
                    <a:pt x="148652" y="140513"/>
                  </a:lnTo>
                  <a:lnTo>
                    <a:pt x="166119" y="156996"/>
                  </a:lnTo>
                  <a:lnTo>
                    <a:pt x="171932" y="173693"/>
                  </a:lnTo>
                  <a:lnTo>
                    <a:pt x="167735" y="197264"/>
                  </a:lnTo>
                  <a:lnTo>
                    <a:pt x="147276" y="188592"/>
                  </a:lnTo>
                  <a:lnTo>
                    <a:pt x="136832" y="2048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6" name="Freeform 100">
              <a:extLst>
                <a:ext uri="{FF2B5EF4-FFF2-40B4-BE49-F238E27FC236}">
                  <a16:creationId xmlns:a16="http://schemas.microsoft.com/office/drawing/2014/main" id="{76808B49-F9D9-4A79-8C2E-AC889A3EC7A6}"/>
                </a:ext>
              </a:extLst>
            </p:cNvPr>
            <p:cNvSpPr>
              <a:spLocks noChangeAspect="1"/>
            </p:cNvSpPr>
            <p:nvPr>
              <p:custDataLst>
                <p:tags r:id="rId106"/>
              </p:custDataLst>
            </p:nvPr>
          </p:nvSpPr>
          <p:spPr>
            <a:xfrm>
              <a:off x="5171490" y="3695127"/>
              <a:ext cx="34295" cy="40343"/>
            </a:xfrm>
            <a:custGeom>
              <a:avLst/>
              <a:gdLst/>
              <a:ahLst/>
              <a:cxnLst/>
              <a:rect l="0" t="0" r="0" b="0"/>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7" name="Freeform 101">
              <a:extLst>
                <a:ext uri="{FF2B5EF4-FFF2-40B4-BE49-F238E27FC236}">
                  <a16:creationId xmlns:a16="http://schemas.microsoft.com/office/drawing/2014/main" id="{20672DB1-941A-454A-829A-D517B5F46767}"/>
                </a:ext>
              </a:extLst>
            </p:cNvPr>
            <p:cNvSpPr>
              <a:spLocks noChangeAspect="1"/>
            </p:cNvSpPr>
            <p:nvPr>
              <p:custDataLst>
                <p:tags r:id="rId107"/>
              </p:custDataLst>
            </p:nvPr>
          </p:nvSpPr>
          <p:spPr>
            <a:xfrm>
              <a:off x="4096649" y="4330351"/>
              <a:ext cx="90001" cy="97016"/>
            </a:xfrm>
            <a:custGeom>
              <a:avLst/>
              <a:gdLst/>
              <a:ahLst/>
              <a:cxnLst/>
              <a:rect l="0" t="0" r="0" b="0"/>
              <a:pathLst>
                <a:path w="90001" h="97016">
                  <a:moveTo>
                    <a:pt x="86020" y="96811"/>
                  </a:moveTo>
                  <a:lnTo>
                    <a:pt x="79974" y="97015"/>
                  </a:lnTo>
                  <a:lnTo>
                    <a:pt x="56183" y="85990"/>
                  </a:lnTo>
                  <a:lnTo>
                    <a:pt x="35209" y="68374"/>
                  </a:lnTo>
                  <a:lnTo>
                    <a:pt x="15543" y="55701"/>
                  </a:lnTo>
                  <a:lnTo>
                    <a:pt x="0" y="40748"/>
                  </a:lnTo>
                  <a:lnTo>
                    <a:pt x="5516" y="33328"/>
                  </a:lnTo>
                  <a:lnTo>
                    <a:pt x="6742" y="26580"/>
                  </a:lnTo>
                  <a:lnTo>
                    <a:pt x="17155" y="13979"/>
                  </a:lnTo>
                  <a:lnTo>
                    <a:pt x="27900" y="3135"/>
                  </a:lnTo>
                  <a:lnTo>
                    <a:pt x="32828" y="2617"/>
                  </a:lnTo>
                  <a:lnTo>
                    <a:pt x="38858" y="0"/>
                  </a:lnTo>
                  <a:lnTo>
                    <a:pt x="48508" y="14233"/>
                  </a:lnTo>
                  <a:lnTo>
                    <a:pt x="46983" y="23558"/>
                  </a:lnTo>
                  <a:lnTo>
                    <a:pt x="51474" y="28500"/>
                  </a:lnTo>
                  <a:lnTo>
                    <a:pt x="58000" y="28614"/>
                  </a:lnTo>
                  <a:lnTo>
                    <a:pt x="62708" y="19268"/>
                  </a:lnTo>
                  <a:lnTo>
                    <a:pt x="69236" y="19864"/>
                  </a:lnTo>
                  <a:lnTo>
                    <a:pt x="68171" y="26614"/>
                  </a:lnTo>
                  <a:lnTo>
                    <a:pt x="70479" y="37828"/>
                  </a:lnTo>
                  <a:lnTo>
                    <a:pt x="65460" y="48127"/>
                  </a:lnTo>
                  <a:lnTo>
                    <a:pt x="72189" y="54489"/>
                  </a:lnTo>
                  <a:lnTo>
                    <a:pt x="79522" y="56038"/>
                  </a:lnTo>
                  <a:lnTo>
                    <a:pt x="89298" y="65739"/>
                  </a:lnTo>
                  <a:lnTo>
                    <a:pt x="90000" y="74861"/>
                  </a:lnTo>
                  <a:lnTo>
                    <a:pt x="87793" y="7775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8" name="Freeform 102">
              <a:extLst>
                <a:ext uri="{FF2B5EF4-FFF2-40B4-BE49-F238E27FC236}">
                  <a16:creationId xmlns:a16="http://schemas.microsoft.com/office/drawing/2014/main" id="{E9AA272B-4656-46BE-8358-D62AE811069F}"/>
                </a:ext>
              </a:extLst>
            </p:cNvPr>
            <p:cNvSpPr>
              <a:spLocks noChangeAspect="1"/>
            </p:cNvSpPr>
            <p:nvPr>
              <p:custDataLst>
                <p:tags r:id="rId108"/>
              </p:custDataLst>
            </p:nvPr>
          </p:nvSpPr>
          <p:spPr>
            <a:xfrm>
              <a:off x="4575803" y="3734232"/>
              <a:ext cx="365756" cy="336032"/>
            </a:xfrm>
            <a:custGeom>
              <a:avLst/>
              <a:gdLst/>
              <a:ahLst/>
              <a:cxnLst/>
              <a:rect l="0" t="0" r="0" b="0"/>
              <a:pathLst>
                <a:path w="365756" h="336032">
                  <a:moveTo>
                    <a:pt x="127691" y="256802"/>
                  </a:moveTo>
                  <a:lnTo>
                    <a:pt x="111362" y="265830"/>
                  </a:lnTo>
                  <a:lnTo>
                    <a:pt x="98379" y="252484"/>
                  </a:lnTo>
                  <a:lnTo>
                    <a:pt x="61864" y="241982"/>
                  </a:lnTo>
                  <a:lnTo>
                    <a:pt x="51735" y="226692"/>
                  </a:lnTo>
                  <a:lnTo>
                    <a:pt x="33515" y="215317"/>
                  </a:lnTo>
                  <a:lnTo>
                    <a:pt x="22724" y="219805"/>
                  </a:lnTo>
                  <a:lnTo>
                    <a:pt x="14516" y="206131"/>
                  </a:lnTo>
                  <a:lnTo>
                    <a:pt x="13649" y="195597"/>
                  </a:lnTo>
                  <a:lnTo>
                    <a:pt x="0" y="177625"/>
                  </a:lnTo>
                  <a:lnTo>
                    <a:pt x="9161" y="167290"/>
                  </a:lnTo>
                  <a:lnTo>
                    <a:pt x="7148" y="151696"/>
                  </a:lnTo>
                  <a:lnTo>
                    <a:pt x="10081" y="138077"/>
                  </a:lnTo>
                  <a:lnTo>
                    <a:pt x="8413" y="126700"/>
                  </a:lnTo>
                  <a:lnTo>
                    <a:pt x="12479" y="106266"/>
                  </a:lnTo>
                  <a:lnTo>
                    <a:pt x="11224" y="94584"/>
                  </a:lnTo>
                  <a:lnTo>
                    <a:pt x="3757" y="72293"/>
                  </a:lnTo>
                  <a:lnTo>
                    <a:pt x="15018" y="66422"/>
                  </a:lnTo>
                  <a:lnTo>
                    <a:pt x="17016" y="55695"/>
                  </a:lnTo>
                  <a:lnTo>
                    <a:pt x="14561" y="45150"/>
                  </a:lnTo>
                  <a:lnTo>
                    <a:pt x="30412" y="35316"/>
                  </a:lnTo>
                  <a:lnTo>
                    <a:pt x="37519" y="27119"/>
                  </a:lnTo>
                  <a:lnTo>
                    <a:pt x="48771" y="19760"/>
                  </a:lnTo>
                  <a:lnTo>
                    <a:pt x="50075" y="0"/>
                  </a:lnTo>
                  <a:lnTo>
                    <a:pt x="77187" y="8868"/>
                  </a:lnTo>
                  <a:lnTo>
                    <a:pt x="86880" y="6653"/>
                  </a:lnTo>
                  <a:lnTo>
                    <a:pt x="106164" y="10947"/>
                  </a:lnTo>
                  <a:lnTo>
                    <a:pt x="136793" y="22423"/>
                  </a:lnTo>
                  <a:lnTo>
                    <a:pt x="147603" y="45146"/>
                  </a:lnTo>
                  <a:lnTo>
                    <a:pt x="168324" y="50090"/>
                  </a:lnTo>
                  <a:lnTo>
                    <a:pt x="200859" y="60732"/>
                  </a:lnTo>
                  <a:lnTo>
                    <a:pt x="225449" y="73335"/>
                  </a:lnTo>
                  <a:lnTo>
                    <a:pt x="236705" y="66764"/>
                  </a:lnTo>
                  <a:lnTo>
                    <a:pt x="247768" y="55087"/>
                  </a:lnTo>
                  <a:lnTo>
                    <a:pt x="242390" y="35562"/>
                  </a:lnTo>
                  <a:lnTo>
                    <a:pt x="249629" y="23112"/>
                  </a:lnTo>
                  <a:lnTo>
                    <a:pt x="266262" y="11080"/>
                  </a:lnTo>
                  <a:lnTo>
                    <a:pt x="282153" y="7571"/>
                  </a:lnTo>
                  <a:lnTo>
                    <a:pt x="313379" y="12834"/>
                  </a:lnTo>
                  <a:lnTo>
                    <a:pt x="321251" y="24310"/>
                  </a:lnTo>
                  <a:lnTo>
                    <a:pt x="329845" y="24418"/>
                  </a:lnTo>
                  <a:lnTo>
                    <a:pt x="337194" y="28787"/>
                  </a:lnTo>
                  <a:lnTo>
                    <a:pt x="360130" y="31789"/>
                  </a:lnTo>
                  <a:lnTo>
                    <a:pt x="365755" y="40226"/>
                  </a:lnTo>
                  <a:lnTo>
                    <a:pt x="357400" y="52454"/>
                  </a:lnTo>
                  <a:lnTo>
                    <a:pt x="360972" y="63320"/>
                  </a:lnTo>
                  <a:lnTo>
                    <a:pt x="355027" y="78955"/>
                  </a:lnTo>
                  <a:lnTo>
                    <a:pt x="361950" y="99264"/>
                  </a:lnTo>
                  <a:lnTo>
                    <a:pt x="361950" y="187788"/>
                  </a:lnTo>
                  <a:lnTo>
                    <a:pt x="361950" y="277740"/>
                  </a:lnTo>
                  <a:lnTo>
                    <a:pt x="361950" y="325892"/>
                  </a:lnTo>
                  <a:lnTo>
                    <a:pt x="335405" y="325965"/>
                  </a:lnTo>
                  <a:lnTo>
                    <a:pt x="335120" y="336031"/>
                  </a:lnTo>
                  <a:lnTo>
                    <a:pt x="243058" y="289953"/>
                  </a:lnTo>
                  <a:lnTo>
                    <a:pt x="150994" y="2434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9" name="Freeform 103">
              <a:extLst>
                <a:ext uri="{FF2B5EF4-FFF2-40B4-BE49-F238E27FC236}">
                  <a16:creationId xmlns:a16="http://schemas.microsoft.com/office/drawing/2014/main" id="{0C496671-357C-4773-B89E-3A952F7E057B}"/>
                </a:ext>
              </a:extLst>
            </p:cNvPr>
            <p:cNvSpPr>
              <a:spLocks noChangeAspect="1"/>
            </p:cNvSpPr>
            <p:nvPr>
              <p:custDataLst>
                <p:tags r:id="rId109"/>
              </p:custDataLst>
            </p:nvPr>
          </p:nvSpPr>
          <p:spPr>
            <a:xfrm>
              <a:off x="6200264" y="4300490"/>
              <a:ext cx="48308" cy="89556"/>
            </a:xfrm>
            <a:custGeom>
              <a:avLst/>
              <a:gdLst/>
              <a:ahLst/>
              <a:cxnLst/>
              <a:rect l="0" t="0" r="0" b="0"/>
              <a:pathLst>
                <a:path w="48308" h="89556">
                  <a:moveTo>
                    <a:pt x="48307" y="53508"/>
                  </a:moveTo>
                  <a:lnTo>
                    <a:pt x="44830" y="77659"/>
                  </a:lnTo>
                  <a:lnTo>
                    <a:pt x="35152" y="84255"/>
                  </a:lnTo>
                  <a:lnTo>
                    <a:pt x="15078" y="89555"/>
                  </a:lnTo>
                  <a:lnTo>
                    <a:pt x="4093" y="71129"/>
                  </a:lnTo>
                  <a:lnTo>
                    <a:pt x="0" y="37768"/>
                  </a:lnTo>
                  <a:lnTo>
                    <a:pt x="10448" y="0"/>
                  </a:lnTo>
                  <a:lnTo>
                    <a:pt x="26399" y="12941"/>
                  </a:lnTo>
                  <a:lnTo>
                    <a:pt x="37144" y="29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0" name="Freeform 104">
              <a:extLst>
                <a:ext uri="{FF2B5EF4-FFF2-40B4-BE49-F238E27FC236}">
                  <a16:creationId xmlns:a16="http://schemas.microsoft.com/office/drawing/2014/main" id="{888ACA39-01B2-469F-992C-E50580EFAB03}"/>
                </a:ext>
              </a:extLst>
            </p:cNvPr>
            <p:cNvSpPr>
              <a:spLocks noChangeAspect="1"/>
            </p:cNvSpPr>
            <p:nvPr>
              <p:custDataLst>
                <p:tags r:id="rId110"/>
              </p:custDataLst>
            </p:nvPr>
          </p:nvSpPr>
          <p:spPr>
            <a:xfrm>
              <a:off x="4983902" y="5207605"/>
              <a:ext cx="53689" cy="50367"/>
            </a:xfrm>
            <a:custGeom>
              <a:avLst/>
              <a:gdLst/>
              <a:ahLst/>
              <a:cxnLst/>
              <a:rect l="0" t="0" r="0" b="0"/>
              <a:pathLst>
                <a:path w="53689" h="50367">
                  <a:moveTo>
                    <a:pt x="45680" y="7728"/>
                  </a:moveTo>
                  <a:lnTo>
                    <a:pt x="53688" y="15311"/>
                  </a:lnTo>
                  <a:lnTo>
                    <a:pt x="46607" y="27563"/>
                  </a:lnTo>
                  <a:lnTo>
                    <a:pt x="42683" y="35803"/>
                  </a:lnTo>
                  <a:lnTo>
                    <a:pt x="29818" y="39752"/>
                  </a:lnTo>
                  <a:lnTo>
                    <a:pt x="25574" y="47845"/>
                  </a:lnTo>
                  <a:lnTo>
                    <a:pt x="17315" y="50366"/>
                  </a:lnTo>
                  <a:lnTo>
                    <a:pt x="0" y="30899"/>
                  </a:lnTo>
                  <a:lnTo>
                    <a:pt x="12309" y="14943"/>
                  </a:lnTo>
                  <a:lnTo>
                    <a:pt x="24815" y="5114"/>
                  </a:lnTo>
                  <a:lnTo>
                    <a:pt x="3560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1" name="Freeform 105">
              <a:extLst>
                <a:ext uri="{FF2B5EF4-FFF2-40B4-BE49-F238E27FC236}">
                  <a16:creationId xmlns:a16="http://schemas.microsoft.com/office/drawing/2014/main" id="{B6F5E68F-6217-4A0E-9564-CE60B4B7B969}"/>
                </a:ext>
              </a:extLst>
            </p:cNvPr>
            <p:cNvSpPr>
              <a:spLocks noChangeAspect="1"/>
            </p:cNvSpPr>
            <p:nvPr>
              <p:custDataLst>
                <p:tags r:id="rId111"/>
              </p:custDataLst>
            </p:nvPr>
          </p:nvSpPr>
          <p:spPr>
            <a:xfrm>
              <a:off x="4846711" y="3066903"/>
              <a:ext cx="127705" cy="79318"/>
            </a:xfrm>
            <a:custGeom>
              <a:avLst/>
              <a:gdLst/>
              <a:ahLst/>
              <a:cxnLst/>
              <a:rect l="0" t="0" r="0" b="0"/>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2" name="Freeform 106">
              <a:extLst>
                <a:ext uri="{FF2B5EF4-FFF2-40B4-BE49-F238E27FC236}">
                  <a16:creationId xmlns:a16="http://schemas.microsoft.com/office/drawing/2014/main" id="{630C7BEA-FFFB-46AB-AD1F-783557DAD99B}"/>
                </a:ext>
              </a:extLst>
            </p:cNvPr>
            <p:cNvSpPr>
              <a:spLocks noChangeAspect="1"/>
            </p:cNvSpPr>
            <p:nvPr>
              <p:custDataLst>
                <p:tags r:id="rId112"/>
              </p:custDataLst>
            </p:nvPr>
          </p:nvSpPr>
          <p:spPr>
            <a:xfrm>
              <a:off x="4491659" y="3262886"/>
              <a:ext cx="13128" cy="20602"/>
            </a:xfrm>
            <a:custGeom>
              <a:avLst/>
              <a:gdLst/>
              <a:ahLst/>
              <a:cxnLst/>
              <a:rect l="0" t="0" r="0" b="0"/>
              <a:pathLst>
                <a:path w="13128" h="20602">
                  <a:moveTo>
                    <a:pt x="8518" y="0"/>
                  </a:moveTo>
                  <a:lnTo>
                    <a:pt x="13127" y="6806"/>
                  </a:lnTo>
                  <a:lnTo>
                    <a:pt x="11824" y="19968"/>
                  </a:lnTo>
                  <a:lnTo>
                    <a:pt x="5163" y="20601"/>
                  </a:lnTo>
                  <a:lnTo>
                    <a:pt x="0" y="18001"/>
                  </a:lnTo>
                  <a:lnTo>
                    <a:pt x="2501" y="113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3" name="Freeform 107">
              <a:extLst>
                <a:ext uri="{FF2B5EF4-FFF2-40B4-BE49-F238E27FC236}">
                  <a16:creationId xmlns:a16="http://schemas.microsoft.com/office/drawing/2014/main" id="{08514CB7-9074-4C79-B198-F2524EEBF095}"/>
                </a:ext>
              </a:extLst>
            </p:cNvPr>
            <p:cNvSpPr>
              <a:spLocks noChangeAspect="1"/>
            </p:cNvSpPr>
            <p:nvPr>
              <p:custDataLst>
                <p:tags r:id="rId113"/>
              </p:custDataLst>
            </p:nvPr>
          </p:nvSpPr>
          <p:spPr>
            <a:xfrm>
              <a:off x="4846711" y="3014062"/>
              <a:ext cx="164370" cy="77479"/>
            </a:xfrm>
            <a:custGeom>
              <a:avLst/>
              <a:gdLst/>
              <a:ahLst/>
              <a:cxnLst/>
              <a:rect l="0" t="0" r="0" b="0"/>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4" name="Freeform 108">
              <a:extLst>
                <a:ext uri="{FF2B5EF4-FFF2-40B4-BE49-F238E27FC236}">
                  <a16:creationId xmlns:a16="http://schemas.microsoft.com/office/drawing/2014/main" id="{650349BF-DE5E-4AFD-84D4-7EA38F88FD10}"/>
                </a:ext>
              </a:extLst>
            </p:cNvPr>
            <p:cNvSpPr>
              <a:spLocks noChangeAspect="1"/>
            </p:cNvSpPr>
            <p:nvPr>
              <p:custDataLst>
                <p:tags r:id="rId114"/>
              </p:custDataLst>
            </p:nvPr>
          </p:nvSpPr>
          <p:spPr>
            <a:xfrm>
              <a:off x="3967809" y="3665931"/>
              <a:ext cx="366921" cy="360052"/>
            </a:xfrm>
            <a:custGeom>
              <a:avLst/>
              <a:gdLst/>
              <a:ahLst/>
              <a:cxnLst/>
              <a:rect l="0" t="0" r="0" b="0"/>
              <a:pathLst>
                <a:path w="366921" h="360052">
                  <a:moveTo>
                    <a:pt x="272989" y="127"/>
                  </a:moveTo>
                  <a:lnTo>
                    <a:pt x="286905" y="11269"/>
                  </a:lnTo>
                  <a:lnTo>
                    <a:pt x="308855" y="9456"/>
                  </a:lnTo>
                  <a:lnTo>
                    <a:pt x="332763" y="15240"/>
                  </a:lnTo>
                  <a:lnTo>
                    <a:pt x="342790" y="15520"/>
                  </a:lnTo>
                  <a:lnTo>
                    <a:pt x="351491" y="32245"/>
                  </a:lnTo>
                  <a:lnTo>
                    <a:pt x="352865" y="48055"/>
                  </a:lnTo>
                  <a:lnTo>
                    <a:pt x="360838" y="75336"/>
                  </a:lnTo>
                  <a:lnTo>
                    <a:pt x="366920" y="80802"/>
                  </a:lnTo>
                  <a:lnTo>
                    <a:pt x="362688" y="90780"/>
                  </a:lnTo>
                  <a:lnTo>
                    <a:pt x="332479" y="95100"/>
                  </a:lnTo>
                  <a:lnTo>
                    <a:pt x="322037" y="104560"/>
                  </a:lnTo>
                  <a:lnTo>
                    <a:pt x="308683" y="106787"/>
                  </a:lnTo>
                  <a:lnTo>
                    <a:pt x="307692" y="125645"/>
                  </a:lnTo>
                  <a:lnTo>
                    <a:pt x="280704" y="135689"/>
                  </a:lnTo>
                  <a:lnTo>
                    <a:pt x="271875" y="148361"/>
                  </a:lnTo>
                  <a:lnTo>
                    <a:pt x="252982" y="155146"/>
                  </a:lnTo>
                  <a:lnTo>
                    <a:pt x="229932" y="158991"/>
                  </a:lnTo>
                  <a:lnTo>
                    <a:pt x="192656" y="177546"/>
                  </a:lnTo>
                  <a:lnTo>
                    <a:pt x="192853" y="207171"/>
                  </a:lnTo>
                  <a:lnTo>
                    <a:pt x="189339" y="207171"/>
                  </a:lnTo>
                  <a:lnTo>
                    <a:pt x="189338" y="207171"/>
                  </a:lnTo>
                  <a:lnTo>
                    <a:pt x="189868" y="220500"/>
                  </a:lnTo>
                  <a:lnTo>
                    <a:pt x="175599" y="221301"/>
                  </a:lnTo>
                  <a:lnTo>
                    <a:pt x="168160" y="226948"/>
                  </a:lnTo>
                  <a:lnTo>
                    <a:pt x="157678" y="226948"/>
                  </a:lnTo>
                  <a:lnTo>
                    <a:pt x="149326" y="223726"/>
                  </a:lnTo>
                  <a:lnTo>
                    <a:pt x="129907" y="226391"/>
                  </a:lnTo>
                  <a:lnTo>
                    <a:pt x="122389" y="245685"/>
                  </a:lnTo>
                  <a:lnTo>
                    <a:pt x="115176" y="247494"/>
                  </a:lnTo>
                  <a:lnTo>
                    <a:pt x="104322" y="278527"/>
                  </a:lnTo>
                  <a:lnTo>
                    <a:pt x="72234" y="304933"/>
                  </a:lnTo>
                  <a:lnTo>
                    <a:pt x="64615" y="338525"/>
                  </a:lnTo>
                  <a:lnTo>
                    <a:pt x="55159" y="349407"/>
                  </a:lnTo>
                  <a:lnTo>
                    <a:pt x="52386" y="358121"/>
                  </a:lnTo>
                  <a:lnTo>
                    <a:pt x="403" y="360051"/>
                  </a:lnTo>
                  <a:lnTo>
                    <a:pt x="0" y="360012"/>
                  </a:lnTo>
                  <a:lnTo>
                    <a:pt x="1089" y="348807"/>
                  </a:lnTo>
                  <a:lnTo>
                    <a:pt x="9956" y="342208"/>
                  </a:lnTo>
                  <a:lnTo>
                    <a:pt x="17509" y="329565"/>
                  </a:lnTo>
                  <a:lnTo>
                    <a:pt x="16020" y="321338"/>
                  </a:lnTo>
                  <a:lnTo>
                    <a:pt x="23956" y="304143"/>
                  </a:lnTo>
                  <a:lnTo>
                    <a:pt x="36804" y="288600"/>
                  </a:lnTo>
                  <a:lnTo>
                    <a:pt x="44575" y="284654"/>
                  </a:lnTo>
                  <a:lnTo>
                    <a:pt x="50685" y="270340"/>
                  </a:lnTo>
                  <a:lnTo>
                    <a:pt x="51233" y="257229"/>
                  </a:lnTo>
                  <a:lnTo>
                    <a:pt x="59565" y="241970"/>
                  </a:lnTo>
                  <a:lnTo>
                    <a:pt x="74941" y="232949"/>
                  </a:lnTo>
                  <a:lnTo>
                    <a:pt x="89572" y="207577"/>
                  </a:lnTo>
                  <a:lnTo>
                    <a:pt x="89996" y="207228"/>
                  </a:lnTo>
                  <a:lnTo>
                    <a:pt x="101601" y="197648"/>
                  </a:lnTo>
                  <a:lnTo>
                    <a:pt x="123066" y="194889"/>
                  </a:lnTo>
                  <a:lnTo>
                    <a:pt x="141254" y="177776"/>
                  </a:lnTo>
                  <a:lnTo>
                    <a:pt x="152827" y="171086"/>
                  </a:lnTo>
                  <a:lnTo>
                    <a:pt x="172096" y="150051"/>
                  </a:lnTo>
                  <a:lnTo>
                    <a:pt x="166327" y="118504"/>
                  </a:lnTo>
                  <a:lnTo>
                    <a:pt x="175097" y="96540"/>
                  </a:lnTo>
                  <a:lnTo>
                    <a:pt x="178193" y="83034"/>
                  </a:lnTo>
                  <a:lnTo>
                    <a:pt x="193040" y="65637"/>
                  </a:lnTo>
                  <a:lnTo>
                    <a:pt x="216198" y="53826"/>
                  </a:lnTo>
                  <a:lnTo>
                    <a:pt x="233318" y="43104"/>
                  </a:lnTo>
                  <a:lnTo>
                    <a:pt x="248741" y="16110"/>
                  </a:lnTo>
                  <a:lnTo>
                    <a:pt x="255998"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5" name="Freeform 109">
              <a:extLst>
                <a:ext uri="{FF2B5EF4-FFF2-40B4-BE49-F238E27FC236}">
                  <a16:creationId xmlns:a16="http://schemas.microsoft.com/office/drawing/2014/main" id="{C2B0A877-4B4A-48FF-B1FE-C7BD8823EEFE}"/>
                </a:ext>
              </a:extLst>
            </p:cNvPr>
            <p:cNvSpPr>
              <a:spLocks noChangeAspect="1"/>
            </p:cNvSpPr>
            <p:nvPr>
              <p:custDataLst>
                <p:tags r:id="rId115"/>
              </p:custDataLst>
            </p:nvPr>
          </p:nvSpPr>
          <p:spPr>
            <a:xfrm>
              <a:off x="4975132" y="3312530"/>
              <a:ext cx="78605" cy="86780"/>
            </a:xfrm>
            <a:custGeom>
              <a:avLst/>
              <a:gdLst/>
              <a:ahLst/>
              <a:cxnLst/>
              <a:rect l="0" t="0" r="0" b="0"/>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6" name="Freeform 110">
              <a:extLst>
                <a:ext uri="{FF2B5EF4-FFF2-40B4-BE49-F238E27FC236}">
                  <a16:creationId xmlns:a16="http://schemas.microsoft.com/office/drawing/2014/main" id="{EC3E0E34-7C35-4D30-885F-F8F14E23F076}"/>
                </a:ext>
              </a:extLst>
            </p:cNvPr>
            <p:cNvSpPr>
              <a:spLocks noChangeAspect="1"/>
            </p:cNvSpPr>
            <p:nvPr>
              <p:custDataLst>
                <p:tags r:id="rId116"/>
              </p:custDataLst>
            </p:nvPr>
          </p:nvSpPr>
          <p:spPr>
            <a:xfrm>
              <a:off x="5359109" y="4807217"/>
              <a:ext cx="166712" cy="324707"/>
            </a:xfrm>
            <a:custGeom>
              <a:avLst/>
              <a:gdLst/>
              <a:ahLst/>
              <a:cxnLst/>
              <a:rect l="0" t="0" r="0" b="0"/>
              <a:pathLst>
                <a:path w="166712" h="324707">
                  <a:moveTo>
                    <a:pt x="145174" y="10056"/>
                  </a:moveTo>
                  <a:lnTo>
                    <a:pt x="151302" y="20033"/>
                  </a:lnTo>
                  <a:lnTo>
                    <a:pt x="157016" y="35542"/>
                  </a:lnTo>
                  <a:lnTo>
                    <a:pt x="160730" y="63863"/>
                  </a:lnTo>
                  <a:lnTo>
                    <a:pt x="166711" y="74900"/>
                  </a:lnTo>
                  <a:lnTo>
                    <a:pt x="164416" y="86233"/>
                  </a:lnTo>
                  <a:lnTo>
                    <a:pt x="160334" y="93194"/>
                  </a:lnTo>
                  <a:lnTo>
                    <a:pt x="152494" y="79335"/>
                  </a:lnTo>
                  <a:lnTo>
                    <a:pt x="148154" y="86331"/>
                  </a:lnTo>
                  <a:lnTo>
                    <a:pt x="152557" y="103872"/>
                  </a:lnTo>
                  <a:lnTo>
                    <a:pt x="150507" y="113930"/>
                  </a:lnTo>
                  <a:lnTo>
                    <a:pt x="144138" y="119415"/>
                  </a:lnTo>
                  <a:lnTo>
                    <a:pt x="142684" y="139568"/>
                  </a:lnTo>
                  <a:lnTo>
                    <a:pt x="133593" y="167403"/>
                  </a:lnTo>
                  <a:lnTo>
                    <a:pt x="122208" y="200471"/>
                  </a:lnTo>
                  <a:lnTo>
                    <a:pt x="107947" y="246241"/>
                  </a:lnTo>
                  <a:lnTo>
                    <a:pt x="99106" y="280080"/>
                  </a:lnTo>
                  <a:lnTo>
                    <a:pt x="88674" y="308476"/>
                  </a:lnTo>
                  <a:lnTo>
                    <a:pt x="69901" y="314295"/>
                  </a:lnTo>
                  <a:lnTo>
                    <a:pt x="49750" y="324706"/>
                  </a:lnTo>
                  <a:lnTo>
                    <a:pt x="36456" y="318419"/>
                  </a:lnTo>
                  <a:lnTo>
                    <a:pt x="18132" y="309623"/>
                  </a:lnTo>
                  <a:lnTo>
                    <a:pt x="11762" y="296680"/>
                  </a:lnTo>
                  <a:lnTo>
                    <a:pt x="10239" y="275008"/>
                  </a:lnTo>
                  <a:lnTo>
                    <a:pt x="2111" y="255599"/>
                  </a:lnTo>
                  <a:lnTo>
                    <a:pt x="0" y="238143"/>
                  </a:lnTo>
                  <a:lnTo>
                    <a:pt x="4134" y="220707"/>
                  </a:lnTo>
                  <a:lnTo>
                    <a:pt x="14761" y="216528"/>
                  </a:lnTo>
                  <a:lnTo>
                    <a:pt x="14823" y="208502"/>
                  </a:lnTo>
                  <a:lnTo>
                    <a:pt x="25856" y="190265"/>
                  </a:lnTo>
                  <a:lnTo>
                    <a:pt x="27935" y="174986"/>
                  </a:lnTo>
                  <a:lnTo>
                    <a:pt x="22580" y="163652"/>
                  </a:lnTo>
                  <a:lnTo>
                    <a:pt x="18207" y="148588"/>
                  </a:lnTo>
                  <a:lnTo>
                    <a:pt x="16363" y="126639"/>
                  </a:lnTo>
                  <a:lnTo>
                    <a:pt x="24428" y="113347"/>
                  </a:lnTo>
                  <a:lnTo>
                    <a:pt x="27522" y="98307"/>
                  </a:lnTo>
                  <a:lnTo>
                    <a:pt x="39027" y="97434"/>
                  </a:lnTo>
                  <a:lnTo>
                    <a:pt x="51902" y="92581"/>
                  </a:lnTo>
                  <a:lnTo>
                    <a:pt x="60449" y="88300"/>
                  </a:lnTo>
                  <a:lnTo>
                    <a:pt x="70588" y="87982"/>
                  </a:lnTo>
                  <a:lnTo>
                    <a:pt x="83744" y="74514"/>
                  </a:lnTo>
                  <a:lnTo>
                    <a:pt x="102739" y="59985"/>
                  </a:lnTo>
                  <a:lnTo>
                    <a:pt x="109666" y="48136"/>
                  </a:lnTo>
                  <a:lnTo>
                    <a:pt x="106523" y="38083"/>
                  </a:lnTo>
                  <a:lnTo>
                    <a:pt x="116328" y="40910"/>
                  </a:lnTo>
                  <a:lnTo>
                    <a:pt x="129052" y="24583"/>
                  </a:lnTo>
                  <a:lnTo>
                    <a:pt x="129478" y="10479"/>
                  </a:lnTo>
                  <a:lnTo>
                    <a:pt x="13712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7" name="Freeform 111">
              <a:extLst>
                <a:ext uri="{FF2B5EF4-FFF2-40B4-BE49-F238E27FC236}">
                  <a16:creationId xmlns:a16="http://schemas.microsoft.com/office/drawing/2014/main" id="{51CBD978-9F41-473A-BA37-B50BEAE6A86C}"/>
                </a:ext>
              </a:extLst>
            </p:cNvPr>
            <p:cNvSpPr>
              <a:spLocks noChangeAspect="1"/>
            </p:cNvSpPr>
            <p:nvPr>
              <p:custDataLst>
                <p:tags r:id="rId117"/>
              </p:custDataLst>
            </p:nvPr>
          </p:nvSpPr>
          <p:spPr>
            <a:xfrm>
              <a:off x="4833031" y="3488729"/>
              <a:ext cx="57459" cy="40792"/>
            </a:xfrm>
            <a:custGeom>
              <a:avLst/>
              <a:gdLst/>
              <a:ahLst/>
              <a:cxnLst/>
              <a:rect l="0" t="0" r="0" b="0"/>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8" name="Freeform 112">
              <a:extLst>
                <a:ext uri="{FF2B5EF4-FFF2-40B4-BE49-F238E27FC236}">
                  <a16:creationId xmlns:a16="http://schemas.microsoft.com/office/drawing/2014/main" id="{41B25A27-3A64-4442-B3D4-2CCB1CB40BA0}"/>
                </a:ext>
              </a:extLst>
            </p:cNvPr>
            <p:cNvSpPr>
              <a:spLocks noChangeAspect="1"/>
            </p:cNvSpPr>
            <p:nvPr>
              <p:custDataLst>
                <p:tags r:id="rId118"/>
              </p:custDataLst>
            </p:nvPr>
          </p:nvSpPr>
          <p:spPr>
            <a:xfrm>
              <a:off x="4079753" y="3939439"/>
              <a:ext cx="379502" cy="354706"/>
            </a:xfrm>
            <a:custGeom>
              <a:avLst/>
              <a:gdLst/>
              <a:ahLst/>
              <a:cxnLst/>
              <a:rect l="0" t="0" r="0" b="0"/>
              <a:pathLst>
                <a:path w="379502" h="354706">
                  <a:moveTo>
                    <a:pt x="0" y="248769"/>
                  </a:moveTo>
                  <a:lnTo>
                    <a:pt x="7768" y="244472"/>
                  </a:lnTo>
                  <a:lnTo>
                    <a:pt x="11649" y="230566"/>
                  </a:lnTo>
                  <a:lnTo>
                    <a:pt x="18966" y="230021"/>
                  </a:lnTo>
                  <a:lnTo>
                    <a:pt x="35085" y="236599"/>
                  </a:lnTo>
                  <a:lnTo>
                    <a:pt x="48102" y="231929"/>
                  </a:lnTo>
                  <a:lnTo>
                    <a:pt x="57026" y="233497"/>
                  </a:lnTo>
                  <a:lnTo>
                    <a:pt x="60488" y="228243"/>
                  </a:lnTo>
                  <a:lnTo>
                    <a:pt x="153108" y="227884"/>
                  </a:lnTo>
                  <a:lnTo>
                    <a:pt x="158243" y="211318"/>
                  </a:lnTo>
                  <a:lnTo>
                    <a:pt x="154244" y="208399"/>
                  </a:lnTo>
                  <a:lnTo>
                    <a:pt x="143104" y="105350"/>
                  </a:lnTo>
                  <a:lnTo>
                    <a:pt x="131963" y="442"/>
                  </a:lnTo>
                  <a:lnTo>
                    <a:pt x="167290" y="0"/>
                  </a:lnTo>
                  <a:lnTo>
                    <a:pt x="245154" y="53303"/>
                  </a:lnTo>
                  <a:lnTo>
                    <a:pt x="323019" y="106073"/>
                  </a:lnTo>
                  <a:lnTo>
                    <a:pt x="328507" y="117342"/>
                  </a:lnTo>
                  <a:lnTo>
                    <a:pt x="342878" y="124209"/>
                  </a:lnTo>
                  <a:lnTo>
                    <a:pt x="353567" y="128112"/>
                  </a:lnTo>
                  <a:lnTo>
                    <a:pt x="353832" y="143352"/>
                  </a:lnTo>
                  <a:lnTo>
                    <a:pt x="379437" y="141009"/>
                  </a:lnTo>
                  <a:lnTo>
                    <a:pt x="379501" y="195897"/>
                  </a:lnTo>
                  <a:lnTo>
                    <a:pt x="366880" y="211734"/>
                  </a:lnTo>
                  <a:lnTo>
                    <a:pt x="364914" y="226314"/>
                  </a:lnTo>
                  <a:lnTo>
                    <a:pt x="344411" y="230062"/>
                  </a:lnTo>
                  <a:lnTo>
                    <a:pt x="312915" y="232093"/>
                  </a:lnTo>
                  <a:lnTo>
                    <a:pt x="304381" y="240483"/>
                  </a:lnTo>
                  <a:lnTo>
                    <a:pt x="289587" y="241410"/>
                  </a:lnTo>
                  <a:lnTo>
                    <a:pt x="274787" y="241518"/>
                  </a:lnTo>
                  <a:lnTo>
                    <a:pt x="269026" y="236991"/>
                  </a:lnTo>
                  <a:lnTo>
                    <a:pt x="256319" y="240350"/>
                  </a:lnTo>
                  <a:lnTo>
                    <a:pt x="234744" y="250132"/>
                  </a:lnTo>
                  <a:lnTo>
                    <a:pt x="230340" y="257496"/>
                  </a:lnTo>
                  <a:lnTo>
                    <a:pt x="212431" y="268044"/>
                  </a:lnTo>
                  <a:lnTo>
                    <a:pt x="209292" y="274084"/>
                  </a:lnTo>
                  <a:lnTo>
                    <a:pt x="199618" y="278867"/>
                  </a:lnTo>
                  <a:lnTo>
                    <a:pt x="188455" y="275700"/>
                  </a:lnTo>
                  <a:lnTo>
                    <a:pt x="182130" y="281432"/>
                  </a:lnTo>
                  <a:lnTo>
                    <a:pt x="178742" y="297523"/>
                  </a:lnTo>
                  <a:lnTo>
                    <a:pt x="160420" y="316931"/>
                  </a:lnTo>
                  <a:lnTo>
                    <a:pt x="160953" y="324852"/>
                  </a:lnTo>
                  <a:lnTo>
                    <a:pt x="154658" y="334756"/>
                  </a:lnTo>
                  <a:lnTo>
                    <a:pt x="156187" y="348306"/>
                  </a:lnTo>
                  <a:lnTo>
                    <a:pt x="146663" y="351762"/>
                  </a:lnTo>
                  <a:lnTo>
                    <a:pt x="141273" y="354705"/>
                  </a:lnTo>
                  <a:lnTo>
                    <a:pt x="137700" y="344729"/>
                  </a:lnTo>
                  <a:lnTo>
                    <a:pt x="131035" y="347360"/>
                  </a:lnTo>
                  <a:lnTo>
                    <a:pt x="127054" y="346905"/>
                  </a:lnTo>
                  <a:lnTo>
                    <a:pt x="122806" y="353711"/>
                  </a:lnTo>
                  <a:lnTo>
                    <a:pt x="104980" y="353519"/>
                  </a:lnTo>
                  <a:lnTo>
                    <a:pt x="98590" y="350017"/>
                  </a:lnTo>
                  <a:lnTo>
                    <a:pt x="95581" y="352136"/>
                  </a:lnTo>
                  <a:lnTo>
                    <a:pt x="88531" y="345411"/>
                  </a:lnTo>
                  <a:lnTo>
                    <a:pt x="89755" y="338461"/>
                  </a:lnTo>
                  <a:lnTo>
                    <a:pt x="86870" y="335737"/>
                  </a:lnTo>
                  <a:lnTo>
                    <a:pt x="81953" y="338034"/>
                  </a:lnTo>
                  <a:lnTo>
                    <a:pt x="82854" y="330435"/>
                  </a:lnTo>
                  <a:lnTo>
                    <a:pt x="87586" y="324419"/>
                  </a:lnTo>
                  <a:lnTo>
                    <a:pt x="78127" y="314621"/>
                  </a:lnTo>
                  <a:lnTo>
                    <a:pt x="75376" y="308166"/>
                  </a:lnTo>
                  <a:lnTo>
                    <a:pt x="70247" y="303020"/>
                  </a:lnTo>
                  <a:lnTo>
                    <a:pt x="65627" y="302405"/>
                  </a:lnTo>
                  <a:lnTo>
                    <a:pt x="60080" y="305686"/>
                  </a:lnTo>
                  <a:lnTo>
                    <a:pt x="52623" y="308818"/>
                  </a:lnTo>
                  <a:lnTo>
                    <a:pt x="46293" y="313884"/>
                  </a:lnTo>
                  <a:lnTo>
                    <a:pt x="36414" y="312014"/>
                  </a:lnTo>
                  <a:lnTo>
                    <a:pt x="30005" y="306069"/>
                  </a:lnTo>
                  <a:lnTo>
                    <a:pt x="26180" y="305288"/>
                  </a:lnTo>
                  <a:lnTo>
                    <a:pt x="20155" y="308409"/>
                  </a:lnTo>
                  <a:lnTo>
                    <a:pt x="16495" y="308435"/>
                  </a:lnTo>
                  <a:lnTo>
                    <a:pt x="15161" y="299858"/>
                  </a:lnTo>
                  <a:lnTo>
                    <a:pt x="16224" y="292555"/>
                  </a:lnTo>
                  <a:lnTo>
                    <a:pt x="14250" y="283481"/>
                  </a:lnTo>
                  <a:lnTo>
                    <a:pt x="5610" y="276885"/>
                  </a:lnTo>
                  <a:lnTo>
                    <a:pt x="1059" y="2634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9" name="Freeform 113">
              <a:extLst>
                <a:ext uri="{FF2B5EF4-FFF2-40B4-BE49-F238E27FC236}">
                  <a16:creationId xmlns:a16="http://schemas.microsoft.com/office/drawing/2014/main" id="{225D0FB9-8559-4847-9F66-BA669EBD7D91}"/>
                </a:ext>
              </a:extLst>
            </p:cNvPr>
            <p:cNvSpPr>
              <a:spLocks noChangeAspect="1"/>
            </p:cNvSpPr>
            <p:nvPr>
              <p:custDataLst>
                <p:tags r:id="rId119"/>
              </p:custDataLst>
            </p:nvPr>
          </p:nvSpPr>
          <p:spPr>
            <a:xfrm>
              <a:off x="6491292" y="3856137"/>
              <a:ext cx="204901" cy="441817"/>
            </a:xfrm>
            <a:custGeom>
              <a:avLst/>
              <a:gdLst/>
              <a:ahLst/>
              <a:cxnLst/>
              <a:rect l="0" t="0" r="0" b="0"/>
              <a:pathLst>
                <a:path w="204901" h="441817">
                  <a:moveTo>
                    <a:pt x="167120" y="199578"/>
                  </a:moveTo>
                  <a:lnTo>
                    <a:pt x="153649" y="209989"/>
                  </a:lnTo>
                  <a:lnTo>
                    <a:pt x="137353" y="211063"/>
                  </a:lnTo>
                  <a:lnTo>
                    <a:pt x="126829" y="236940"/>
                  </a:lnTo>
                  <a:lnTo>
                    <a:pt x="117091" y="241277"/>
                  </a:lnTo>
                  <a:lnTo>
                    <a:pt x="128245" y="262190"/>
                  </a:lnTo>
                  <a:lnTo>
                    <a:pt x="142894" y="279541"/>
                  </a:lnTo>
                  <a:lnTo>
                    <a:pt x="152348" y="295189"/>
                  </a:lnTo>
                  <a:lnTo>
                    <a:pt x="143901" y="315751"/>
                  </a:lnTo>
                  <a:lnTo>
                    <a:pt x="135931" y="320114"/>
                  </a:lnTo>
                  <a:lnTo>
                    <a:pt x="141441" y="331948"/>
                  </a:lnTo>
                  <a:lnTo>
                    <a:pt x="156836" y="350656"/>
                  </a:lnTo>
                  <a:lnTo>
                    <a:pt x="159473" y="363775"/>
                  </a:lnTo>
                  <a:lnTo>
                    <a:pt x="159111" y="374678"/>
                  </a:lnTo>
                  <a:lnTo>
                    <a:pt x="168136" y="396046"/>
                  </a:lnTo>
                  <a:lnTo>
                    <a:pt x="155460" y="417842"/>
                  </a:lnTo>
                  <a:lnTo>
                    <a:pt x="144274" y="441816"/>
                  </a:lnTo>
                  <a:lnTo>
                    <a:pt x="142050" y="424502"/>
                  </a:lnTo>
                  <a:lnTo>
                    <a:pt x="149145" y="406607"/>
                  </a:lnTo>
                  <a:lnTo>
                    <a:pt x="141384" y="392764"/>
                  </a:lnTo>
                  <a:lnTo>
                    <a:pt x="143259" y="367225"/>
                  </a:lnTo>
                  <a:lnTo>
                    <a:pt x="133888" y="355054"/>
                  </a:lnTo>
                  <a:lnTo>
                    <a:pt x="126366" y="326873"/>
                  </a:lnTo>
                  <a:lnTo>
                    <a:pt x="122196" y="297019"/>
                  </a:lnTo>
                  <a:lnTo>
                    <a:pt x="112212" y="277383"/>
                  </a:lnTo>
                  <a:lnTo>
                    <a:pt x="97006" y="289280"/>
                  </a:lnTo>
                  <a:lnTo>
                    <a:pt x="70774" y="306157"/>
                  </a:lnTo>
                  <a:lnTo>
                    <a:pt x="57826" y="304051"/>
                  </a:lnTo>
                  <a:lnTo>
                    <a:pt x="43524" y="298502"/>
                  </a:lnTo>
                  <a:lnTo>
                    <a:pt x="51480" y="269103"/>
                  </a:lnTo>
                  <a:lnTo>
                    <a:pt x="46664" y="246811"/>
                  </a:lnTo>
                  <a:lnTo>
                    <a:pt x="28571" y="219253"/>
                  </a:lnTo>
                  <a:lnTo>
                    <a:pt x="31393" y="210613"/>
                  </a:lnTo>
                  <a:lnTo>
                    <a:pt x="17891" y="207538"/>
                  </a:lnTo>
                  <a:lnTo>
                    <a:pt x="1508" y="187929"/>
                  </a:lnTo>
                  <a:lnTo>
                    <a:pt x="0" y="168522"/>
                  </a:lnTo>
                  <a:lnTo>
                    <a:pt x="8057" y="172180"/>
                  </a:lnTo>
                  <a:lnTo>
                    <a:pt x="8529" y="154836"/>
                  </a:lnTo>
                  <a:lnTo>
                    <a:pt x="19918" y="149088"/>
                  </a:lnTo>
                  <a:lnTo>
                    <a:pt x="17475" y="138781"/>
                  </a:lnTo>
                  <a:lnTo>
                    <a:pt x="22693" y="130502"/>
                  </a:lnTo>
                  <a:lnTo>
                    <a:pt x="23589" y="105260"/>
                  </a:lnTo>
                  <a:lnTo>
                    <a:pt x="41630" y="110827"/>
                  </a:lnTo>
                  <a:lnTo>
                    <a:pt x="51923" y="90648"/>
                  </a:lnTo>
                  <a:lnTo>
                    <a:pt x="53091" y="78684"/>
                  </a:lnTo>
                  <a:lnTo>
                    <a:pt x="65830" y="58018"/>
                  </a:lnTo>
                  <a:lnTo>
                    <a:pt x="65129" y="43866"/>
                  </a:lnTo>
                  <a:lnTo>
                    <a:pt x="95011" y="26718"/>
                  </a:lnTo>
                  <a:lnTo>
                    <a:pt x="111507" y="31211"/>
                  </a:lnTo>
                  <a:lnTo>
                    <a:pt x="109614" y="15903"/>
                  </a:lnTo>
                  <a:lnTo>
                    <a:pt x="117706" y="11328"/>
                  </a:lnTo>
                  <a:lnTo>
                    <a:pt x="115964" y="1860"/>
                  </a:lnTo>
                  <a:lnTo>
                    <a:pt x="129465" y="0"/>
                  </a:lnTo>
                  <a:lnTo>
                    <a:pt x="137180" y="14702"/>
                  </a:lnTo>
                  <a:lnTo>
                    <a:pt x="147256" y="20642"/>
                  </a:lnTo>
                  <a:lnTo>
                    <a:pt x="147934" y="39654"/>
                  </a:lnTo>
                  <a:lnTo>
                    <a:pt x="147004" y="60057"/>
                  </a:lnTo>
                  <a:lnTo>
                    <a:pt x="125140" y="80623"/>
                  </a:lnTo>
                  <a:lnTo>
                    <a:pt x="122373" y="109687"/>
                  </a:lnTo>
                  <a:lnTo>
                    <a:pt x="146738" y="105633"/>
                  </a:lnTo>
                  <a:lnTo>
                    <a:pt x="152242" y="128091"/>
                  </a:lnTo>
                  <a:lnTo>
                    <a:pt x="166859" y="132804"/>
                  </a:lnTo>
                  <a:lnTo>
                    <a:pt x="160140" y="152969"/>
                  </a:lnTo>
                  <a:lnTo>
                    <a:pt x="177281" y="162056"/>
                  </a:lnTo>
                  <a:lnTo>
                    <a:pt x="187277" y="166508"/>
                  </a:lnTo>
                  <a:lnTo>
                    <a:pt x="204208" y="159466"/>
                  </a:lnTo>
                  <a:lnTo>
                    <a:pt x="204900" y="169462"/>
                  </a:lnTo>
                  <a:lnTo>
                    <a:pt x="185259" y="185153"/>
                  </a:lnTo>
                  <a:lnTo>
                    <a:pt x="180340" y="1940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0" name="Freeform 114">
              <a:extLst>
                <a:ext uri="{FF2B5EF4-FFF2-40B4-BE49-F238E27FC236}">
                  <a16:creationId xmlns:a16="http://schemas.microsoft.com/office/drawing/2014/main" id="{396DD0CA-83FD-4525-ADB7-0AC67C6D3D0B}"/>
                </a:ext>
              </a:extLst>
            </p:cNvPr>
            <p:cNvSpPr>
              <a:spLocks noChangeAspect="1"/>
            </p:cNvSpPr>
            <p:nvPr>
              <p:custDataLst>
                <p:tags r:id="rId120"/>
              </p:custDataLst>
            </p:nvPr>
          </p:nvSpPr>
          <p:spPr>
            <a:xfrm>
              <a:off x="4786562" y="3455083"/>
              <a:ext cx="43622" cy="45928"/>
            </a:xfrm>
            <a:custGeom>
              <a:avLst/>
              <a:gdLst/>
              <a:ahLst/>
              <a:cxnLst/>
              <a:rect l="0" t="0" r="0" b="0"/>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1" name="Freeform 115">
              <a:extLst>
                <a:ext uri="{FF2B5EF4-FFF2-40B4-BE49-F238E27FC236}">
                  <a16:creationId xmlns:a16="http://schemas.microsoft.com/office/drawing/2014/main" id="{B5306818-83C2-4522-A4A7-4C026FB340FB}"/>
                </a:ext>
              </a:extLst>
            </p:cNvPr>
            <p:cNvSpPr>
              <a:spLocks noChangeAspect="1"/>
            </p:cNvSpPr>
            <p:nvPr>
              <p:custDataLst>
                <p:tags r:id="rId121"/>
              </p:custDataLst>
            </p:nvPr>
          </p:nvSpPr>
          <p:spPr>
            <a:xfrm>
              <a:off x="6386221" y="3204295"/>
              <a:ext cx="739144" cy="304460"/>
            </a:xfrm>
            <a:custGeom>
              <a:avLst/>
              <a:gdLst/>
              <a:ahLst/>
              <a:cxnLst/>
              <a:rect l="0" t="0" r="0" b="0"/>
              <a:pathLst>
                <a:path w="739144" h="304460">
                  <a:moveTo>
                    <a:pt x="0" y="83543"/>
                  </a:moveTo>
                  <a:lnTo>
                    <a:pt x="24336" y="78358"/>
                  </a:lnTo>
                  <a:lnTo>
                    <a:pt x="68380" y="52435"/>
                  </a:lnTo>
                  <a:lnTo>
                    <a:pt x="103489" y="38166"/>
                  </a:lnTo>
                  <a:lnTo>
                    <a:pt x="123560" y="47485"/>
                  </a:lnTo>
                  <a:lnTo>
                    <a:pt x="147643" y="47932"/>
                  </a:lnTo>
                  <a:lnTo>
                    <a:pt x="163071" y="62048"/>
                  </a:lnTo>
                  <a:lnTo>
                    <a:pt x="186110" y="63132"/>
                  </a:lnTo>
                  <a:lnTo>
                    <a:pt x="219480" y="70694"/>
                  </a:lnTo>
                  <a:lnTo>
                    <a:pt x="241917" y="49693"/>
                  </a:lnTo>
                  <a:lnTo>
                    <a:pt x="232546" y="31806"/>
                  </a:lnTo>
                  <a:lnTo>
                    <a:pt x="256453" y="0"/>
                  </a:lnTo>
                  <a:lnTo>
                    <a:pt x="282311" y="12734"/>
                  </a:lnTo>
                  <a:lnTo>
                    <a:pt x="303264" y="16332"/>
                  </a:lnTo>
                  <a:lnTo>
                    <a:pt x="330404" y="24203"/>
                  </a:lnTo>
                  <a:lnTo>
                    <a:pt x="334805" y="47022"/>
                  </a:lnTo>
                  <a:lnTo>
                    <a:pt x="367598" y="59740"/>
                  </a:lnTo>
                  <a:lnTo>
                    <a:pt x="389411" y="54143"/>
                  </a:lnTo>
                  <a:lnTo>
                    <a:pt x="418612" y="50189"/>
                  </a:lnTo>
                  <a:lnTo>
                    <a:pt x="441745" y="54174"/>
                  </a:lnTo>
                  <a:lnTo>
                    <a:pt x="464352" y="68661"/>
                  </a:lnTo>
                  <a:lnTo>
                    <a:pt x="478362" y="83981"/>
                  </a:lnTo>
                  <a:lnTo>
                    <a:pt x="499767" y="83670"/>
                  </a:lnTo>
                  <a:lnTo>
                    <a:pt x="528841" y="88532"/>
                  </a:lnTo>
                  <a:lnTo>
                    <a:pt x="550059" y="81128"/>
                  </a:lnTo>
                  <a:lnTo>
                    <a:pt x="580448" y="76169"/>
                  </a:lnTo>
                  <a:lnTo>
                    <a:pt x="614257" y="54960"/>
                  </a:lnTo>
                  <a:lnTo>
                    <a:pt x="628099" y="58223"/>
                  </a:lnTo>
                  <a:lnTo>
                    <a:pt x="640184" y="68316"/>
                  </a:lnTo>
                  <a:lnTo>
                    <a:pt x="667724" y="65809"/>
                  </a:lnTo>
                  <a:lnTo>
                    <a:pt x="656483" y="88398"/>
                  </a:lnTo>
                  <a:lnTo>
                    <a:pt x="640175" y="118039"/>
                  </a:lnTo>
                  <a:lnTo>
                    <a:pt x="646120" y="130072"/>
                  </a:lnTo>
                  <a:lnTo>
                    <a:pt x="659188" y="126344"/>
                  </a:lnTo>
                  <a:lnTo>
                    <a:pt x="681960" y="130918"/>
                  </a:lnTo>
                  <a:lnTo>
                    <a:pt x="699702" y="120063"/>
                  </a:lnTo>
                  <a:lnTo>
                    <a:pt x="718224" y="129469"/>
                  </a:lnTo>
                  <a:lnTo>
                    <a:pt x="739143" y="149922"/>
                  </a:lnTo>
                  <a:lnTo>
                    <a:pt x="736614" y="160261"/>
                  </a:lnTo>
                  <a:lnTo>
                    <a:pt x="718403" y="156985"/>
                  </a:lnTo>
                  <a:lnTo>
                    <a:pt x="684872" y="160840"/>
                  </a:lnTo>
                  <a:lnTo>
                    <a:pt x="668626" y="169088"/>
                  </a:lnTo>
                  <a:lnTo>
                    <a:pt x="651712" y="188154"/>
                  </a:lnTo>
                  <a:lnTo>
                    <a:pt x="616517" y="199268"/>
                  </a:lnTo>
                  <a:lnTo>
                    <a:pt x="593516" y="214428"/>
                  </a:lnTo>
                  <a:lnTo>
                    <a:pt x="569791" y="208648"/>
                  </a:lnTo>
                  <a:lnTo>
                    <a:pt x="556801" y="206066"/>
                  </a:lnTo>
                  <a:lnTo>
                    <a:pt x="544684" y="224418"/>
                  </a:lnTo>
                  <a:lnTo>
                    <a:pt x="552055" y="235301"/>
                  </a:lnTo>
                  <a:lnTo>
                    <a:pt x="555792" y="244617"/>
                  </a:lnTo>
                  <a:lnTo>
                    <a:pt x="539636" y="254076"/>
                  </a:lnTo>
                  <a:lnTo>
                    <a:pt x="523072" y="269080"/>
                  </a:lnTo>
                  <a:lnTo>
                    <a:pt x="496100" y="278893"/>
                  </a:lnTo>
                  <a:lnTo>
                    <a:pt x="461503" y="279949"/>
                  </a:lnTo>
                  <a:lnTo>
                    <a:pt x="424214" y="289598"/>
                  </a:lnTo>
                  <a:lnTo>
                    <a:pt x="397339" y="304459"/>
                  </a:lnTo>
                  <a:lnTo>
                    <a:pt x="387120" y="295862"/>
                  </a:lnTo>
                  <a:lnTo>
                    <a:pt x="359189" y="295886"/>
                  </a:lnTo>
                  <a:lnTo>
                    <a:pt x="325045" y="279020"/>
                  </a:lnTo>
                  <a:lnTo>
                    <a:pt x="302258" y="274870"/>
                  </a:lnTo>
                  <a:lnTo>
                    <a:pt x="271557" y="278747"/>
                  </a:lnTo>
                  <a:lnTo>
                    <a:pt x="223913" y="272496"/>
                  </a:lnTo>
                  <a:lnTo>
                    <a:pt x="198467" y="273145"/>
                  </a:lnTo>
                  <a:lnTo>
                    <a:pt x="184919" y="256529"/>
                  </a:lnTo>
                  <a:lnTo>
                    <a:pt x="174403" y="230544"/>
                  </a:lnTo>
                  <a:lnTo>
                    <a:pt x="160139" y="227399"/>
                  </a:lnTo>
                  <a:lnTo>
                    <a:pt x="132251" y="209680"/>
                  </a:lnTo>
                  <a:lnTo>
                    <a:pt x="101162" y="205695"/>
                  </a:lnTo>
                  <a:lnTo>
                    <a:pt x="73732" y="200806"/>
                  </a:lnTo>
                  <a:lnTo>
                    <a:pt x="65427" y="188370"/>
                  </a:lnTo>
                  <a:lnTo>
                    <a:pt x="74315" y="154579"/>
                  </a:lnTo>
                  <a:lnTo>
                    <a:pt x="58388" y="131040"/>
                  </a:lnTo>
                  <a:lnTo>
                    <a:pt x="25461" y="119994"/>
                  </a:lnTo>
                  <a:lnTo>
                    <a:pt x="6060" y="104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2" name="Freeform 116">
              <a:extLst>
                <a:ext uri="{FF2B5EF4-FFF2-40B4-BE49-F238E27FC236}">
                  <a16:creationId xmlns:a16="http://schemas.microsoft.com/office/drawing/2014/main" id="{2CC04149-2A7D-424A-9817-66B31CA3ADD7}"/>
                </a:ext>
              </a:extLst>
            </p:cNvPr>
            <p:cNvSpPr>
              <a:spLocks noChangeAspect="1"/>
            </p:cNvSpPr>
            <p:nvPr>
              <p:custDataLst>
                <p:tags r:id="rId122"/>
              </p:custDataLst>
            </p:nvPr>
          </p:nvSpPr>
          <p:spPr>
            <a:xfrm>
              <a:off x="5057310" y="4766945"/>
              <a:ext cx="244584" cy="393173"/>
            </a:xfrm>
            <a:custGeom>
              <a:avLst/>
              <a:gdLst/>
              <a:ahLst/>
              <a:cxnLst/>
              <a:rect l="0" t="0" r="0" b="0"/>
              <a:pathLst>
                <a:path w="244584" h="393173">
                  <a:moveTo>
                    <a:pt x="101114" y="28093"/>
                  </a:moveTo>
                  <a:lnTo>
                    <a:pt x="118481" y="26202"/>
                  </a:lnTo>
                  <a:lnTo>
                    <a:pt x="146219" y="32792"/>
                  </a:lnTo>
                  <a:lnTo>
                    <a:pt x="152245" y="29835"/>
                  </a:lnTo>
                  <a:lnTo>
                    <a:pt x="168314" y="29232"/>
                  </a:lnTo>
                  <a:lnTo>
                    <a:pt x="176540" y="22219"/>
                  </a:lnTo>
                  <a:lnTo>
                    <a:pt x="190387" y="22603"/>
                  </a:lnTo>
                  <a:lnTo>
                    <a:pt x="215627" y="13530"/>
                  </a:lnTo>
                  <a:lnTo>
                    <a:pt x="233991" y="0"/>
                  </a:lnTo>
                  <a:lnTo>
                    <a:pt x="237726" y="10462"/>
                  </a:lnTo>
                  <a:lnTo>
                    <a:pt x="236777" y="33746"/>
                  </a:lnTo>
                  <a:lnTo>
                    <a:pt x="239628" y="54298"/>
                  </a:lnTo>
                  <a:lnTo>
                    <a:pt x="240524" y="91015"/>
                  </a:lnTo>
                  <a:lnTo>
                    <a:pt x="244583" y="102555"/>
                  </a:lnTo>
                  <a:lnTo>
                    <a:pt x="237700" y="119419"/>
                  </a:lnTo>
                  <a:lnTo>
                    <a:pt x="228744" y="135845"/>
                  </a:lnTo>
                  <a:lnTo>
                    <a:pt x="214047" y="150543"/>
                  </a:lnTo>
                  <a:lnTo>
                    <a:pt x="192945" y="159568"/>
                  </a:lnTo>
                  <a:lnTo>
                    <a:pt x="166925" y="171108"/>
                  </a:lnTo>
                  <a:lnTo>
                    <a:pt x="140846" y="196698"/>
                  </a:lnTo>
                  <a:lnTo>
                    <a:pt x="131964" y="201061"/>
                  </a:lnTo>
                  <a:lnTo>
                    <a:pt x="115850" y="218070"/>
                  </a:lnTo>
                  <a:lnTo>
                    <a:pt x="106339" y="223615"/>
                  </a:lnTo>
                  <a:lnTo>
                    <a:pt x="104389" y="240746"/>
                  </a:lnTo>
                  <a:lnTo>
                    <a:pt x="115336" y="258997"/>
                  </a:lnTo>
                  <a:lnTo>
                    <a:pt x="119890" y="273171"/>
                  </a:lnTo>
                  <a:lnTo>
                    <a:pt x="120177" y="280416"/>
                  </a:lnTo>
                  <a:lnTo>
                    <a:pt x="124255" y="279204"/>
                  </a:lnTo>
                  <a:lnTo>
                    <a:pt x="123595" y="303017"/>
                  </a:lnTo>
                  <a:lnTo>
                    <a:pt x="119852" y="314335"/>
                  </a:lnTo>
                  <a:lnTo>
                    <a:pt x="125292" y="318512"/>
                  </a:lnTo>
                  <a:lnTo>
                    <a:pt x="121859" y="328677"/>
                  </a:lnTo>
                  <a:lnTo>
                    <a:pt x="112211" y="337385"/>
                  </a:lnTo>
                  <a:lnTo>
                    <a:pt x="93169" y="345672"/>
                  </a:lnTo>
                  <a:lnTo>
                    <a:pt x="65410" y="358973"/>
                  </a:lnTo>
                  <a:lnTo>
                    <a:pt x="55286" y="368081"/>
                  </a:lnTo>
                  <a:lnTo>
                    <a:pt x="57265" y="378479"/>
                  </a:lnTo>
                  <a:lnTo>
                    <a:pt x="63165" y="380142"/>
                  </a:lnTo>
                  <a:lnTo>
                    <a:pt x="61183" y="393172"/>
                  </a:lnTo>
                  <a:lnTo>
                    <a:pt x="43676" y="392964"/>
                  </a:lnTo>
                  <a:lnTo>
                    <a:pt x="41694" y="382019"/>
                  </a:lnTo>
                  <a:lnTo>
                    <a:pt x="38277" y="370942"/>
                  </a:lnTo>
                  <a:lnTo>
                    <a:pt x="36307" y="362092"/>
                  </a:lnTo>
                  <a:lnTo>
                    <a:pt x="40420" y="334716"/>
                  </a:lnTo>
                  <a:lnTo>
                    <a:pt x="34414" y="317350"/>
                  </a:lnTo>
                  <a:lnTo>
                    <a:pt x="23358" y="283118"/>
                  </a:lnTo>
                  <a:lnTo>
                    <a:pt x="47677" y="255670"/>
                  </a:lnTo>
                  <a:lnTo>
                    <a:pt x="53764" y="238299"/>
                  </a:lnTo>
                  <a:lnTo>
                    <a:pt x="57251" y="236110"/>
                  </a:lnTo>
                  <a:lnTo>
                    <a:pt x="59858" y="221973"/>
                  </a:lnTo>
                  <a:lnTo>
                    <a:pt x="56148" y="214873"/>
                  </a:lnTo>
                  <a:lnTo>
                    <a:pt x="57139" y="196995"/>
                  </a:lnTo>
                  <a:lnTo>
                    <a:pt x="61639" y="180459"/>
                  </a:lnTo>
                  <a:lnTo>
                    <a:pt x="61588" y="150366"/>
                  </a:lnTo>
                  <a:lnTo>
                    <a:pt x="49599" y="142746"/>
                  </a:lnTo>
                  <a:lnTo>
                    <a:pt x="38607" y="141024"/>
                  </a:lnTo>
                  <a:lnTo>
                    <a:pt x="33632" y="135164"/>
                  </a:lnTo>
                  <a:lnTo>
                    <a:pt x="22934" y="130168"/>
                  </a:lnTo>
                  <a:lnTo>
                    <a:pt x="3681" y="130639"/>
                  </a:lnTo>
                  <a:lnTo>
                    <a:pt x="2187" y="121817"/>
                  </a:lnTo>
                  <a:lnTo>
                    <a:pt x="0" y="105015"/>
                  </a:lnTo>
                  <a:lnTo>
                    <a:pt x="70045" y="85599"/>
                  </a:lnTo>
                  <a:lnTo>
                    <a:pt x="83333" y="96900"/>
                  </a:lnTo>
                  <a:lnTo>
                    <a:pt x="89684" y="94735"/>
                  </a:lnTo>
                  <a:lnTo>
                    <a:pt x="98797" y="100698"/>
                  </a:lnTo>
                  <a:lnTo>
                    <a:pt x="100136" y="110149"/>
                  </a:lnTo>
                  <a:lnTo>
                    <a:pt x="95281" y="121128"/>
                  </a:lnTo>
                  <a:lnTo>
                    <a:pt x="96989" y="137806"/>
                  </a:lnTo>
                  <a:lnTo>
                    <a:pt x="112050" y="152451"/>
                  </a:lnTo>
                  <a:lnTo>
                    <a:pt x="119097" y="136003"/>
                  </a:lnTo>
                  <a:lnTo>
                    <a:pt x="129088" y="131018"/>
                  </a:lnTo>
                  <a:lnTo>
                    <a:pt x="127124" y="100652"/>
                  </a:lnTo>
                  <a:lnTo>
                    <a:pt x="117455" y="83622"/>
                  </a:lnTo>
                  <a:lnTo>
                    <a:pt x="109127" y="76041"/>
                  </a:lnTo>
                  <a:lnTo>
                    <a:pt x="101114" y="76384"/>
                  </a:lnTo>
                  <a:lnTo>
                    <a:pt x="94651" y="4588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3" name="Freeform 117">
              <a:extLst>
                <a:ext uri="{FF2B5EF4-FFF2-40B4-BE49-F238E27FC236}">
                  <a16:creationId xmlns:a16="http://schemas.microsoft.com/office/drawing/2014/main" id="{8DEF9DE4-8C10-4B52-9FA0-F108E4C5FAF5}"/>
                </a:ext>
              </a:extLst>
            </p:cNvPr>
            <p:cNvSpPr>
              <a:spLocks noChangeAspect="1"/>
            </p:cNvSpPr>
            <p:nvPr>
              <p:custDataLst>
                <p:tags r:id="rId123"/>
              </p:custDataLst>
            </p:nvPr>
          </p:nvSpPr>
          <p:spPr>
            <a:xfrm>
              <a:off x="3966817" y="3879593"/>
              <a:ext cx="280227" cy="308616"/>
            </a:xfrm>
            <a:custGeom>
              <a:avLst/>
              <a:gdLst/>
              <a:ahLst/>
              <a:cxnLst/>
              <a:rect l="0" t="0" r="0" b="0"/>
              <a:pathLst>
                <a:path w="280227" h="308616">
                  <a:moveTo>
                    <a:pt x="112936" y="308615"/>
                  </a:moveTo>
                  <a:lnTo>
                    <a:pt x="97704" y="292408"/>
                  </a:lnTo>
                  <a:lnTo>
                    <a:pt x="83737" y="275012"/>
                  </a:lnTo>
                  <a:lnTo>
                    <a:pt x="68415" y="268737"/>
                  </a:lnTo>
                  <a:lnTo>
                    <a:pt x="57385" y="261769"/>
                  </a:lnTo>
                  <a:lnTo>
                    <a:pt x="44496" y="262029"/>
                  </a:lnTo>
                  <a:lnTo>
                    <a:pt x="33233" y="267196"/>
                  </a:lnTo>
                  <a:lnTo>
                    <a:pt x="21761" y="265150"/>
                  </a:lnTo>
                  <a:lnTo>
                    <a:pt x="13857" y="272747"/>
                  </a:lnTo>
                  <a:lnTo>
                    <a:pt x="11858" y="259975"/>
                  </a:lnTo>
                  <a:lnTo>
                    <a:pt x="18302" y="248268"/>
                  </a:lnTo>
                  <a:lnTo>
                    <a:pt x="21169" y="225859"/>
                  </a:lnTo>
                  <a:lnTo>
                    <a:pt x="18617" y="202256"/>
                  </a:lnTo>
                  <a:lnTo>
                    <a:pt x="15829" y="190350"/>
                  </a:lnTo>
                  <a:lnTo>
                    <a:pt x="18134" y="178382"/>
                  </a:lnTo>
                  <a:lnTo>
                    <a:pt x="12167" y="166953"/>
                  </a:lnTo>
                  <a:lnTo>
                    <a:pt x="0" y="156548"/>
                  </a:lnTo>
                  <a:lnTo>
                    <a:pt x="5037" y="148500"/>
                  </a:lnTo>
                  <a:lnTo>
                    <a:pt x="95431" y="148651"/>
                  </a:lnTo>
                  <a:lnTo>
                    <a:pt x="91054" y="113671"/>
                  </a:lnTo>
                  <a:lnTo>
                    <a:pt x="96698" y="101174"/>
                  </a:lnTo>
                  <a:lnTo>
                    <a:pt x="118326" y="98987"/>
                  </a:lnTo>
                  <a:lnTo>
                    <a:pt x="117583" y="36239"/>
                  </a:lnTo>
                  <a:lnTo>
                    <a:pt x="193343" y="37530"/>
                  </a:lnTo>
                  <a:lnTo>
                    <a:pt x="193410" y="0"/>
                  </a:lnTo>
                  <a:lnTo>
                    <a:pt x="280226" y="59846"/>
                  </a:lnTo>
                  <a:lnTo>
                    <a:pt x="244899" y="60288"/>
                  </a:lnTo>
                  <a:lnTo>
                    <a:pt x="256040" y="165196"/>
                  </a:lnTo>
                  <a:lnTo>
                    <a:pt x="267180" y="268245"/>
                  </a:lnTo>
                  <a:lnTo>
                    <a:pt x="271179" y="271164"/>
                  </a:lnTo>
                  <a:lnTo>
                    <a:pt x="266044" y="287730"/>
                  </a:lnTo>
                  <a:lnTo>
                    <a:pt x="173424" y="288089"/>
                  </a:lnTo>
                  <a:lnTo>
                    <a:pt x="169962" y="293343"/>
                  </a:lnTo>
                  <a:lnTo>
                    <a:pt x="161038" y="291775"/>
                  </a:lnTo>
                  <a:lnTo>
                    <a:pt x="148021" y="296445"/>
                  </a:lnTo>
                  <a:lnTo>
                    <a:pt x="131902" y="289867"/>
                  </a:lnTo>
                  <a:lnTo>
                    <a:pt x="124585" y="290412"/>
                  </a:lnTo>
                  <a:lnTo>
                    <a:pt x="120704" y="3043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4" name="Freeform 118">
              <a:extLst>
                <a:ext uri="{FF2B5EF4-FFF2-40B4-BE49-F238E27FC236}">
                  <a16:creationId xmlns:a16="http://schemas.microsoft.com/office/drawing/2014/main" id="{C780C51D-6954-49AE-AD3B-31BA65E7B4F3}"/>
                </a:ext>
              </a:extLst>
            </p:cNvPr>
            <p:cNvSpPr>
              <a:spLocks noChangeAspect="1"/>
            </p:cNvSpPr>
            <p:nvPr>
              <p:custDataLst>
                <p:tags r:id="rId124"/>
              </p:custDataLst>
            </p:nvPr>
          </p:nvSpPr>
          <p:spPr>
            <a:xfrm>
              <a:off x="5115217" y="4741630"/>
              <a:ext cx="71182" cy="177767"/>
            </a:xfrm>
            <a:custGeom>
              <a:avLst/>
              <a:gdLst/>
              <a:ahLst/>
              <a:cxnLst/>
              <a:rect l="0" t="0" r="0" b="0"/>
              <a:pathLst>
                <a:path w="71182" h="177767">
                  <a:moveTo>
                    <a:pt x="43207" y="53408"/>
                  </a:moveTo>
                  <a:lnTo>
                    <a:pt x="36744" y="71196"/>
                  </a:lnTo>
                  <a:lnTo>
                    <a:pt x="43207" y="101699"/>
                  </a:lnTo>
                  <a:lnTo>
                    <a:pt x="51220" y="101356"/>
                  </a:lnTo>
                  <a:lnTo>
                    <a:pt x="59548" y="108937"/>
                  </a:lnTo>
                  <a:lnTo>
                    <a:pt x="69217" y="125967"/>
                  </a:lnTo>
                  <a:lnTo>
                    <a:pt x="71181" y="156333"/>
                  </a:lnTo>
                  <a:lnTo>
                    <a:pt x="61190" y="161318"/>
                  </a:lnTo>
                  <a:lnTo>
                    <a:pt x="54143" y="177766"/>
                  </a:lnTo>
                  <a:lnTo>
                    <a:pt x="39082" y="163121"/>
                  </a:lnTo>
                  <a:lnTo>
                    <a:pt x="37374" y="146443"/>
                  </a:lnTo>
                  <a:lnTo>
                    <a:pt x="42229" y="135464"/>
                  </a:lnTo>
                  <a:lnTo>
                    <a:pt x="40890" y="126013"/>
                  </a:lnTo>
                  <a:lnTo>
                    <a:pt x="31777" y="120050"/>
                  </a:lnTo>
                  <a:lnTo>
                    <a:pt x="25426" y="122215"/>
                  </a:lnTo>
                  <a:lnTo>
                    <a:pt x="12138" y="110914"/>
                  </a:lnTo>
                  <a:lnTo>
                    <a:pt x="0" y="104822"/>
                  </a:lnTo>
                  <a:lnTo>
                    <a:pt x="7008" y="83006"/>
                  </a:lnTo>
                  <a:lnTo>
                    <a:pt x="14271" y="74845"/>
                  </a:lnTo>
                  <a:lnTo>
                    <a:pt x="9836" y="55447"/>
                  </a:lnTo>
                  <a:lnTo>
                    <a:pt x="14476" y="36503"/>
                  </a:lnTo>
                  <a:lnTo>
                    <a:pt x="18409" y="30178"/>
                  </a:lnTo>
                  <a:lnTo>
                    <a:pt x="12539" y="10388"/>
                  </a:lnTo>
                  <a:lnTo>
                    <a:pt x="1644" y="0"/>
                  </a:lnTo>
                  <a:lnTo>
                    <a:pt x="24273" y="4343"/>
                  </a:lnTo>
                  <a:lnTo>
                    <a:pt x="28915" y="10783"/>
                  </a:lnTo>
                  <a:lnTo>
                    <a:pt x="36744" y="216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5" name="Freeform 119">
              <a:extLst>
                <a:ext uri="{FF2B5EF4-FFF2-40B4-BE49-F238E27FC236}">
                  <a16:creationId xmlns:a16="http://schemas.microsoft.com/office/drawing/2014/main" id="{34315449-0B6F-470A-BF56-6FE864601343}"/>
                </a:ext>
              </a:extLst>
            </p:cNvPr>
            <p:cNvSpPr>
              <a:spLocks noChangeAspect="1"/>
            </p:cNvSpPr>
            <p:nvPr>
              <p:custDataLst>
                <p:tags r:id="rId125"/>
              </p:custDataLst>
            </p:nvPr>
          </p:nvSpPr>
          <p:spPr>
            <a:xfrm>
              <a:off x="6670933" y="4367803"/>
              <a:ext cx="440791" cy="142321"/>
            </a:xfrm>
            <a:custGeom>
              <a:avLst/>
              <a:gdLst/>
              <a:ahLst/>
              <a:cxnLst/>
              <a:rect l="l" t="t" r="r" b="b"/>
              <a:pathLst>
                <a:path w="440791" h="142321">
                  <a:moveTo>
                    <a:pt x="4013" y="6613"/>
                  </a:moveTo>
                  <a:lnTo>
                    <a:pt x="22847" y="16763"/>
                  </a:lnTo>
                  <a:lnTo>
                    <a:pt x="24664" y="28657"/>
                  </a:lnTo>
                  <a:lnTo>
                    <a:pt x="39899" y="25891"/>
                  </a:lnTo>
                  <a:lnTo>
                    <a:pt x="47445" y="16375"/>
                  </a:lnTo>
                  <a:lnTo>
                    <a:pt x="52753" y="18539"/>
                  </a:lnTo>
                  <a:lnTo>
                    <a:pt x="66385" y="32521"/>
                  </a:lnTo>
                  <a:lnTo>
                    <a:pt x="76068" y="48015"/>
                  </a:lnTo>
                  <a:lnTo>
                    <a:pt x="77392" y="63590"/>
                  </a:lnTo>
                  <a:lnTo>
                    <a:pt x="74935" y="74106"/>
                  </a:lnTo>
                  <a:lnTo>
                    <a:pt x="77181" y="82053"/>
                  </a:lnTo>
                  <a:lnTo>
                    <a:pt x="78867" y="95727"/>
                  </a:lnTo>
                  <a:lnTo>
                    <a:pt x="86997" y="102092"/>
                  </a:lnTo>
                  <a:lnTo>
                    <a:pt x="96075" y="122513"/>
                  </a:lnTo>
                  <a:lnTo>
                    <a:pt x="95634" y="130319"/>
                  </a:lnTo>
                  <a:lnTo>
                    <a:pt x="79265" y="131859"/>
                  </a:lnTo>
                  <a:lnTo>
                    <a:pt x="57427" y="114756"/>
                  </a:lnTo>
                  <a:lnTo>
                    <a:pt x="30121" y="96425"/>
                  </a:lnTo>
                  <a:lnTo>
                    <a:pt x="27418" y="84654"/>
                  </a:lnTo>
                  <a:lnTo>
                    <a:pt x="14074" y="69196"/>
                  </a:lnTo>
                  <a:lnTo>
                    <a:pt x="10888" y="50045"/>
                  </a:lnTo>
                  <a:lnTo>
                    <a:pt x="2562" y="37428"/>
                  </a:lnTo>
                  <a:lnTo>
                    <a:pt x="5091" y="20570"/>
                  </a:lnTo>
                  <a:lnTo>
                    <a:pt x="0" y="10747"/>
                  </a:lnTo>
                  <a:close/>
                  <a:moveTo>
                    <a:pt x="393419" y="0"/>
                  </a:moveTo>
                  <a:lnTo>
                    <a:pt x="405278" y="11728"/>
                  </a:lnTo>
                  <a:lnTo>
                    <a:pt x="406333" y="21799"/>
                  </a:lnTo>
                  <a:lnTo>
                    <a:pt x="421535" y="28256"/>
                  </a:lnTo>
                  <a:lnTo>
                    <a:pt x="440791" y="35222"/>
                  </a:lnTo>
                  <a:lnTo>
                    <a:pt x="439147" y="44287"/>
                  </a:lnTo>
                  <a:lnTo>
                    <a:pt x="423660" y="45435"/>
                  </a:lnTo>
                  <a:lnTo>
                    <a:pt x="427782" y="56731"/>
                  </a:lnTo>
                  <a:lnTo>
                    <a:pt x="410786" y="64609"/>
                  </a:lnTo>
                  <a:lnTo>
                    <a:pt x="390778" y="60712"/>
                  </a:lnTo>
                  <a:lnTo>
                    <a:pt x="364240" y="60701"/>
                  </a:lnTo>
                  <a:lnTo>
                    <a:pt x="356243" y="86989"/>
                  </a:lnTo>
                  <a:lnTo>
                    <a:pt x="347355" y="95023"/>
                  </a:lnTo>
                  <a:lnTo>
                    <a:pt x="335521" y="127141"/>
                  </a:lnTo>
                  <a:lnTo>
                    <a:pt x="316697" y="132062"/>
                  </a:lnTo>
                  <a:lnTo>
                    <a:pt x="294860" y="125592"/>
                  </a:lnTo>
                  <a:lnTo>
                    <a:pt x="283791" y="127616"/>
                  </a:lnTo>
                  <a:lnTo>
                    <a:pt x="270340" y="139290"/>
                  </a:lnTo>
                  <a:lnTo>
                    <a:pt x="255604" y="137627"/>
                  </a:lnTo>
                  <a:lnTo>
                    <a:pt x="240713" y="142321"/>
                  </a:lnTo>
                  <a:lnTo>
                    <a:pt x="224929" y="129278"/>
                  </a:lnTo>
                  <a:lnTo>
                    <a:pt x="221075" y="113847"/>
                  </a:lnTo>
                  <a:lnTo>
                    <a:pt x="237992" y="121760"/>
                  </a:lnTo>
                  <a:lnTo>
                    <a:pt x="255828" y="117445"/>
                  </a:lnTo>
                  <a:lnTo>
                    <a:pt x="260473" y="97892"/>
                  </a:lnTo>
                  <a:lnTo>
                    <a:pt x="270325" y="93536"/>
                  </a:lnTo>
                  <a:lnTo>
                    <a:pt x="297994" y="88534"/>
                  </a:lnTo>
                  <a:lnTo>
                    <a:pt x="314552" y="70251"/>
                  </a:lnTo>
                  <a:lnTo>
                    <a:pt x="325888" y="55629"/>
                  </a:lnTo>
                  <a:lnTo>
                    <a:pt x="336404" y="67612"/>
                  </a:lnTo>
                  <a:lnTo>
                    <a:pt x="341251" y="59735"/>
                  </a:lnTo>
                  <a:lnTo>
                    <a:pt x="352282" y="60468"/>
                  </a:lnTo>
                  <a:lnTo>
                    <a:pt x="353626" y="45696"/>
                  </a:lnTo>
                  <a:lnTo>
                    <a:pt x="354665" y="34298"/>
                  </a:lnTo>
                  <a:lnTo>
                    <a:pt x="372439" y="18192"/>
                  </a:lnTo>
                  <a:lnTo>
                    <a:pt x="384081" y="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6" name="Freeform 120">
              <a:extLst>
                <a:ext uri="{FF2B5EF4-FFF2-40B4-BE49-F238E27FC236}">
                  <a16:creationId xmlns:a16="http://schemas.microsoft.com/office/drawing/2014/main" id="{C20DEAE5-1514-46D3-A497-6F7F75DFA49E}"/>
                </a:ext>
              </a:extLst>
            </p:cNvPr>
            <p:cNvSpPr>
              <a:spLocks noChangeAspect="1"/>
            </p:cNvSpPr>
            <p:nvPr>
              <p:custDataLst>
                <p:tags r:id="rId126"/>
              </p:custDataLst>
            </p:nvPr>
          </p:nvSpPr>
          <p:spPr>
            <a:xfrm>
              <a:off x="4631543" y="4922721"/>
              <a:ext cx="308160" cy="294870"/>
            </a:xfrm>
            <a:custGeom>
              <a:avLst/>
              <a:gdLst/>
              <a:ahLst/>
              <a:cxnLst/>
              <a:rect l="0" t="0" r="0" b="0"/>
              <a:pathLst>
                <a:path w="308160" h="294870">
                  <a:moveTo>
                    <a:pt x="106429" y="283110"/>
                  </a:moveTo>
                  <a:lnTo>
                    <a:pt x="89275" y="264227"/>
                  </a:lnTo>
                  <a:lnTo>
                    <a:pt x="80242" y="246050"/>
                  </a:lnTo>
                  <a:lnTo>
                    <a:pt x="75146" y="221932"/>
                  </a:lnTo>
                  <a:lnTo>
                    <a:pt x="69456" y="204067"/>
                  </a:lnTo>
                  <a:lnTo>
                    <a:pt x="61722" y="166311"/>
                  </a:lnTo>
                  <a:lnTo>
                    <a:pt x="61204" y="137173"/>
                  </a:lnTo>
                  <a:lnTo>
                    <a:pt x="58250" y="123942"/>
                  </a:lnTo>
                  <a:lnTo>
                    <a:pt x="49269" y="113965"/>
                  </a:lnTo>
                  <a:lnTo>
                    <a:pt x="37355" y="94019"/>
                  </a:lnTo>
                  <a:lnTo>
                    <a:pt x="25221" y="65180"/>
                  </a:lnTo>
                  <a:lnTo>
                    <a:pt x="20183" y="50142"/>
                  </a:lnTo>
                  <a:lnTo>
                    <a:pt x="1402" y="26830"/>
                  </a:lnTo>
                  <a:lnTo>
                    <a:pt x="0" y="8566"/>
                  </a:lnTo>
                  <a:lnTo>
                    <a:pt x="11109" y="4045"/>
                  </a:lnTo>
                  <a:lnTo>
                    <a:pt x="24927" y="0"/>
                  </a:lnTo>
                  <a:lnTo>
                    <a:pt x="39891" y="709"/>
                  </a:lnTo>
                  <a:lnTo>
                    <a:pt x="53651" y="11455"/>
                  </a:lnTo>
                  <a:lnTo>
                    <a:pt x="57141" y="9783"/>
                  </a:lnTo>
                  <a:lnTo>
                    <a:pt x="150710" y="8757"/>
                  </a:lnTo>
                  <a:lnTo>
                    <a:pt x="166703" y="20158"/>
                  </a:lnTo>
                  <a:lnTo>
                    <a:pt x="222586" y="23529"/>
                  </a:lnTo>
                  <a:lnTo>
                    <a:pt x="265009" y="13827"/>
                  </a:lnTo>
                  <a:lnTo>
                    <a:pt x="283909" y="8422"/>
                  </a:lnTo>
                  <a:lnTo>
                    <a:pt x="298878" y="9791"/>
                  </a:lnTo>
                  <a:lnTo>
                    <a:pt x="307987" y="15152"/>
                  </a:lnTo>
                  <a:lnTo>
                    <a:pt x="308159" y="17127"/>
                  </a:lnTo>
                  <a:lnTo>
                    <a:pt x="295147" y="22493"/>
                  </a:lnTo>
                  <a:lnTo>
                    <a:pt x="288145" y="22546"/>
                  </a:lnTo>
                  <a:lnTo>
                    <a:pt x="273410" y="31889"/>
                  </a:lnTo>
                  <a:lnTo>
                    <a:pt x="264589" y="22062"/>
                  </a:lnTo>
                  <a:lnTo>
                    <a:pt x="229000" y="30407"/>
                  </a:lnTo>
                  <a:lnTo>
                    <a:pt x="211817" y="31196"/>
                  </a:lnTo>
                  <a:lnTo>
                    <a:pt x="211136" y="116754"/>
                  </a:lnTo>
                  <a:lnTo>
                    <a:pt x="188384" y="117597"/>
                  </a:lnTo>
                  <a:lnTo>
                    <a:pt x="188391" y="188705"/>
                  </a:lnTo>
                  <a:lnTo>
                    <a:pt x="188367" y="280215"/>
                  </a:lnTo>
                  <a:lnTo>
                    <a:pt x="167763" y="293035"/>
                  </a:lnTo>
                  <a:lnTo>
                    <a:pt x="155363" y="294869"/>
                  </a:lnTo>
                  <a:lnTo>
                    <a:pt x="140849" y="290121"/>
                  </a:lnTo>
                  <a:lnTo>
                    <a:pt x="130493" y="288293"/>
                  </a:lnTo>
                  <a:lnTo>
                    <a:pt x="126603" y="277583"/>
                  </a:lnTo>
                  <a:lnTo>
                    <a:pt x="117487" y="2707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7" name="Freeform 121">
              <a:extLst>
                <a:ext uri="{FF2B5EF4-FFF2-40B4-BE49-F238E27FC236}">
                  <a16:creationId xmlns:a16="http://schemas.microsoft.com/office/drawing/2014/main" id="{31AA5109-FCA1-4819-BC37-17975D260CAE}"/>
                </a:ext>
              </a:extLst>
            </p:cNvPr>
            <p:cNvSpPr>
              <a:spLocks noChangeAspect="1"/>
            </p:cNvSpPr>
            <p:nvPr>
              <p:custDataLst>
                <p:tags r:id="rId127"/>
              </p:custDataLst>
            </p:nvPr>
          </p:nvSpPr>
          <p:spPr>
            <a:xfrm>
              <a:off x="4367511" y="3976214"/>
              <a:ext cx="360266" cy="281413"/>
            </a:xfrm>
            <a:custGeom>
              <a:avLst/>
              <a:gdLst/>
              <a:ahLst/>
              <a:cxnLst/>
              <a:rect l="0" t="0" r="0" b="0"/>
              <a:pathLst>
                <a:path w="360266" h="281413">
                  <a:moveTo>
                    <a:pt x="42907" y="274860"/>
                  </a:moveTo>
                  <a:lnTo>
                    <a:pt x="43429" y="258816"/>
                  </a:lnTo>
                  <a:lnTo>
                    <a:pt x="16814" y="253497"/>
                  </a:lnTo>
                  <a:lnTo>
                    <a:pt x="16098" y="242137"/>
                  </a:lnTo>
                  <a:lnTo>
                    <a:pt x="3099" y="226786"/>
                  </a:lnTo>
                  <a:lnTo>
                    <a:pt x="0" y="216062"/>
                  </a:lnTo>
                  <a:lnTo>
                    <a:pt x="1829" y="204635"/>
                  </a:lnTo>
                  <a:lnTo>
                    <a:pt x="16623" y="203708"/>
                  </a:lnTo>
                  <a:lnTo>
                    <a:pt x="25157" y="195318"/>
                  </a:lnTo>
                  <a:lnTo>
                    <a:pt x="56653" y="193287"/>
                  </a:lnTo>
                  <a:lnTo>
                    <a:pt x="77156" y="189539"/>
                  </a:lnTo>
                  <a:lnTo>
                    <a:pt x="79122" y="174959"/>
                  </a:lnTo>
                  <a:lnTo>
                    <a:pt x="91743" y="159122"/>
                  </a:lnTo>
                  <a:lnTo>
                    <a:pt x="91679" y="104234"/>
                  </a:lnTo>
                  <a:lnTo>
                    <a:pt x="124229" y="93552"/>
                  </a:lnTo>
                  <a:lnTo>
                    <a:pt x="191061" y="46266"/>
                  </a:lnTo>
                  <a:lnTo>
                    <a:pt x="270156" y="0"/>
                  </a:lnTo>
                  <a:lnTo>
                    <a:pt x="306671" y="10502"/>
                  </a:lnTo>
                  <a:lnTo>
                    <a:pt x="319654" y="23848"/>
                  </a:lnTo>
                  <a:lnTo>
                    <a:pt x="335983" y="14820"/>
                  </a:lnTo>
                  <a:lnTo>
                    <a:pt x="341652" y="52478"/>
                  </a:lnTo>
                  <a:lnTo>
                    <a:pt x="350289" y="58753"/>
                  </a:lnTo>
                  <a:lnTo>
                    <a:pt x="350660" y="66418"/>
                  </a:lnTo>
                  <a:lnTo>
                    <a:pt x="360265" y="74668"/>
                  </a:lnTo>
                  <a:lnTo>
                    <a:pt x="355245" y="85011"/>
                  </a:lnTo>
                  <a:lnTo>
                    <a:pt x="346350" y="133541"/>
                  </a:lnTo>
                  <a:lnTo>
                    <a:pt x="345134" y="164459"/>
                  </a:lnTo>
                  <a:lnTo>
                    <a:pt x="315691" y="186790"/>
                  </a:lnTo>
                  <a:lnTo>
                    <a:pt x="305724" y="217878"/>
                  </a:lnTo>
                  <a:lnTo>
                    <a:pt x="315333" y="226599"/>
                  </a:lnTo>
                  <a:lnTo>
                    <a:pt x="315282" y="241722"/>
                  </a:lnTo>
                  <a:lnTo>
                    <a:pt x="330085" y="242263"/>
                  </a:lnTo>
                  <a:lnTo>
                    <a:pt x="327777" y="253319"/>
                  </a:lnTo>
                  <a:lnTo>
                    <a:pt x="321262" y="254665"/>
                  </a:lnTo>
                  <a:lnTo>
                    <a:pt x="320519" y="262130"/>
                  </a:lnTo>
                  <a:lnTo>
                    <a:pt x="316226" y="262648"/>
                  </a:lnTo>
                  <a:lnTo>
                    <a:pt x="300607" y="236954"/>
                  </a:lnTo>
                  <a:lnTo>
                    <a:pt x="295189" y="236019"/>
                  </a:lnTo>
                  <a:lnTo>
                    <a:pt x="277140" y="249147"/>
                  </a:lnTo>
                  <a:lnTo>
                    <a:pt x="259268" y="242296"/>
                  </a:lnTo>
                  <a:lnTo>
                    <a:pt x="246845" y="240926"/>
                  </a:lnTo>
                  <a:lnTo>
                    <a:pt x="240184" y="244224"/>
                  </a:lnTo>
                  <a:lnTo>
                    <a:pt x="226652" y="243511"/>
                  </a:lnTo>
                  <a:lnTo>
                    <a:pt x="213036" y="253514"/>
                  </a:lnTo>
                  <a:lnTo>
                    <a:pt x="201264" y="254087"/>
                  </a:lnTo>
                  <a:lnTo>
                    <a:pt x="173328" y="241955"/>
                  </a:lnTo>
                  <a:lnTo>
                    <a:pt x="162389" y="247719"/>
                  </a:lnTo>
                  <a:lnTo>
                    <a:pt x="150609" y="247319"/>
                  </a:lnTo>
                  <a:lnTo>
                    <a:pt x="141953" y="238449"/>
                  </a:lnTo>
                  <a:lnTo>
                    <a:pt x="118816" y="229675"/>
                  </a:lnTo>
                  <a:lnTo>
                    <a:pt x="94009" y="232461"/>
                  </a:lnTo>
                  <a:lnTo>
                    <a:pt x="87998" y="237545"/>
                  </a:lnTo>
                  <a:lnTo>
                    <a:pt x="84751" y="251050"/>
                  </a:lnTo>
                  <a:lnTo>
                    <a:pt x="78134" y="260507"/>
                  </a:lnTo>
                  <a:lnTo>
                    <a:pt x="76531" y="281412"/>
                  </a:lnTo>
                  <a:lnTo>
                    <a:pt x="58930" y="267941"/>
                  </a:lnTo>
                  <a:lnTo>
                    <a:pt x="50655" y="268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8" name="Freeform 122">
              <a:extLst>
                <a:ext uri="{FF2B5EF4-FFF2-40B4-BE49-F238E27FC236}">
                  <a16:creationId xmlns:a16="http://schemas.microsoft.com/office/drawing/2014/main" id="{5CC4B58C-38FB-49FA-AD23-5671BF130CD4}"/>
                </a:ext>
              </a:extLst>
            </p:cNvPr>
            <p:cNvSpPr>
              <a:spLocks noChangeAspect="1"/>
            </p:cNvSpPr>
            <p:nvPr>
              <p:custDataLst>
                <p:tags r:id="rId128"/>
              </p:custDataLst>
            </p:nvPr>
          </p:nvSpPr>
          <p:spPr>
            <a:xfrm>
              <a:off x="4422818" y="4205889"/>
              <a:ext cx="274350" cy="224141"/>
            </a:xfrm>
            <a:custGeom>
              <a:avLst/>
              <a:gdLst/>
              <a:ahLst/>
              <a:cxnLst/>
              <a:rect l="0" t="0" r="0" b="0"/>
              <a:pathLst>
                <a:path w="274350" h="224141">
                  <a:moveTo>
                    <a:pt x="134078" y="211850"/>
                  </a:moveTo>
                  <a:lnTo>
                    <a:pt x="110114" y="220174"/>
                  </a:lnTo>
                  <a:lnTo>
                    <a:pt x="101354" y="218958"/>
                  </a:lnTo>
                  <a:lnTo>
                    <a:pt x="92478" y="224140"/>
                  </a:lnTo>
                  <a:lnTo>
                    <a:pt x="74014" y="223635"/>
                  </a:lnTo>
                  <a:lnTo>
                    <a:pt x="61656" y="209166"/>
                  </a:lnTo>
                  <a:lnTo>
                    <a:pt x="54057" y="192413"/>
                  </a:lnTo>
                  <a:lnTo>
                    <a:pt x="37715" y="177153"/>
                  </a:lnTo>
                  <a:lnTo>
                    <a:pt x="20370" y="177439"/>
                  </a:lnTo>
                  <a:lnTo>
                    <a:pt x="0" y="177427"/>
                  </a:lnTo>
                  <a:lnTo>
                    <a:pt x="1324" y="140037"/>
                  </a:lnTo>
                  <a:lnTo>
                    <a:pt x="741" y="125257"/>
                  </a:lnTo>
                  <a:lnTo>
                    <a:pt x="5092" y="110587"/>
                  </a:lnTo>
                  <a:lnTo>
                    <a:pt x="12203" y="103451"/>
                  </a:lnTo>
                  <a:lnTo>
                    <a:pt x="23400" y="89028"/>
                  </a:lnTo>
                  <a:lnTo>
                    <a:pt x="20968" y="82755"/>
                  </a:lnTo>
                  <a:lnTo>
                    <a:pt x="25516" y="73362"/>
                  </a:lnTo>
                  <a:lnTo>
                    <a:pt x="20325" y="59505"/>
                  </a:lnTo>
                  <a:lnTo>
                    <a:pt x="21224" y="51737"/>
                  </a:lnTo>
                  <a:lnTo>
                    <a:pt x="22827" y="30832"/>
                  </a:lnTo>
                  <a:lnTo>
                    <a:pt x="29444" y="21375"/>
                  </a:lnTo>
                  <a:lnTo>
                    <a:pt x="32691" y="7870"/>
                  </a:lnTo>
                  <a:lnTo>
                    <a:pt x="38702" y="2786"/>
                  </a:lnTo>
                  <a:lnTo>
                    <a:pt x="63509" y="0"/>
                  </a:lnTo>
                  <a:lnTo>
                    <a:pt x="86646" y="8774"/>
                  </a:lnTo>
                  <a:lnTo>
                    <a:pt x="95302" y="17644"/>
                  </a:lnTo>
                  <a:lnTo>
                    <a:pt x="107082" y="18044"/>
                  </a:lnTo>
                  <a:lnTo>
                    <a:pt x="118021" y="12280"/>
                  </a:lnTo>
                  <a:lnTo>
                    <a:pt x="145957" y="24412"/>
                  </a:lnTo>
                  <a:lnTo>
                    <a:pt x="157729" y="23839"/>
                  </a:lnTo>
                  <a:lnTo>
                    <a:pt x="171345" y="13836"/>
                  </a:lnTo>
                  <a:lnTo>
                    <a:pt x="184877" y="14549"/>
                  </a:lnTo>
                  <a:lnTo>
                    <a:pt x="191538" y="11251"/>
                  </a:lnTo>
                  <a:lnTo>
                    <a:pt x="203961" y="12621"/>
                  </a:lnTo>
                  <a:lnTo>
                    <a:pt x="221833" y="19472"/>
                  </a:lnTo>
                  <a:lnTo>
                    <a:pt x="239882" y="6344"/>
                  </a:lnTo>
                  <a:lnTo>
                    <a:pt x="245300" y="7279"/>
                  </a:lnTo>
                  <a:lnTo>
                    <a:pt x="260919" y="32973"/>
                  </a:lnTo>
                  <a:lnTo>
                    <a:pt x="265212" y="32455"/>
                  </a:lnTo>
                  <a:lnTo>
                    <a:pt x="274349" y="41786"/>
                  </a:lnTo>
                  <a:lnTo>
                    <a:pt x="271833" y="46014"/>
                  </a:lnTo>
                  <a:lnTo>
                    <a:pt x="270614" y="53791"/>
                  </a:lnTo>
                  <a:lnTo>
                    <a:pt x="251168" y="71872"/>
                  </a:lnTo>
                  <a:lnTo>
                    <a:pt x="245068" y="86763"/>
                  </a:lnTo>
                  <a:lnTo>
                    <a:pt x="241812" y="98875"/>
                  </a:lnTo>
                  <a:lnTo>
                    <a:pt x="236915" y="104065"/>
                  </a:lnTo>
                  <a:lnTo>
                    <a:pt x="232257" y="120354"/>
                  </a:lnTo>
                  <a:lnTo>
                    <a:pt x="219913" y="129930"/>
                  </a:lnTo>
                  <a:lnTo>
                    <a:pt x="216336" y="141684"/>
                  </a:lnTo>
                  <a:lnTo>
                    <a:pt x="211151" y="151034"/>
                  </a:lnTo>
                  <a:lnTo>
                    <a:pt x="208992" y="160677"/>
                  </a:lnTo>
                  <a:lnTo>
                    <a:pt x="193135" y="168490"/>
                  </a:lnTo>
                  <a:lnTo>
                    <a:pt x="180176" y="158961"/>
                  </a:lnTo>
                  <a:lnTo>
                    <a:pt x="171425" y="159346"/>
                  </a:lnTo>
                  <a:lnTo>
                    <a:pt x="157678" y="172916"/>
                  </a:lnTo>
                  <a:lnTo>
                    <a:pt x="150995" y="173124"/>
                  </a:lnTo>
                  <a:lnTo>
                    <a:pt x="140016" y="19547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9" name="Freeform 123">
              <a:extLst>
                <a:ext uri="{FF2B5EF4-FFF2-40B4-BE49-F238E27FC236}">
                  <a16:creationId xmlns:a16="http://schemas.microsoft.com/office/drawing/2014/main" id="{5A183611-DAC6-4266-BAAE-3110EFF7C8A7}"/>
                </a:ext>
              </a:extLst>
            </p:cNvPr>
            <p:cNvSpPr>
              <a:spLocks noChangeAspect="1"/>
            </p:cNvSpPr>
            <p:nvPr>
              <p:custDataLst>
                <p:tags r:id="rId129"/>
              </p:custDataLst>
            </p:nvPr>
          </p:nvSpPr>
          <p:spPr>
            <a:xfrm>
              <a:off x="4437205" y="3158690"/>
              <a:ext cx="87186" cy="83725"/>
            </a:xfrm>
            <a:custGeom>
              <a:avLst/>
              <a:gdLst/>
              <a:ahLst/>
              <a:cxnLst/>
              <a:rect l="0" t="0" r="0" b="0"/>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0" name="Freeform 124">
              <a:extLst>
                <a:ext uri="{FF2B5EF4-FFF2-40B4-BE49-F238E27FC236}">
                  <a16:creationId xmlns:a16="http://schemas.microsoft.com/office/drawing/2014/main" id="{A8D8F630-F53C-41A5-A658-65DB2D7A0900}"/>
                </a:ext>
              </a:extLst>
            </p:cNvPr>
            <p:cNvSpPr>
              <a:spLocks noChangeAspect="1"/>
            </p:cNvSpPr>
            <p:nvPr>
              <p:custDataLst>
                <p:tags r:id="rId130"/>
              </p:custDataLst>
            </p:nvPr>
          </p:nvSpPr>
          <p:spPr>
            <a:xfrm>
              <a:off x="4475918" y="2069635"/>
              <a:ext cx="607105" cy="940787"/>
            </a:xfrm>
            <a:custGeom>
              <a:avLst/>
              <a:gdLst/>
              <a:ahLst/>
              <a:cxnLst/>
              <a:rect l="l" t="t" r="r" b="b"/>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1" name="Freeform 125">
              <a:extLst>
                <a:ext uri="{FF2B5EF4-FFF2-40B4-BE49-F238E27FC236}">
                  <a16:creationId xmlns:a16="http://schemas.microsoft.com/office/drawing/2014/main" id="{15675666-30F6-4A47-96E4-FBCEF8954841}"/>
                </a:ext>
              </a:extLst>
            </p:cNvPr>
            <p:cNvSpPr>
              <a:spLocks noChangeAspect="1"/>
            </p:cNvSpPr>
            <p:nvPr>
              <p:custDataLst>
                <p:tags r:id="rId131"/>
              </p:custDataLst>
            </p:nvPr>
          </p:nvSpPr>
          <p:spPr>
            <a:xfrm>
              <a:off x="6209342" y="3803609"/>
              <a:ext cx="186656" cy="100744"/>
            </a:xfrm>
            <a:custGeom>
              <a:avLst/>
              <a:gdLst/>
              <a:ahLst/>
              <a:cxnLst/>
              <a:rect l="0" t="0" r="0" b="0"/>
              <a:pathLst>
                <a:path w="186656" h="100744">
                  <a:moveTo>
                    <a:pt x="185400" y="64005"/>
                  </a:moveTo>
                  <a:lnTo>
                    <a:pt x="183615" y="74738"/>
                  </a:lnTo>
                  <a:lnTo>
                    <a:pt x="186655" y="90524"/>
                  </a:lnTo>
                  <a:lnTo>
                    <a:pt x="184010" y="100329"/>
                  </a:lnTo>
                  <a:lnTo>
                    <a:pt x="164788" y="100743"/>
                  </a:lnTo>
                  <a:lnTo>
                    <a:pt x="137018" y="94972"/>
                  </a:lnTo>
                  <a:lnTo>
                    <a:pt x="119184" y="92612"/>
                  </a:lnTo>
                  <a:lnTo>
                    <a:pt x="105871" y="79984"/>
                  </a:lnTo>
                  <a:lnTo>
                    <a:pt x="74229" y="76761"/>
                  </a:lnTo>
                  <a:lnTo>
                    <a:pt x="44124" y="62784"/>
                  </a:lnTo>
                  <a:lnTo>
                    <a:pt x="22362" y="50523"/>
                  </a:lnTo>
                  <a:lnTo>
                    <a:pt x="0" y="41043"/>
                  </a:lnTo>
                  <a:lnTo>
                    <a:pt x="8963" y="17514"/>
                  </a:lnTo>
                  <a:lnTo>
                    <a:pt x="23609" y="6056"/>
                  </a:lnTo>
                  <a:lnTo>
                    <a:pt x="33178" y="0"/>
                  </a:lnTo>
                  <a:lnTo>
                    <a:pt x="51684" y="7781"/>
                  </a:lnTo>
                  <a:lnTo>
                    <a:pt x="74988" y="24222"/>
                  </a:lnTo>
                  <a:lnTo>
                    <a:pt x="87958" y="27835"/>
                  </a:lnTo>
                  <a:lnTo>
                    <a:pt x="95704" y="39903"/>
                  </a:lnTo>
                  <a:lnTo>
                    <a:pt x="113641" y="44846"/>
                  </a:lnTo>
                  <a:lnTo>
                    <a:pt x="132376" y="55838"/>
                  </a:lnTo>
                  <a:lnTo>
                    <a:pt x="158488" y="615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2" name="Freeform 126">
              <a:extLst>
                <a:ext uri="{FF2B5EF4-FFF2-40B4-BE49-F238E27FC236}">
                  <a16:creationId xmlns:a16="http://schemas.microsoft.com/office/drawing/2014/main" id="{D1C12756-5729-4B13-ABF9-0BF212994BBF}"/>
                </a:ext>
              </a:extLst>
            </p:cNvPr>
            <p:cNvSpPr>
              <a:spLocks noChangeAspect="1"/>
            </p:cNvSpPr>
            <p:nvPr>
              <p:custDataLst>
                <p:tags r:id="rId132"/>
              </p:custDataLst>
            </p:nvPr>
          </p:nvSpPr>
          <p:spPr>
            <a:xfrm>
              <a:off x="8204163" y="5355753"/>
              <a:ext cx="277176" cy="334138"/>
            </a:xfrm>
            <a:custGeom>
              <a:avLst/>
              <a:gdLst/>
              <a:ahLst/>
              <a:cxnLst/>
              <a:rect l="l" t="t" r="r" b="b"/>
              <a:pathLst>
                <a:path w="277176" h="334138">
                  <a:moveTo>
                    <a:pt x="145177" y="161119"/>
                  </a:moveTo>
                  <a:lnTo>
                    <a:pt x="150297" y="172762"/>
                  </a:lnTo>
                  <a:lnTo>
                    <a:pt x="155534" y="184115"/>
                  </a:lnTo>
                  <a:lnTo>
                    <a:pt x="171949" y="172972"/>
                  </a:lnTo>
                  <a:lnTo>
                    <a:pt x="178625" y="184587"/>
                  </a:lnTo>
                  <a:lnTo>
                    <a:pt x="178645" y="196203"/>
                  </a:lnTo>
                  <a:lnTo>
                    <a:pt x="170058" y="209040"/>
                  </a:lnTo>
                  <a:lnTo>
                    <a:pt x="154968" y="229575"/>
                  </a:lnTo>
                  <a:lnTo>
                    <a:pt x="143161" y="240847"/>
                  </a:lnTo>
                  <a:lnTo>
                    <a:pt x="151676" y="254384"/>
                  </a:lnTo>
                  <a:lnTo>
                    <a:pt x="133867" y="254733"/>
                  </a:lnTo>
                  <a:lnTo>
                    <a:pt x="114116" y="265383"/>
                  </a:lnTo>
                  <a:lnTo>
                    <a:pt x="107934" y="283979"/>
                  </a:lnTo>
                  <a:lnTo>
                    <a:pt x="94813" y="312967"/>
                  </a:lnTo>
                  <a:lnTo>
                    <a:pt x="76687" y="325866"/>
                  </a:lnTo>
                  <a:lnTo>
                    <a:pt x="65167" y="334138"/>
                  </a:lnTo>
                  <a:lnTo>
                    <a:pt x="43908" y="333521"/>
                  </a:lnTo>
                  <a:lnTo>
                    <a:pt x="28960" y="323970"/>
                  </a:lnTo>
                  <a:lnTo>
                    <a:pt x="3872" y="321938"/>
                  </a:lnTo>
                  <a:lnTo>
                    <a:pt x="0" y="311348"/>
                  </a:lnTo>
                  <a:lnTo>
                    <a:pt x="12401" y="290080"/>
                  </a:lnTo>
                  <a:lnTo>
                    <a:pt x="41424" y="262028"/>
                  </a:lnTo>
                  <a:lnTo>
                    <a:pt x="56327" y="256711"/>
                  </a:lnTo>
                  <a:lnTo>
                    <a:pt x="72911" y="245990"/>
                  </a:lnTo>
                  <a:lnTo>
                    <a:pt x="92695" y="231300"/>
                  </a:lnTo>
                  <a:lnTo>
                    <a:pt x="106548" y="216814"/>
                  </a:lnTo>
                  <a:lnTo>
                    <a:pt x="116812" y="196132"/>
                  </a:lnTo>
                  <a:lnTo>
                    <a:pt x="125560" y="189143"/>
                  </a:lnTo>
                  <a:lnTo>
                    <a:pt x="128988" y="173779"/>
                  </a:lnTo>
                  <a:close/>
                  <a:moveTo>
                    <a:pt x="149989" y="0"/>
                  </a:moveTo>
                  <a:lnTo>
                    <a:pt x="162552" y="14494"/>
                  </a:lnTo>
                  <a:lnTo>
                    <a:pt x="180512" y="21280"/>
                  </a:lnTo>
                  <a:lnTo>
                    <a:pt x="187036" y="44695"/>
                  </a:lnTo>
                  <a:lnTo>
                    <a:pt x="203762" y="72572"/>
                  </a:lnTo>
                  <a:lnTo>
                    <a:pt x="204246" y="54462"/>
                  </a:lnTo>
                  <a:lnTo>
                    <a:pt x="214663" y="61683"/>
                  </a:lnTo>
                  <a:lnTo>
                    <a:pt x="218117" y="81793"/>
                  </a:lnTo>
                  <a:lnTo>
                    <a:pt x="236692" y="90494"/>
                  </a:lnTo>
                  <a:lnTo>
                    <a:pt x="252286" y="92634"/>
                  </a:lnTo>
                  <a:lnTo>
                    <a:pt x="265479" y="82445"/>
                  </a:lnTo>
                  <a:lnTo>
                    <a:pt x="277176" y="85528"/>
                  </a:lnTo>
                  <a:lnTo>
                    <a:pt x="271582" y="109305"/>
                  </a:lnTo>
                  <a:lnTo>
                    <a:pt x="264558" y="125036"/>
                  </a:lnTo>
                  <a:lnTo>
                    <a:pt x="246935" y="124480"/>
                  </a:lnTo>
                  <a:lnTo>
                    <a:pt x="240772" y="132703"/>
                  </a:lnTo>
                  <a:lnTo>
                    <a:pt x="242918" y="144379"/>
                  </a:lnTo>
                  <a:lnTo>
                    <a:pt x="239522" y="149442"/>
                  </a:lnTo>
                  <a:lnTo>
                    <a:pt x="230800" y="164151"/>
                  </a:lnTo>
                  <a:lnTo>
                    <a:pt x="219362" y="182948"/>
                  </a:lnTo>
                  <a:lnTo>
                    <a:pt x="201522" y="193945"/>
                  </a:lnTo>
                  <a:lnTo>
                    <a:pt x="197559" y="186702"/>
                  </a:lnTo>
                  <a:lnTo>
                    <a:pt x="187935" y="182733"/>
                  </a:lnTo>
                  <a:lnTo>
                    <a:pt x="201246" y="160170"/>
                  </a:lnTo>
                  <a:lnTo>
                    <a:pt x="193687" y="145167"/>
                  </a:lnTo>
                  <a:lnTo>
                    <a:pt x="168848" y="134305"/>
                  </a:lnTo>
                  <a:lnTo>
                    <a:pt x="169499" y="124502"/>
                  </a:lnTo>
                  <a:lnTo>
                    <a:pt x="186177" y="115089"/>
                  </a:lnTo>
                  <a:lnTo>
                    <a:pt x="190070" y="94415"/>
                  </a:lnTo>
                  <a:lnTo>
                    <a:pt x="188998" y="77150"/>
                  </a:lnTo>
                  <a:lnTo>
                    <a:pt x="179649" y="59356"/>
                  </a:lnTo>
                  <a:lnTo>
                    <a:pt x="180273" y="54690"/>
                  </a:lnTo>
                  <a:lnTo>
                    <a:pt x="169239" y="43788"/>
                  </a:lnTo>
                  <a:lnTo>
                    <a:pt x="151077" y="20537"/>
                  </a:lnTo>
                  <a:lnTo>
                    <a:pt x="141424" y="2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3" name="Freeform 127">
              <a:extLst>
                <a:ext uri="{FF2B5EF4-FFF2-40B4-BE49-F238E27FC236}">
                  <a16:creationId xmlns:a16="http://schemas.microsoft.com/office/drawing/2014/main" id="{A39B1CC3-2952-4827-8C20-E8D3FA77E0B6}"/>
                </a:ext>
              </a:extLst>
            </p:cNvPr>
            <p:cNvSpPr>
              <a:spLocks noChangeAspect="1"/>
            </p:cNvSpPr>
            <p:nvPr>
              <p:custDataLst>
                <p:tags r:id="rId133"/>
              </p:custDataLst>
            </p:nvPr>
          </p:nvSpPr>
          <p:spPr>
            <a:xfrm>
              <a:off x="5560987" y="3904400"/>
              <a:ext cx="180231" cy="235710"/>
            </a:xfrm>
            <a:custGeom>
              <a:avLst/>
              <a:gdLst/>
              <a:ahLst/>
              <a:cxnLst/>
              <a:rect l="l" t="t" r="r" b="b"/>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4" name="Freeform 128">
              <a:extLst>
                <a:ext uri="{FF2B5EF4-FFF2-40B4-BE49-F238E27FC236}">
                  <a16:creationId xmlns:a16="http://schemas.microsoft.com/office/drawing/2014/main" id="{264B0744-C9E8-4900-9CA3-51283BCDAA9C}"/>
                </a:ext>
              </a:extLst>
            </p:cNvPr>
            <p:cNvSpPr>
              <a:spLocks noChangeAspect="1"/>
            </p:cNvSpPr>
            <p:nvPr>
              <p:custDataLst>
                <p:tags r:id="rId134"/>
              </p:custDataLst>
            </p:nvPr>
          </p:nvSpPr>
          <p:spPr>
            <a:xfrm>
              <a:off x="5765827" y="3629638"/>
              <a:ext cx="391557" cy="341204"/>
            </a:xfrm>
            <a:custGeom>
              <a:avLst/>
              <a:gdLst/>
              <a:ahLst/>
              <a:cxnLst/>
              <a:rect l="0" t="0" r="0" b="0"/>
              <a:pathLst>
                <a:path w="391557" h="341204">
                  <a:moveTo>
                    <a:pt x="329708" y="0"/>
                  </a:moveTo>
                  <a:lnTo>
                    <a:pt x="346763" y="12367"/>
                  </a:lnTo>
                  <a:lnTo>
                    <a:pt x="353594" y="32652"/>
                  </a:lnTo>
                  <a:lnTo>
                    <a:pt x="391556" y="43279"/>
                  </a:lnTo>
                  <a:lnTo>
                    <a:pt x="369264" y="65264"/>
                  </a:lnTo>
                  <a:lnTo>
                    <a:pt x="343535" y="69137"/>
                  </a:lnTo>
                  <a:lnTo>
                    <a:pt x="308522" y="62777"/>
                  </a:lnTo>
                  <a:lnTo>
                    <a:pt x="297206" y="74010"/>
                  </a:lnTo>
                  <a:lnTo>
                    <a:pt x="305385" y="96731"/>
                  </a:lnTo>
                  <a:lnTo>
                    <a:pt x="313401" y="114180"/>
                  </a:lnTo>
                  <a:lnTo>
                    <a:pt x="332030" y="126863"/>
                  </a:lnTo>
                  <a:lnTo>
                    <a:pt x="312347" y="141667"/>
                  </a:lnTo>
                  <a:lnTo>
                    <a:pt x="312704" y="159832"/>
                  </a:lnTo>
                  <a:lnTo>
                    <a:pt x="290297" y="185262"/>
                  </a:lnTo>
                  <a:lnTo>
                    <a:pt x="275826" y="210820"/>
                  </a:lnTo>
                  <a:lnTo>
                    <a:pt x="251680" y="237062"/>
                  </a:lnTo>
                  <a:lnTo>
                    <a:pt x="224877" y="235164"/>
                  </a:lnTo>
                  <a:lnTo>
                    <a:pt x="199438" y="261256"/>
                  </a:lnTo>
                  <a:lnTo>
                    <a:pt x="214546" y="272388"/>
                  </a:lnTo>
                  <a:lnTo>
                    <a:pt x="217176" y="291403"/>
                  </a:lnTo>
                  <a:lnTo>
                    <a:pt x="230145" y="303890"/>
                  </a:lnTo>
                  <a:lnTo>
                    <a:pt x="234728" y="324957"/>
                  </a:lnTo>
                  <a:lnTo>
                    <a:pt x="183931" y="324893"/>
                  </a:lnTo>
                  <a:lnTo>
                    <a:pt x="168559" y="341203"/>
                  </a:lnTo>
                  <a:lnTo>
                    <a:pt x="151640" y="335027"/>
                  </a:lnTo>
                  <a:lnTo>
                    <a:pt x="144756" y="317433"/>
                  </a:lnTo>
                  <a:lnTo>
                    <a:pt x="126922" y="298722"/>
                  </a:lnTo>
                  <a:lnTo>
                    <a:pt x="84394" y="303350"/>
                  </a:lnTo>
                  <a:lnTo>
                    <a:pt x="46891" y="303809"/>
                  </a:lnTo>
                  <a:lnTo>
                    <a:pt x="14383" y="307254"/>
                  </a:lnTo>
                  <a:lnTo>
                    <a:pt x="23081" y="278620"/>
                  </a:lnTo>
                  <a:lnTo>
                    <a:pt x="56377" y="265831"/>
                  </a:lnTo>
                  <a:lnTo>
                    <a:pt x="54467" y="254399"/>
                  </a:lnTo>
                  <a:lnTo>
                    <a:pt x="43423" y="250374"/>
                  </a:lnTo>
                  <a:lnTo>
                    <a:pt x="42786" y="228408"/>
                  </a:lnTo>
                  <a:lnTo>
                    <a:pt x="20719" y="217400"/>
                  </a:lnTo>
                  <a:lnTo>
                    <a:pt x="11427" y="202232"/>
                  </a:lnTo>
                  <a:lnTo>
                    <a:pt x="0" y="188978"/>
                  </a:lnTo>
                  <a:lnTo>
                    <a:pt x="38678" y="201847"/>
                  </a:lnTo>
                  <a:lnTo>
                    <a:pt x="61770" y="198078"/>
                  </a:lnTo>
                  <a:lnTo>
                    <a:pt x="75567" y="201287"/>
                  </a:lnTo>
                  <a:lnTo>
                    <a:pt x="80239" y="195767"/>
                  </a:lnTo>
                  <a:lnTo>
                    <a:pt x="96315" y="197980"/>
                  </a:lnTo>
                  <a:lnTo>
                    <a:pt x="126314" y="187496"/>
                  </a:lnTo>
                  <a:lnTo>
                    <a:pt x="127121" y="165952"/>
                  </a:lnTo>
                  <a:lnTo>
                    <a:pt x="139988" y="151558"/>
                  </a:lnTo>
                  <a:lnTo>
                    <a:pt x="157173" y="151603"/>
                  </a:lnTo>
                  <a:lnTo>
                    <a:pt x="159696" y="144468"/>
                  </a:lnTo>
                  <a:lnTo>
                    <a:pt x="177337" y="141139"/>
                  </a:lnTo>
                  <a:lnTo>
                    <a:pt x="185872" y="143517"/>
                  </a:lnTo>
                  <a:lnTo>
                    <a:pt x="194899" y="136331"/>
                  </a:lnTo>
                  <a:lnTo>
                    <a:pt x="193624" y="120939"/>
                  </a:lnTo>
                  <a:lnTo>
                    <a:pt x="203425" y="105406"/>
                  </a:lnTo>
                  <a:lnTo>
                    <a:pt x="218116" y="98875"/>
                  </a:lnTo>
                  <a:lnTo>
                    <a:pt x="209044" y="81743"/>
                  </a:lnTo>
                  <a:lnTo>
                    <a:pt x="231001" y="82554"/>
                  </a:lnTo>
                  <a:lnTo>
                    <a:pt x="237348" y="73198"/>
                  </a:lnTo>
                  <a:lnTo>
                    <a:pt x="236385" y="63188"/>
                  </a:lnTo>
                  <a:lnTo>
                    <a:pt x="247881" y="52211"/>
                  </a:lnTo>
                  <a:lnTo>
                    <a:pt x="245243" y="39169"/>
                  </a:lnTo>
                  <a:lnTo>
                    <a:pt x="239785" y="28017"/>
                  </a:lnTo>
                  <a:lnTo>
                    <a:pt x="253264" y="16518"/>
                  </a:lnTo>
                  <a:lnTo>
                    <a:pt x="278049" y="10958"/>
                  </a:lnTo>
                  <a:lnTo>
                    <a:pt x="304537" y="7880"/>
                  </a:lnTo>
                  <a:lnTo>
                    <a:pt x="316271" y="298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5" name="Freeform 129">
              <a:extLst>
                <a:ext uri="{FF2B5EF4-FFF2-40B4-BE49-F238E27FC236}">
                  <a16:creationId xmlns:a16="http://schemas.microsoft.com/office/drawing/2014/main" id="{BC3F7358-E421-437E-AC3E-D0F5157AB0C4}"/>
                </a:ext>
              </a:extLst>
            </p:cNvPr>
            <p:cNvSpPr>
              <a:spLocks noChangeAspect="1"/>
            </p:cNvSpPr>
            <p:nvPr>
              <p:custDataLst>
                <p:tags r:id="rId135"/>
              </p:custDataLst>
            </p:nvPr>
          </p:nvSpPr>
          <p:spPr>
            <a:xfrm>
              <a:off x="7065382" y="4095987"/>
              <a:ext cx="216127" cy="303029"/>
            </a:xfrm>
            <a:custGeom>
              <a:avLst/>
              <a:gdLst/>
              <a:ahLst/>
              <a:cxnLst/>
              <a:rect l="l" t="t" r="r" b="b"/>
              <a:pathLst>
                <a:path w="216127" h="303029">
                  <a:moveTo>
                    <a:pt x="190152" y="205988"/>
                  </a:moveTo>
                  <a:lnTo>
                    <a:pt x="208862" y="217033"/>
                  </a:lnTo>
                  <a:lnTo>
                    <a:pt x="210799" y="228750"/>
                  </a:lnTo>
                  <a:lnTo>
                    <a:pt x="212420" y="237301"/>
                  </a:lnTo>
                  <a:lnTo>
                    <a:pt x="214767" y="252734"/>
                  </a:lnTo>
                  <a:lnTo>
                    <a:pt x="216127" y="265754"/>
                  </a:lnTo>
                  <a:lnTo>
                    <a:pt x="208264" y="286971"/>
                  </a:lnTo>
                  <a:lnTo>
                    <a:pt x="199830" y="263333"/>
                  </a:lnTo>
                  <a:lnTo>
                    <a:pt x="189038" y="275099"/>
                  </a:lnTo>
                  <a:lnTo>
                    <a:pt x="196408" y="292175"/>
                  </a:lnTo>
                  <a:lnTo>
                    <a:pt x="189791" y="303029"/>
                  </a:lnTo>
                  <a:lnTo>
                    <a:pt x="162630" y="289587"/>
                  </a:lnTo>
                  <a:lnTo>
                    <a:pt x="156142" y="272811"/>
                  </a:lnTo>
                  <a:lnTo>
                    <a:pt x="163181" y="261781"/>
                  </a:lnTo>
                  <a:lnTo>
                    <a:pt x="148559" y="250803"/>
                  </a:lnTo>
                  <a:lnTo>
                    <a:pt x="141308" y="260429"/>
                  </a:lnTo>
                  <a:lnTo>
                    <a:pt x="130445" y="259536"/>
                  </a:lnTo>
                  <a:lnTo>
                    <a:pt x="113364" y="272480"/>
                  </a:lnTo>
                  <a:lnTo>
                    <a:pt x="109543" y="265691"/>
                  </a:lnTo>
                  <a:lnTo>
                    <a:pt x="118600" y="246125"/>
                  </a:lnTo>
                  <a:lnTo>
                    <a:pt x="133144" y="239590"/>
                  </a:lnTo>
                  <a:lnTo>
                    <a:pt x="145731" y="230831"/>
                  </a:lnTo>
                  <a:lnTo>
                    <a:pt x="153890" y="241354"/>
                  </a:lnTo>
                  <a:lnTo>
                    <a:pt x="171440" y="234989"/>
                  </a:lnTo>
                  <a:lnTo>
                    <a:pt x="175206" y="224612"/>
                  </a:lnTo>
                  <a:lnTo>
                    <a:pt x="191520" y="223993"/>
                  </a:lnTo>
                  <a:close/>
                  <a:moveTo>
                    <a:pt x="159355" y="171633"/>
                  </a:moveTo>
                  <a:lnTo>
                    <a:pt x="157151" y="193903"/>
                  </a:lnTo>
                  <a:lnTo>
                    <a:pt x="148858" y="201567"/>
                  </a:lnTo>
                  <a:lnTo>
                    <a:pt x="141628" y="216284"/>
                  </a:lnTo>
                  <a:lnTo>
                    <a:pt x="134379" y="223174"/>
                  </a:lnTo>
                  <a:lnTo>
                    <a:pt x="120164" y="207083"/>
                  </a:lnTo>
                  <a:lnTo>
                    <a:pt x="124919" y="200845"/>
                  </a:lnTo>
                  <a:lnTo>
                    <a:pt x="130713" y="194314"/>
                  </a:lnTo>
                  <a:lnTo>
                    <a:pt x="133260" y="179829"/>
                  </a:lnTo>
                  <a:lnTo>
                    <a:pt x="145989" y="178457"/>
                  </a:lnTo>
                  <a:lnTo>
                    <a:pt x="142270" y="194169"/>
                  </a:lnTo>
                  <a:close/>
                  <a:moveTo>
                    <a:pt x="53949" y="168432"/>
                  </a:moveTo>
                  <a:lnTo>
                    <a:pt x="58062" y="187476"/>
                  </a:lnTo>
                  <a:lnTo>
                    <a:pt x="42823" y="200318"/>
                  </a:lnTo>
                  <a:lnTo>
                    <a:pt x="30707" y="216328"/>
                  </a:lnTo>
                  <a:lnTo>
                    <a:pt x="0" y="238398"/>
                  </a:lnTo>
                  <a:lnTo>
                    <a:pt x="11316" y="222134"/>
                  </a:lnTo>
                  <a:lnTo>
                    <a:pt x="27991" y="207755"/>
                  </a:lnTo>
                  <a:lnTo>
                    <a:pt x="41851" y="191629"/>
                  </a:lnTo>
                  <a:close/>
                  <a:moveTo>
                    <a:pt x="108703" y="156220"/>
                  </a:moveTo>
                  <a:lnTo>
                    <a:pt x="122558" y="163463"/>
                  </a:lnTo>
                  <a:lnTo>
                    <a:pt x="137248" y="163428"/>
                  </a:lnTo>
                  <a:lnTo>
                    <a:pt x="136802" y="173193"/>
                  </a:lnTo>
                  <a:lnTo>
                    <a:pt x="126111" y="183111"/>
                  </a:lnTo>
                  <a:lnTo>
                    <a:pt x="111451" y="190119"/>
                  </a:lnTo>
                  <a:lnTo>
                    <a:pt x="110638" y="179273"/>
                  </a:lnTo>
                  <a:lnTo>
                    <a:pt x="112277" y="167352"/>
                  </a:lnTo>
                  <a:close/>
                  <a:moveTo>
                    <a:pt x="163714" y="140620"/>
                  </a:moveTo>
                  <a:lnTo>
                    <a:pt x="185882" y="141137"/>
                  </a:lnTo>
                  <a:lnTo>
                    <a:pt x="192239" y="149877"/>
                  </a:lnTo>
                  <a:lnTo>
                    <a:pt x="198723" y="175993"/>
                  </a:lnTo>
                  <a:lnTo>
                    <a:pt x="180914" y="169793"/>
                  </a:lnTo>
                  <a:lnTo>
                    <a:pt x="181395" y="177635"/>
                  </a:lnTo>
                  <a:lnTo>
                    <a:pt x="187043" y="192038"/>
                  </a:lnTo>
                  <a:lnTo>
                    <a:pt x="176064" y="197263"/>
                  </a:lnTo>
                  <a:lnTo>
                    <a:pt x="175103" y="180853"/>
                  </a:lnTo>
                  <a:lnTo>
                    <a:pt x="168153" y="179641"/>
                  </a:lnTo>
                  <a:lnTo>
                    <a:pt x="164539" y="165493"/>
                  </a:lnTo>
                  <a:lnTo>
                    <a:pt x="178123" y="167359"/>
                  </a:lnTo>
                  <a:lnTo>
                    <a:pt x="177822" y="158503"/>
                  </a:lnTo>
                  <a:close/>
                  <a:moveTo>
                    <a:pt x="72691" y="119295"/>
                  </a:moveTo>
                  <a:lnTo>
                    <a:pt x="92466" y="120158"/>
                  </a:lnTo>
                  <a:lnTo>
                    <a:pt x="100482" y="128614"/>
                  </a:lnTo>
                  <a:lnTo>
                    <a:pt x="94360" y="148873"/>
                  </a:lnTo>
                  <a:lnTo>
                    <a:pt x="84474" y="137180"/>
                  </a:lnTo>
                  <a:close/>
                  <a:moveTo>
                    <a:pt x="81750" y="0"/>
                  </a:moveTo>
                  <a:lnTo>
                    <a:pt x="95725" y="27"/>
                  </a:lnTo>
                  <a:lnTo>
                    <a:pt x="109951" y="6840"/>
                  </a:lnTo>
                  <a:lnTo>
                    <a:pt x="117070" y="627"/>
                  </a:lnTo>
                  <a:lnTo>
                    <a:pt x="119169" y="6690"/>
                  </a:lnTo>
                  <a:lnTo>
                    <a:pt x="115414" y="16571"/>
                  </a:lnTo>
                  <a:lnTo>
                    <a:pt x="123294" y="33619"/>
                  </a:lnTo>
                  <a:lnTo>
                    <a:pt x="117215" y="53335"/>
                  </a:lnTo>
                  <a:lnTo>
                    <a:pt x="103607" y="61183"/>
                  </a:lnTo>
                  <a:lnTo>
                    <a:pt x="99967" y="80238"/>
                  </a:lnTo>
                  <a:lnTo>
                    <a:pt x="105131" y="99018"/>
                  </a:lnTo>
                  <a:lnTo>
                    <a:pt x="117368" y="101612"/>
                  </a:lnTo>
                  <a:lnTo>
                    <a:pt x="127578" y="98826"/>
                  </a:lnTo>
                  <a:lnTo>
                    <a:pt x="156409" y="111873"/>
                  </a:lnTo>
                  <a:lnTo>
                    <a:pt x="154212" y="124665"/>
                  </a:lnTo>
                  <a:lnTo>
                    <a:pt x="161741" y="130305"/>
                  </a:lnTo>
                  <a:lnTo>
                    <a:pt x="159344" y="141114"/>
                  </a:lnTo>
                  <a:lnTo>
                    <a:pt x="141353" y="129601"/>
                  </a:lnTo>
                  <a:lnTo>
                    <a:pt x="132827" y="117262"/>
                  </a:lnTo>
                  <a:lnTo>
                    <a:pt x="126888" y="125885"/>
                  </a:lnTo>
                  <a:lnTo>
                    <a:pt x="112191" y="111818"/>
                  </a:lnTo>
                  <a:lnTo>
                    <a:pt x="91225" y="115293"/>
                  </a:lnTo>
                  <a:lnTo>
                    <a:pt x="79736" y="110097"/>
                  </a:lnTo>
                  <a:lnTo>
                    <a:pt x="80907" y="100368"/>
                  </a:lnTo>
                  <a:lnTo>
                    <a:pt x="88119" y="94376"/>
                  </a:lnTo>
                  <a:lnTo>
                    <a:pt x="81230" y="88924"/>
                  </a:lnTo>
                  <a:lnTo>
                    <a:pt x="78248" y="97418"/>
                  </a:lnTo>
                  <a:lnTo>
                    <a:pt x="66851" y="83871"/>
                  </a:lnTo>
                  <a:lnTo>
                    <a:pt x="63400" y="73589"/>
                  </a:lnTo>
                  <a:lnTo>
                    <a:pt x="62543" y="50935"/>
                  </a:lnTo>
                  <a:lnTo>
                    <a:pt x="71838" y="58730"/>
                  </a:lnTo>
                  <a:lnTo>
                    <a:pt x="74229" y="215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6" name="Freeform 130">
              <a:extLst>
                <a:ext uri="{FF2B5EF4-FFF2-40B4-BE49-F238E27FC236}">
                  <a16:creationId xmlns:a16="http://schemas.microsoft.com/office/drawing/2014/main" id="{4D9F45AD-5D5B-4CAF-8AAD-C2DEC31A5AE3}"/>
                </a:ext>
              </a:extLst>
            </p:cNvPr>
            <p:cNvSpPr>
              <a:spLocks noChangeAspect="1"/>
            </p:cNvSpPr>
            <p:nvPr>
              <p:custDataLst>
                <p:tags r:id="rId136"/>
              </p:custDataLst>
            </p:nvPr>
          </p:nvSpPr>
          <p:spPr>
            <a:xfrm>
              <a:off x="7615348" y="4585689"/>
              <a:ext cx="346697" cy="189081"/>
            </a:xfrm>
            <a:custGeom>
              <a:avLst/>
              <a:gdLst/>
              <a:ahLst/>
              <a:cxnLst/>
              <a:rect l="l" t="t" r="r" b="b"/>
              <a:pathLst>
                <a:path w="346697" h="189081">
                  <a:moveTo>
                    <a:pt x="315131" y="58771"/>
                  </a:moveTo>
                  <a:lnTo>
                    <a:pt x="317614" y="65657"/>
                  </a:lnTo>
                  <a:lnTo>
                    <a:pt x="324605" y="70908"/>
                  </a:lnTo>
                  <a:lnTo>
                    <a:pt x="335797" y="85588"/>
                  </a:lnTo>
                  <a:lnTo>
                    <a:pt x="346697" y="93453"/>
                  </a:lnTo>
                  <a:lnTo>
                    <a:pt x="343466" y="99944"/>
                  </a:lnTo>
                  <a:lnTo>
                    <a:pt x="337002" y="102262"/>
                  </a:lnTo>
                  <a:lnTo>
                    <a:pt x="327008" y="93358"/>
                  </a:lnTo>
                  <a:lnTo>
                    <a:pt x="316902" y="78643"/>
                  </a:lnTo>
                  <a:lnTo>
                    <a:pt x="311938" y="61008"/>
                  </a:lnTo>
                  <a:close/>
                  <a:moveTo>
                    <a:pt x="257063" y="38100"/>
                  </a:moveTo>
                  <a:lnTo>
                    <a:pt x="261725" y="41897"/>
                  </a:lnTo>
                  <a:lnTo>
                    <a:pt x="261262" y="54727"/>
                  </a:lnTo>
                  <a:lnTo>
                    <a:pt x="253508" y="68853"/>
                  </a:lnTo>
                  <a:lnTo>
                    <a:pt x="241420" y="70757"/>
                  </a:lnTo>
                  <a:lnTo>
                    <a:pt x="237780" y="77251"/>
                  </a:lnTo>
                  <a:lnTo>
                    <a:pt x="225155" y="82880"/>
                  </a:lnTo>
                  <a:lnTo>
                    <a:pt x="213307" y="88302"/>
                  </a:lnTo>
                  <a:lnTo>
                    <a:pt x="201045" y="88273"/>
                  </a:lnTo>
                  <a:lnTo>
                    <a:pt x="182119" y="81543"/>
                  </a:lnTo>
                  <a:lnTo>
                    <a:pt x="168937" y="75083"/>
                  </a:lnTo>
                  <a:lnTo>
                    <a:pt x="170850" y="67920"/>
                  </a:lnTo>
                  <a:lnTo>
                    <a:pt x="191545" y="71300"/>
                  </a:lnTo>
                  <a:lnTo>
                    <a:pt x="204175" y="69489"/>
                  </a:lnTo>
                  <a:lnTo>
                    <a:pt x="207653" y="58393"/>
                  </a:lnTo>
                  <a:lnTo>
                    <a:pt x="210966" y="57820"/>
                  </a:lnTo>
                  <a:lnTo>
                    <a:pt x="213208" y="70107"/>
                  </a:lnTo>
                  <a:lnTo>
                    <a:pt x="226378" y="68339"/>
                  </a:lnTo>
                  <a:lnTo>
                    <a:pt x="232892" y="60420"/>
                  </a:lnTo>
                  <a:lnTo>
                    <a:pt x="245778" y="52169"/>
                  </a:lnTo>
                  <a:lnTo>
                    <a:pt x="243237" y="38540"/>
                  </a:lnTo>
                  <a:close/>
                  <a:moveTo>
                    <a:pt x="0" y="2313"/>
                  </a:moveTo>
                  <a:lnTo>
                    <a:pt x="40050" y="18231"/>
                  </a:lnTo>
                  <a:lnTo>
                    <a:pt x="82723" y="31457"/>
                  </a:lnTo>
                  <a:lnTo>
                    <a:pt x="98632" y="43302"/>
                  </a:lnTo>
                  <a:lnTo>
                    <a:pt x="111480" y="54931"/>
                  </a:lnTo>
                  <a:lnTo>
                    <a:pt x="114992" y="68565"/>
                  </a:lnTo>
                  <a:lnTo>
                    <a:pt x="153451" y="82878"/>
                  </a:lnTo>
                  <a:lnTo>
                    <a:pt x="159061" y="95168"/>
                  </a:lnTo>
                  <a:lnTo>
                    <a:pt x="137820" y="97664"/>
                  </a:lnTo>
                  <a:lnTo>
                    <a:pt x="142921" y="113120"/>
                  </a:lnTo>
                  <a:lnTo>
                    <a:pt x="163528" y="128353"/>
                  </a:lnTo>
                  <a:lnTo>
                    <a:pt x="178520" y="153010"/>
                  </a:lnTo>
                  <a:lnTo>
                    <a:pt x="191740" y="152237"/>
                  </a:lnTo>
                  <a:lnTo>
                    <a:pt x="190812" y="162548"/>
                  </a:lnTo>
                  <a:lnTo>
                    <a:pt x="208633" y="166506"/>
                  </a:lnTo>
                  <a:lnTo>
                    <a:pt x="201711" y="170901"/>
                  </a:lnTo>
                  <a:lnTo>
                    <a:pt x="226243" y="180710"/>
                  </a:lnTo>
                  <a:lnTo>
                    <a:pt x="223680" y="187453"/>
                  </a:lnTo>
                  <a:lnTo>
                    <a:pt x="208395" y="189081"/>
                  </a:lnTo>
                  <a:lnTo>
                    <a:pt x="202715" y="183032"/>
                  </a:lnTo>
                  <a:lnTo>
                    <a:pt x="182883" y="180412"/>
                  </a:lnTo>
                  <a:lnTo>
                    <a:pt x="159567" y="176903"/>
                  </a:lnTo>
                  <a:lnTo>
                    <a:pt x="141618" y="162037"/>
                  </a:lnTo>
                  <a:lnTo>
                    <a:pt x="128517" y="149238"/>
                  </a:lnTo>
                  <a:lnTo>
                    <a:pt x="116528" y="128894"/>
                  </a:lnTo>
                  <a:lnTo>
                    <a:pt x="86421" y="118739"/>
                  </a:lnTo>
                  <a:lnTo>
                    <a:pt x="66868" y="125362"/>
                  </a:lnTo>
                  <a:lnTo>
                    <a:pt x="52772" y="133032"/>
                  </a:lnTo>
                  <a:lnTo>
                    <a:pt x="55716" y="150181"/>
                  </a:lnTo>
                  <a:lnTo>
                    <a:pt x="37584" y="158181"/>
                  </a:lnTo>
                  <a:lnTo>
                    <a:pt x="24654" y="154288"/>
                  </a:lnTo>
                  <a:lnTo>
                    <a:pt x="777" y="153318"/>
                  </a:lnTo>
                  <a:lnTo>
                    <a:pt x="389" y="77674"/>
                  </a:lnTo>
                  <a:close/>
                  <a:moveTo>
                    <a:pt x="229437" y="0"/>
                  </a:moveTo>
                  <a:lnTo>
                    <a:pt x="241902" y="6467"/>
                  </a:lnTo>
                  <a:lnTo>
                    <a:pt x="249751" y="11549"/>
                  </a:lnTo>
                  <a:lnTo>
                    <a:pt x="259445" y="17095"/>
                  </a:lnTo>
                  <a:lnTo>
                    <a:pt x="268679" y="26801"/>
                  </a:lnTo>
                  <a:lnTo>
                    <a:pt x="277449" y="34198"/>
                  </a:lnTo>
                  <a:lnTo>
                    <a:pt x="280220" y="46222"/>
                  </a:lnTo>
                  <a:lnTo>
                    <a:pt x="273002" y="52385"/>
                  </a:lnTo>
                  <a:lnTo>
                    <a:pt x="268648" y="38733"/>
                  </a:lnTo>
                  <a:lnTo>
                    <a:pt x="263277" y="29800"/>
                  </a:lnTo>
                  <a:lnTo>
                    <a:pt x="252825" y="22226"/>
                  </a:lnTo>
                  <a:lnTo>
                    <a:pt x="239693" y="12368"/>
                  </a:lnTo>
                  <a:lnTo>
                    <a:pt x="223022" y="557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7" name="Freeform 131">
              <a:extLst>
                <a:ext uri="{FF2B5EF4-FFF2-40B4-BE49-F238E27FC236}">
                  <a16:creationId xmlns:a16="http://schemas.microsoft.com/office/drawing/2014/main" id="{9E668AA8-4290-493C-B833-F49DDE780601}"/>
                </a:ext>
              </a:extLst>
            </p:cNvPr>
            <p:cNvSpPr>
              <a:spLocks noChangeAspect="1"/>
            </p:cNvSpPr>
            <p:nvPr>
              <p:custDataLst>
                <p:tags r:id="rId137"/>
              </p:custDataLst>
            </p:nvPr>
          </p:nvSpPr>
          <p:spPr>
            <a:xfrm>
              <a:off x="4685564" y="3116120"/>
              <a:ext cx="229800" cy="179771"/>
            </a:xfrm>
            <a:custGeom>
              <a:avLst/>
              <a:gdLst/>
              <a:ahLst/>
              <a:cxnLst/>
              <a:rect l="0" t="0" r="0" b="0"/>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8" name="Freeform 132">
              <a:extLst>
                <a:ext uri="{FF2B5EF4-FFF2-40B4-BE49-F238E27FC236}">
                  <a16:creationId xmlns:a16="http://schemas.microsoft.com/office/drawing/2014/main" id="{316A4F83-6F5E-4DB0-AFB4-533B1C2606B2}"/>
                </a:ext>
              </a:extLst>
            </p:cNvPr>
            <p:cNvSpPr>
              <a:spLocks noChangeAspect="1"/>
            </p:cNvSpPr>
            <p:nvPr>
              <p:custDataLst>
                <p:tags r:id="rId138"/>
              </p:custDataLst>
            </p:nvPr>
          </p:nvSpPr>
          <p:spPr>
            <a:xfrm>
              <a:off x="7229070" y="3470184"/>
              <a:ext cx="150370" cy="145179"/>
            </a:xfrm>
            <a:custGeom>
              <a:avLst/>
              <a:gdLst/>
              <a:ahLst/>
              <a:cxnLst/>
              <a:rect l="0" t="0" r="0" b="0"/>
              <a:pathLst>
                <a:path w="150370" h="145179">
                  <a:moveTo>
                    <a:pt x="147138" y="16467"/>
                  </a:moveTo>
                  <a:lnTo>
                    <a:pt x="150369" y="21331"/>
                  </a:lnTo>
                  <a:lnTo>
                    <a:pt x="141598" y="19664"/>
                  </a:lnTo>
                  <a:lnTo>
                    <a:pt x="131578" y="29059"/>
                  </a:lnTo>
                  <a:lnTo>
                    <a:pt x="124686" y="38468"/>
                  </a:lnTo>
                  <a:lnTo>
                    <a:pt x="125559" y="58236"/>
                  </a:lnTo>
                  <a:lnTo>
                    <a:pt x="113624" y="64293"/>
                  </a:lnTo>
                  <a:lnTo>
                    <a:pt x="109522" y="69118"/>
                  </a:lnTo>
                  <a:lnTo>
                    <a:pt x="100819" y="77187"/>
                  </a:lnTo>
                  <a:lnTo>
                    <a:pt x="85447" y="81667"/>
                  </a:lnTo>
                  <a:lnTo>
                    <a:pt x="75429" y="88970"/>
                  </a:lnTo>
                  <a:lnTo>
                    <a:pt x="74707" y="100707"/>
                  </a:lnTo>
                  <a:lnTo>
                    <a:pt x="72013" y="103694"/>
                  </a:lnTo>
                  <a:lnTo>
                    <a:pt x="81198" y="108087"/>
                  </a:lnTo>
                  <a:lnTo>
                    <a:pt x="94271" y="119907"/>
                  </a:lnTo>
                  <a:lnTo>
                    <a:pt x="90948" y="126406"/>
                  </a:lnTo>
                  <a:lnTo>
                    <a:pt x="81122" y="128173"/>
                  </a:lnTo>
                  <a:lnTo>
                    <a:pt x="64808" y="129472"/>
                  </a:lnTo>
                  <a:lnTo>
                    <a:pt x="55816" y="141554"/>
                  </a:lnTo>
                  <a:lnTo>
                    <a:pt x="45512" y="140603"/>
                  </a:lnTo>
                  <a:lnTo>
                    <a:pt x="44067" y="143026"/>
                  </a:lnTo>
                  <a:lnTo>
                    <a:pt x="32857" y="137939"/>
                  </a:lnTo>
                  <a:lnTo>
                    <a:pt x="30072" y="142961"/>
                  </a:lnTo>
                  <a:lnTo>
                    <a:pt x="23306" y="145178"/>
                  </a:lnTo>
                  <a:lnTo>
                    <a:pt x="22493" y="140152"/>
                  </a:lnTo>
                  <a:lnTo>
                    <a:pt x="16513" y="137703"/>
                  </a:lnTo>
                  <a:lnTo>
                    <a:pt x="10307" y="133433"/>
                  </a:lnTo>
                  <a:lnTo>
                    <a:pt x="16627" y="121622"/>
                  </a:lnTo>
                  <a:lnTo>
                    <a:pt x="22074" y="118465"/>
                  </a:lnTo>
                  <a:lnTo>
                    <a:pt x="20018" y="113545"/>
                  </a:lnTo>
                  <a:lnTo>
                    <a:pt x="25875" y="98974"/>
                  </a:lnTo>
                  <a:lnTo>
                    <a:pt x="24363" y="94546"/>
                  </a:lnTo>
                  <a:lnTo>
                    <a:pt x="10891" y="91590"/>
                  </a:lnTo>
                  <a:lnTo>
                    <a:pt x="0" y="84305"/>
                  </a:lnTo>
                  <a:lnTo>
                    <a:pt x="18796" y="66810"/>
                  </a:lnTo>
                  <a:lnTo>
                    <a:pt x="44236" y="52071"/>
                  </a:lnTo>
                  <a:lnTo>
                    <a:pt x="60094" y="32513"/>
                  </a:lnTo>
                  <a:lnTo>
                    <a:pt x="71052" y="41172"/>
                  </a:lnTo>
                  <a:lnTo>
                    <a:pt x="91010" y="42175"/>
                  </a:lnTo>
                  <a:lnTo>
                    <a:pt x="87404" y="27592"/>
                  </a:lnTo>
                  <a:lnTo>
                    <a:pt x="123054" y="15633"/>
                  </a:lnTo>
                  <a:lnTo>
                    <a:pt x="13223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9" name="Freeform 133">
              <a:extLst>
                <a:ext uri="{FF2B5EF4-FFF2-40B4-BE49-F238E27FC236}">
                  <a16:creationId xmlns:a16="http://schemas.microsoft.com/office/drawing/2014/main" id="{2DA32E6E-D3FB-4FCC-AC1D-995D713EC72B}"/>
                </a:ext>
              </a:extLst>
            </p:cNvPr>
            <p:cNvSpPr>
              <a:spLocks noChangeAspect="1"/>
            </p:cNvSpPr>
            <p:nvPr>
              <p:custDataLst>
                <p:tags r:id="rId139"/>
              </p:custDataLst>
            </p:nvPr>
          </p:nvSpPr>
          <p:spPr>
            <a:xfrm>
              <a:off x="4140788" y="3489835"/>
              <a:ext cx="72422" cy="147628"/>
            </a:xfrm>
            <a:custGeom>
              <a:avLst/>
              <a:gdLst/>
              <a:ahLst/>
              <a:cxnLst/>
              <a:rect l="0" t="0" r="0" b="0"/>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0" name="Freeform 134">
              <a:extLst>
                <a:ext uri="{FF2B5EF4-FFF2-40B4-BE49-F238E27FC236}">
                  <a16:creationId xmlns:a16="http://schemas.microsoft.com/office/drawing/2014/main" id="{8D590B76-DF3F-49D2-BF26-6A3A4E4BBE15}"/>
                </a:ext>
              </a:extLst>
            </p:cNvPr>
            <p:cNvSpPr>
              <a:spLocks noChangeAspect="1"/>
            </p:cNvSpPr>
            <p:nvPr>
              <p:custDataLst>
                <p:tags r:id="rId140"/>
              </p:custDataLst>
            </p:nvPr>
          </p:nvSpPr>
          <p:spPr>
            <a:xfrm>
              <a:off x="5531992" y="3911357"/>
              <a:ext cx="19916" cy="38345"/>
            </a:xfrm>
            <a:custGeom>
              <a:avLst/>
              <a:gdLst/>
              <a:ahLst/>
              <a:cxnLst/>
              <a:rect l="0" t="0" r="0" b="0"/>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1" name="Freeform 135">
              <a:extLst>
                <a:ext uri="{FF2B5EF4-FFF2-40B4-BE49-F238E27FC236}">
                  <a16:creationId xmlns:a16="http://schemas.microsoft.com/office/drawing/2014/main" id="{453052CF-49F7-4756-9967-935537007BC5}"/>
                </a:ext>
              </a:extLst>
            </p:cNvPr>
            <p:cNvSpPr>
              <a:spLocks noChangeAspect="1"/>
            </p:cNvSpPr>
            <p:nvPr>
              <p:custDataLst>
                <p:tags r:id="rId141"/>
              </p:custDataLst>
            </p:nvPr>
          </p:nvSpPr>
          <p:spPr>
            <a:xfrm>
              <a:off x="4827423" y="3319811"/>
              <a:ext cx="217124" cy="130641"/>
            </a:xfrm>
            <a:custGeom>
              <a:avLst/>
              <a:gdLst/>
              <a:ahLst/>
              <a:cxnLst/>
              <a:rect l="0" t="0" r="0" b="0"/>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2" name="Freeform 136">
              <a:extLst>
                <a:ext uri="{FF2B5EF4-FFF2-40B4-BE49-F238E27FC236}">
                  <a16:creationId xmlns:a16="http://schemas.microsoft.com/office/drawing/2014/main" id="{C4A95D6E-095D-4318-90F1-2C20A0E594B3}"/>
                </a:ext>
              </a:extLst>
            </p:cNvPr>
            <p:cNvSpPr>
              <a:spLocks noChangeAspect="1"/>
            </p:cNvSpPr>
            <p:nvPr>
              <p:custDataLst>
                <p:tags r:id="rId142"/>
              </p:custDataLst>
            </p:nvPr>
          </p:nvSpPr>
          <p:spPr>
            <a:xfrm>
              <a:off x="4814506" y="2037516"/>
              <a:ext cx="3934206" cy="1483526"/>
            </a:xfrm>
            <a:custGeom>
              <a:avLst/>
              <a:gdLst/>
              <a:ahLst/>
              <a:cxnLst/>
              <a:rect l="l" t="t" r="r" b="b"/>
              <a:pathLst>
                <a:path w="3934206" h="1483526">
                  <a:moveTo>
                    <a:pt x="2839034" y="1094106"/>
                  </a:moveTo>
                  <a:lnTo>
                    <a:pt x="2845032" y="1115055"/>
                  </a:lnTo>
                  <a:lnTo>
                    <a:pt x="2853023" y="1145269"/>
                  </a:lnTo>
                  <a:lnTo>
                    <a:pt x="2852433" y="1175741"/>
                  </a:lnTo>
                  <a:lnTo>
                    <a:pt x="2861960" y="1206604"/>
                  </a:lnTo>
                  <a:lnTo>
                    <a:pt x="2885184" y="1259892"/>
                  </a:lnTo>
                  <a:lnTo>
                    <a:pt x="2851017" y="1250042"/>
                  </a:lnTo>
                  <a:lnTo>
                    <a:pt x="2836815" y="1292882"/>
                  </a:lnTo>
                  <a:lnTo>
                    <a:pt x="2859317" y="1322853"/>
                  </a:lnTo>
                  <a:lnTo>
                    <a:pt x="2858666" y="1343101"/>
                  </a:lnTo>
                  <a:lnTo>
                    <a:pt x="2841178" y="1325642"/>
                  </a:lnTo>
                  <a:lnTo>
                    <a:pt x="2826044" y="1348038"/>
                  </a:lnTo>
                  <a:lnTo>
                    <a:pt x="2821771" y="1323749"/>
                  </a:lnTo>
                  <a:lnTo>
                    <a:pt x="2824345" y="1295276"/>
                  </a:lnTo>
                  <a:lnTo>
                    <a:pt x="2821714" y="1263380"/>
                  </a:lnTo>
                  <a:lnTo>
                    <a:pt x="2827054" y="1240801"/>
                  </a:lnTo>
                  <a:lnTo>
                    <a:pt x="2828074" y="1200372"/>
                  </a:lnTo>
                  <a:lnTo>
                    <a:pt x="2814550" y="1170233"/>
                  </a:lnTo>
                  <a:lnTo>
                    <a:pt x="2816592" y="1127722"/>
                  </a:lnTo>
                  <a:lnTo>
                    <a:pt x="2837929" y="1113239"/>
                  </a:lnTo>
                  <a:lnTo>
                    <a:pt x="2828761" y="1098569"/>
                  </a:lnTo>
                  <a:close/>
                  <a:moveTo>
                    <a:pt x="37112" y="1067723"/>
                  </a:moveTo>
                  <a:lnTo>
                    <a:pt x="61286" y="1073353"/>
                  </a:lnTo>
                  <a:lnTo>
                    <a:pt x="71490" y="1078441"/>
                  </a:lnTo>
                  <a:lnTo>
                    <a:pt x="69026" y="1087196"/>
                  </a:lnTo>
                  <a:lnTo>
                    <a:pt x="70874" y="1095325"/>
                  </a:lnTo>
                  <a:lnTo>
                    <a:pt x="28428" y="1095803"/>
                  </a:lnTo>
                  <a:lnTo>
                    <a:pt x="0" y="1092189"/>
                  </a:lnTo>
                  <a:lnTo>
                    <a:pt x="5259" y="1078134"/>
                  </a:lnTo>
                  <a:close/>
                  <a:moveTo>
                    <a:pt x="3704019" y="465997"/>
                  </a:moveTo>
                  <a:lnTo>
                    <a:pt x="3723583" y="466086"/>
                  </a:lnTo>
                  <a:lnTo>
                    <a:pt x="3756969" y="478252"/>
                  </a:lnTo>
                  <a:lnTo>
                    <a:pt x="3754992" y="484040"/>
                  </a:lnTo>
                  <a:lnTo>
                    <a:pt x="3731212" y="494149"/>
                  </a:lnTo>
                  <a:lnTo>
                    <a:pt x="3701062" y="496705"/>
                  </a:lnTo>
                  <a:lnTo>
                    <a:pt x="3675749" y="498849"/>
                  </a:lnTo>
                  <a:lnTo>
                    <a:pt x="3671638" y="485475"/>
                  </a:lnTo>
                  <a:lnTo>
                    <a:pt x="3701062" y="467783"/>
                  </a:lnTo>
                  <a:close/>
                  <a:moveTo>
                    <a:pt x="2825352" y="365319"/>
                  </a:moveTo>
                  <a:lnTo>
                    <a:pt x="2858147" y="382421"/>
                  </a:lnTo>
                  <a:lnTo>
                    <a:pt x="2860941" y="394089"/>
                  </a:lnTo>
                  <a:lnTo>
                    <a:pt x="2825942" y="394399"/>
                  </a:lnTo>
                  <a:lnTo>
                    <a:pt x="2778635" y="389459"/>
                  </a:lnTo>
                  <a:lnTo>
                    <a:pt x="2774594" y="387110"/>
                  </a:lnTo>
                  <a:lnTo>
                    <a:pt x="2796490" y="369471"/>
                  </a:lnTo>
                  <a:close/>
                  <a:moveTo>
                    <a:pt x="2924525" y="290217"/>
                  </a:moveTo>
                  <a:lnTo>
                    <a:pt x="2967545" y="297259"/>
                  </a:lnTo>
                  <a:lnTo>
                    <a:pt x="3025469" y="309407"/>
                  </a:lnTo>
                  <a:lnTo>
                    <a:pt x="2998792" y="327599"/>
                  </a:lnTo>
                  <a:lnTo>
                    <a:pt x="2961895" y="323497"/>
                  </a:lnTo>
                  <a:lnTo>
                    <a:pt x="2919002" y="305289"/>
                  </a:lnTo>
                  <a:close/>
                  <a:moveTo>
                    <a:pt x="2750772" y="260076"/>
                  </a:moveTo>
                  <a:lnTo>
                    <a:pt x="2811723" y="262158"/>
                  </a:lnTo>
                  <a:lnTo>
                    <a:pt x="2895160" y="287140"/>
                  </a:lnTo>
                  <a:lnTo>
                    <a:pt x="2877010" y="321584"/>
                  </a:lnTo>
                  <a:lnTo>
                    <a:pt x="2791923" y="320311"/>
                  </a:lnTo>
                  <a:lnTo>
                    <a:pt x="2753643" y="331144"/>
                  </a:lnTo>
                  <a:lnTo>
                    <a:pt x="2707915" y="301173"/>
                  </a:lnTo>
                  <a:lnTo>
                    <a:pt x="2720319" y="268961"/>
                  </a:lnTo>
                  <a:close/>
                  <a:moveTo>
                    <a:pt x="1119427" y="221565"/>
                  </a:moveTo>
                  <a:lnTo>
                    <a:pt x="1135473" y="240603"/>
                  </a:lnTo>
                  <a:lnTo>
                    <a:pt x="1119970" y="255471"/>
                  </a:lnTo>
                  <a:lnTo>
                    <a:pt x="1038182" y="278925"/>
                  </a:lnTo>
                  <a:lnTo>
                    <a:pt x="967692" y="301210"/>
                  </a:lnTo>
                  <a:lnTo>
                    <a:pt x="895987" y="344926"/>
                  </a:lnTo>
                  <a:lnTo>
                    <a:pt x="861587" y="388743"/>
                  </a:lnTo>
                  <a:lnTo>
                    <a:pt x="825406" y="430972"/>
                  </a:lnTo>
                  <a:lnTo>
                    <a:pt x="830103" y="466723"/>
                  </a:lnTo>
                  <a:lnTo>
                    <a:pt x="874257" y="501393"/>
                  </a:lnTo>
                  <a:lnTo>
                    <a:pt x="860622" y="505066"/>
                  </a:lnTo>
                  <a:lnTo>
                    <a:pt x="785197" y="499624"/>
                  </a:lnTo>
                  <a:lnTo>
                    <a:pt x="779072" y="480913"/>
                  </a:lnTo>
                  <a:lnTo>
                    <a:pt x="737289" y="469528"/>
                  </a:lnTo>
                  <a:lnTo>
                    <a:pt x="733916" y="446390"/>
                  </a:lnTo>
                  <a:lnTo>
                    <a:pt x="757518" y="437122"/>
                  </a:lnTo>
                  <a:lnTo>
                    <a:pt x="756731" y="413368"/>
                  </a:lnTo>
                  <a:lnTo>
                    <a:pt x="802514" y="375627"/>
                  </a:lnTo>
                  <a:lnTo>
                    <a:pt x="781294" y="370154"/>
                  </a:lnTo>
                  <a:lnTo>
                    <a:pt x="836558" y="330412"/>
                  </a:lnTo>
                  <a:lnTo>
                    <a:pt x="830313" y="309530"/>
                  </a:lnTo>
                  <a:lnTo>
                    <a:pt x="881943" y="284949"/>
                  </a:lnTo>
                  <a:lnTo>
                    <a:pt x="958148" y="254602"/>
                  </a:lnTo>
                  <a:lnTo>
                    <a:pt x="1034974" y="245669"/>
                  </a:lnTo>
                  <a:lnTo>
                    <a:pt x="1074506" y="227850"/>
                  </a:lnTo>
                  <a:close/>
                  <a:moveTo>
                    <a:pt x="1954894" y="184460"/>
                  </a:moveTo>
                  <a:lnTo>
                    <a:pt x="1994481" y="200407"/>
                  </a:lnTo>
                  <a:lnTo>
                    <a:pt x="1963051" y="212448"/>
                  </a:lnTo>
                  <a:lnTo>
                    <a:pt x="2015337" y="219893"/>
                  </a:lnTo>
                  <a:lnTo>
                    <a:pt x="2021566" y="243709"/>
                  </a:lnTo>
                  <a:lnTo>
                    <a:pt x="2042658" y="232019"/>
                  </a:lnTo>
                  <a:lnTo>
                    <a:pt x="2110140" y="232662"/>
                  </a:lnTo>
                  <a:lnTo>
                    <a:pt x="2162174" y="256013"/>
                  </a:lnTo>
                  <a:lnTo>
                    <a:pt x="2180702" y="273753"/>
                  </a:lnTo>
                  <a:lnTo>
                    <a:pt x="2174959" y="298099"/>
                  </a:lnTo>
                  <a:lnTo>
                    <a:pt x="2149425" y="311820"/>
                  </a:lnTo>
                  <a:lnTo>
                    <a:pt x="2088765" y="337297"/>
                  </a:lnTo>
                  <a:lnTo>
                    <a:pt x="2071424" y="350778"/>
                  </a:lnTo>
                  <a:lnTo>
                    <a:pt x="2100047" y="357105"/>
                  </a:lnTo>
                  <a:lnTo>
                    <a:pt x="2134191" y="368454"/>
                  </a:lnTo>
                  <a:lnTo>
                    <a:pt x="2154973" y="359949"/>
                  </a:lnTo>
                  <a:lnTo>
                    <a:pt x="2166746" y="388654"/>
                  </a:lnTo>
                  <a:lnTo>
                    <a:pt x="2176885" y="377086"/>
                  </a:lnTo>
                  <a:lnTo>
                    <a:pt x="2213793" y="370018"/>
                  </a:lnTo>
                  <a:lnTo>
                    <a:pt x="2287855" y="377406"/>
                  </a:lnTo>
                  <a:lnTo>
                    <a:pt x="2293479" y="398177"/>
                  </a:lnTo>
                  <a:lnTo>
                    <a:pt x="2389980" y="404738"/>
                  </a:lnTo>
                  <a:lnTo>
                    <a:pt x="2391299" y="370817"/>
                  </a:lnTo>
                  <a:lnTo>
                    <a:pt x="2440285" y="378643"/>
                  </a:lnTo>
                  <a:lnTo>
                    <a:pt x="2477136" y="378398"/>
                  </a:lnTo>
                  <a:lnTo>
                    <a:pt x="2514410" y="401764"/>
                  </a:lnTo>
                  <a:lnTo>
                    <a:pt x="2525035" y="429779"/>
                  </a:lnTo>
                  <a:lnTo>
                    <a:pt x="2511380" y="447893"/>
                  </a:lnTo>
                  <a:lnTo>
                    <a:pt x="2540372" y="481490"/>
                  </a:lnTo>
                  <a:lnTo>
                    <a:pt x="2576671" y="498604"/>
                  </a:lnTo>
                  <a:lnTo>
                    <a:pt x="2598944" y="454071"/>
                  </a:lnTo>
                  <a:lnTo>
                    <a:pt x="2635972" y="473287"/>
                  </a:lnTo>
                  <a:lnTo>
                    <a:pt x="2675312" y="461827"/>
                  </a:lnTo>
                  <a:lnTo>
                    <a:pt x="2719990" y="474935"/>
                  </a:lnTo>
                  <a:lnTo>
                    <a:pt x="2736992" y="462990"/>
                  </a:lnTo>
                  <a:lnTo>
                    <a:pt x="2774749" y="468972"/>
                  </a:lnTo>
                  <a:lnTo>
                    <a:pt x="2758086" y="429020"/>
                  </a:lnTo>
                  <a:lnTo>
                    <a:pt x="2788561" y="410093"/>
                  </a:lnTo>
                  <a:lnTo>
                    <a:pt x="2997039" y="438397"/>
                  </a:lnTo>
                  <a:lnTo>
                    <a:pt x="3016687" y="463913"/>
                  </a:lnTo>
                  <a:lnTo>
                    <a:pt x="3077111" y="496285"/>
                  </a:lnTo>
                  <a:lnTo>
                    <a:pt x="3170319" y="488320"/>
                  </a:lnTo>
                  <a:lnTo>
                    <a:pt x="3216274" y="495255"/>
                  </a:lnTo>
                  <a:lnTo>
                    <a:pt x="3235491" y="512560"/>
                  </a:lnTo>
                  <a:lnTo>
                    <a:pt x="3232682" y="542801"/>
                  </a:lnTo>
                  <a:lnTo>
                    <a:pt x="3261118" y="554452"/>
                  </a:lnTo>
                  <a:lnTo>
                    <a:pt x="3292014" y="546079"/>
                  </a:lnTo>
                  <a:lnTo>
                    <a:pt x="3332949" y="545006"/>
                  </a:lnTo>
                  <a:lnTo>
                    <a:pt x="3376527" y="553035"/>
                  </a:lnTo>
                  <a:lnTo>
                    <a:pt x="3420276" y="548510"/>
                  </a:lnTo>
                  <a:lnTo>
                    <a:pt x="3460486" y="584562"/>
                  </a:lnTo>
                  <a:lnTo>
                    <a:pt x="3489090" y="571664"/>
                  </a:lnTo>
                  <a:lnTo>
                    <a:pt x="3470424" y="545640"/>
                  </a:lnTo>
                  <a:lnTo>
                    <a:pt x="3480701" y="527348"/>
                  </a:lnTo>
                  <a:lnTo>
                    <a:pt x="3554345" y="538880"/>
                  </a:lnTo>
                  <a:lnTo>
                    <a:pt x="3602361" y="536418"/>
                  </a:lnTo>
                  <a:lnTo>
                    <a:pt x="3668746" y="555972"/>
                  </a:lnTo>
                  <a:lnTo>
                    <a:pt x="3701062" y="573686"/>
                  </a:lnTo>
                  <a:lnTo>
                    <a:pt x="3757613" y="604316"/>
                  </a:lnTo>
                  <a:lnTo>
                    <a:pt x="3818130" y="643510"/>
                  </a:lnTo>
                  <a:lnTo>
                    <a:pt x="3816145" y="667638"/>
                  </a:lnTo>
                  <a:lnTo>
                    <a:pt x="3831713" y="677218"/>
                  </a:lnTo>
                  <a:lnTo>
                    <a:pt x="3826358" y="649113"/>
                  </a:lnTo>
                  <a:lnTo>
                    <a:pt x="3889016" y="654912"/>
                  </a:lnTo>
                  <a:lnTo>
                    <a:pt x="3934206" y="690938"/>
                  </a:lnTo>
                  <a:lnTo>
                    <a:pt x="3911320" y="707505"/>
                  </a:lnTo>
                  <a:lnTo>
                    <a:pt x="3873483" y="711419"/>
                  </a:lnTo>
                  <a:lnTo>
                    <a:pt x="3872912" y="748022"/>
                  </a:lnTo>
                  <a:lnTo>
                    <a:pt x="3863671" y="755735"/>
                  </a:lnTo>
                  <a:lnTo>
                    <a:pt x="3842054" y="754628"/>
                  </a:lnTo>
                  <a:lnTo>
                    <a:pt x="3824463" y="741682"/>
                  </a:lnTo>
                  <a:lnTo>
                    <a:pt x="3793772" y="730791"/>
                  </a:lnTo>
                  <a:lnTo>
                    <a:pt x="3788611" y="714487"/>
                  </a:lnTo>
                  <a:lnTo>
                    <a:pt x="3765169" y="708305"/>
                  </a:lnTo>
                  <a:lnTo>
                    <a:pt x="3738918" y="713209"/>
                  </a:lnTo>
                  <a:lnTo>
                    <a:pt x="3726376" y="699955"/>
                  </a:lnTo>
                  <a:lnTo>
                    <a:pt x="3731389" y="685785"/>
                  </a:lnTo>
                  <a:lnTo>
                    <a:pt x="3703744" y="694853"/>
                  </a:lnTo>
                  <a:lnTo>
                    <a:pt x="3714156" y="712696"/>
                  </a:lnTo>
                  <a:lnTo>
                    <a:pt x="3701062" y="728662"/>
                  </a:lnTo>
                  <a:lnTo>
                    <a:pt x="3700896" y="728864"/>
                  </a:lnTo>
                  <a:lnTo>
                    <a:pt x="3671220" y="745267"/>
                  </a:lnTo>
                  <a:lnTo>
                    <a:pt x="3641306" y="742540"/>
                  </a:lnTo>
                  <a:lnTo>
                    <a:pt x="3662121" y="762266"/>
                  </a:lnTo>
                  <a:lnTo>
                    <a:pt x="3675861" y="792443"/>
                  </a:lnTo>
                  <a:lnTo>
                    <a:pt x="3686527" y="802216"/>
                  </a:lnTo>
                  <a:lnTo>
                    <a:pt x="3689205" y="817140"/>
                  </a:lnTo>
                  <a:lnTo>
                    <a:pt x="3683247" y="826641"/>
                  </a:lnTo>
                  <a:lnTo>
                    <a:pt x="3640222" y="818831"/>
                  </a:lnTo>
                  <a:lnTo>
                    <a:pt x="3575706" y="845705"/>
                  </a:lnTo>
                  <a:lnTo>
                    <a:pt x="3555181" y="849836"/>
                  </a:lnTo>
                  <a:lnTo>
                    <a:pt x="3519862" y="874577"/>
                  </a:lnTo>
                  <a:lnTo>
                    <a:pt x="3486358" y="895966"/>
                  </a:lnTo>
                  <a:lnTo>
                    <a:pt x="3477871" y="911668"/>
                  </a:lnTo>
                  <a:lnTo>
                    <a:pt x="3444854" y="887719"/>
                  </a:lnTo>
                  <a:lnTo>
                    <a:pt x="3384713" y="914876"/>
                  </a:lnTo>
                  <a:lnTo>
                    <a:pt x="3374210" y="902067"/>
                  </a:lnTo>
                  <a:lnTo>
                    <a:pt x="3351976" y="916833"/>
                  </a:lnTo>
                  <a:lnTo>
                    <a:pt x="3321104" y="912118"/>
                  </a:lnTo>
                  <a:lnTo>
                    <a:pt x="3313667" y="934646"/>
                  </a:lnTo>
                  <a:lnTo>
                    <a:pt x="3285973" y="967389"/>
                  </a:lnTo>
                  <a:lnTo>
                    <a:pt x="3286795" y="980926"/>
                  </a:lnTo>
                  <a:lnTo>
                    <a:pt x="3313085" y="988396"/>
                  </a:lnTo>
                  <a:lnTo>
                    <a:pt x="3309993" y="1036350"/>
                  </a:lnTo>
                  <a:lnTo>
                    <a:pt x="3288564" y="1037557"/>
                  </a:lnTo>
                  <a:lnTo>
                    <a:pt x="3278682" y="1064659"/>
                  </a:lnTo>
                  <a:lnTo>
                    <a:pt x="3288285" y="1078488"/>
                  </a:lnTo>
                  <a:lnTo>
                    <a:pt x="3247919" y="1094791"/>
                  </a:lnTo>
                  <a:lnTo>
                    <a:pt x="3239909" y="1130839"/>
                  </a:lnTo>
                  <a:lnTo>
                    <a:pt x="3205498" y="1138470"/>
                  </a:lnTo>
                  <a:lnTo>
                    <a:pt x="3198578" y="1170009"/>
                  </a:lnTo>
                  <a:lnTo>
                    <a:pt x="3165307" y="1198582"/>
                  </a:lnTo>
                  <a:lnTo>
                    <a:pt x="3156772" y="1177484"/>
                  </a:lnTo>
                  <a:lnTo>
                    <a:pt x="3146888" y="1132205"/>
                  </a:lnTo>
                  <a:lnTo>
                    <a:pt x="3134004" y="1061586"/>
                  </a:lnTo>
                  <a:lnTo>
                    <a:pt x="3145101" y="1016420"/>
                  </a:lnTo>
                  <a:lnTo>
                    <a:pt x="3164577" y="996713"/>
                  </a:lnTo>
                  <a:lnTo>
                    <a:pt x="3165782" y="981162"/>
                  </a:lnTo>
                  <a:lnTo>
                    <a:pt x="3201652" y="973680"/>
                  </a:lnTo>
                  <a:lnTo>
                    <a:pt x="3242885" y="931107"/>
                  </a:lnTo>
                  <a:lnTo>
                    <a:pt x="3282620" y="895730"/>
                  </a:lnTo>
                  <a:lnTo>
                    <a:pt x="3324114" y="867882"/>
                  </a:lnTo>
                  <a:lnTo>
                    <a:pt x="3342670" y="817799"/>
                  </a:lnTo>
                  <a:lnTo>
                    <a:pt x="3314621" y="820828"/>
                  </a:lnTo>
                  <a:lnTo>
                    <a:pt x="3300759" y="850194"/>
                  </a:lnTo>
                  <a:lnTo>
                    <a:pt x="3242211" y="888739"/>
                  </a:lnTo>
                  <a:lnTo>
                    <a:pt x="3223303" y="845534"/>
                  </a:lnTo>
                  <a:lnTo>
                    <a:pt x="3163712" y="857549"/>
                  </a:lnTo>
                  <a:lnTo>
                    <a:pt x="3105945" y="915920"/>
                  </a:lnTo>
                  <a:lnTo>
                    <a:pt x="3125005" y="936897"/>
                  </a:lnTo>
                  <a:lnTo>
                    <a:pt x="3073486" y="945769"/>
                  </a:lnTo>
                  <a:lnTo>
                    <a:pt x="3037797" y="949258"/>
                  </a:lnTo>
                  <a:lnTo>
                    <a:pt x="3039469" y="924640"/>
                  </a:lnTo>
                  <a:lnTo>
                    <a:pt x="3003589" y="919438"/>
                  </a:lnTo>
                  <a:lnTo>
                    <a:pt x="2974991" y="936232"/>
                  </a:lnTo>
                  <a:lnTo>
                    <a:pt x="2904413" y="930370"/>
                  </a:lnTo>
                  <a:lnTo>
                    <a:pt x="2828485" y="940468"/>
                  </a:lnTo>
                  <a:lnTo>
                    <a:pt x="2753713" y="1005870"/>
                  </a:lnTo>
                  <a:lnTo>
                    <a:pt x="2665253" y="1082505"/>
                  </a:lnTo>
                  <a:lnTo>
                    <a:pt x="2701620" y="1086531"/>
                  </a:lnTo>
                  <a:lnTo>
                    <a:pt x="2712971" y="1106437"/>
                  </a:lnTo>
                  <a:lnTo>
                    <a:pt x="2735390" y="1113464"/>
                  </a:lnTo>
                  <a:lnTo>
                    <a:pt x="2750161" y="1097645"/>
                  </a:lnTo>
                  <a:lnTo>
                    <a:pt x="2775481" y="1099705"/>
                  </a:lnTo>
                  <a:lnTo>
                    <a:pt x="2808808" y="1134378"/>
                  </a:lnTo>
                  <a:lnTo>
                    <a:pt x="2809590" y="1160859"/>
                  </a:lnTo>
                  <a:lnTo>
                    <a:pt x="2791544" y="1191601"/>
                  </a:lnTo>
                  <a:lnTo>
                    <a:pt x="2789597" y="1227858"/>
                  </a:lnTo>
                  <a:lnTo>
                    <a:pt x="2779184" y="1275618"/>
                  </a:lnTo>
                  <a:lnTo>
                    <a:pt x="2744393" y="1318111"/>
                  </a:lnTo>
                  <a:lnTo>
                    <a:pt x="2736660" y="1338188"/>
                  </a:lnTo>
                  <a:lnTo>
                    <a:pt x="2705328" y="1371661"/>
                  </a:lnTo>
                  <a:lnTo>
                    <a:pt x="2674237" y="1404458"/>
                  </a:lnTo>
                  <a:lnTo>
                    <a:pt x="2659326" y="1421097"/>
                  </a:lnTo>
                  <a:lnTo>
                    <a:pt x="2628567" y="1437527"/>
                  </a:lnTo>
                  <a:lnTo>
                    <a:pt x="2614012" y="1437890"/>
                  </a:lnTo>
                  <a:lnTo>
                    <a:pt x="2599512" y="1424286"/>
                  </a:lnTo>
                  <a:lnTo>
                    <a:pt x="2568530" y="1444743"/>
                  </a:lnTo>
                  <a:lnTo>
                    <a:pt x="2564932" y="1453998"/>
                  </a:lnTo>
                  <a:lnTo>
                    <a:pt x="2561700" y="1449134"/>
                  </a:lnTo>
                  <a:lnTo>
                    <a:pt x="2561559" y="1434970"/>
                  </a:lnTo>
                  <a:lnTo>
                    <a:pt x="2573350" y="1434216"/>
                  </a:lnTo>
                  <a:lnTo>
                    <a:pt x="2576671" y="1400995"/>
                  </a:lnTo>
                  <a:lnTo>
                    <a:pt x="2570592" y="1376672"/>
                  </a:lnTo>
                  <a:lnTo>
                    <a:pt x="2590402" y="1366580"/>
                  </a:lnTo>
                  <a:lnTo>
                    <a:pt x="2618418" y="1371644"/>
                  </a:lnTo>
                  <a:lnTo>
                    <a:pt x="2633941" y="1343707"/>
                  </a:lnTo>
                  <a:lnTo>
                    <a:pt x="2641851" y="1311903"/>
                  </a:lnTo>
                  <a:lnTo>
                    <a:pt x="2650818" y="1301195"/>
                  </a:lnTo>
                  <a:lnTo>
                    <a:pt x="2662948" y="1274684"/>
                  </a:lnTo>
                  <a:lnTo>
                    <a:pt x="2624799" y="1283399"/>
                  </a:lnTo>
                  <a:lnTo>
                    <a:pt x="2604788" y="1295016"/>
                  </a:lnTo>
                  <a:lnTo>
                    <a:pt x="2569716" y="1294982"/>
                  </a:lnTo>
                  <a:lnTo>
                    <a:pt x="2560368" y="1267228"/>
                  </a:lnTo>
                  <a:lnTo>
                    <a:pt x="2533027" y="1246032"/>
                  </a:lnTo>
                  <a:lnTo>
                    <a:pt x="2492854" y="1236444"/>
                  </a:lnTo>
                  <a:lnTo>
                    <a:pt x="2484314" y="1206841"/>
                  </a:lnTo>
                  <a:lnTo>
                    <a:pt x="2476275" y="1188105"/>
                  </a:lnTo>
                  <a:lnTo>
                    <a:pt x="2467624" y="1174891"/>
                  </a:lnTo>
                  <a:lnTo>
                    <a:pt x="2453359" y="1143647"/>
                  </a:lnTo>
                  <a:lnTo>
                    <a:pt x="2433089" y="1132140"/>
                  </a:lnTo>
                  <a:lnTo>
                    <a:pt x="2398540" y="1122796"/>
                  </a:lnTo>
                  <a:lnTo>
                    <a:pt x="2367938" y="1123647"/>
                  </a:lnTo>
                  <a:lnTo>
                    <a:pt x="2339255" y="1129308"/>
                  </a:lnTo>
                  <a:lnTo>
                    <a:pt x="2320189" y="1144860"/>
                  </a:lnTo>
                  <a:lnTo>
                    <a:pt x="2332854" y="1152255"/>
                  </a:lnTo>
                  <a:lnTo>
                    <a:pt x="2333140" y="1169348"/>
                  </a:lnTo>
                  <a:lnTo>
                    <a:pt x="2320303" y="1179219"/>
                  </a:lnTo>
                  <a:lnTo>
                    <a:pt x="2299467" y="1211605"/>
                  </a:lnTo>
                  <a:lnTo>
                    <a:pt x="2299677" y="1224921"/>
                  </a:lnTo>
                  <a:lnTo>
                    <a:pt x="2267148" y="1243924"/>
                  </a:lnTo>
                  <a:lnTo>
                    <a:pt x="2239438" y="1232587"/>
                  </a:lnTo>
                  <a:lnTo>
                    <a:pt x="2211898" y="1235094"/>
                  </a:lnTo>
                  <a:lnTo>
                    <a:pt x="2199813" y="1225001"/>
                  </a:lnTo>
                  <a:lnTo>
                    <a:pt x="2185971" y="1221738"/>
                  </a:lnTo>
                  <a:lnTo>
                    <a:pt x="2152162" y="1242947"/>
                  </a:lnTo>
                  <a:lnTo>
                    <a:pt x="2121773" y="1247906"/>
                  </a:lnTo>
                  <a:lnTo>
                    <a:pt x="2100555" y="1255310"/>
                  </a:lnTo>
                  <a:lnTo>
                    <a:pt x="2071481" y="1250448"/>
                  </a:lnTo>
                  <a:lnTo>
                    <a:pt x="2050076" y="1250759"/>
                  </a:lnTo>
                  <a:lnTo>
                    <a:pt x="2036066" y="1235439"/>
                  </a:lnTo>
                  <a:lnTo>
                    <a:pt x="2013459" y="1220952"/>
                  </a:lnTo>
                  <a:lnTo>
                    <a:pt x="1990326" y="1216967"/>
                  </a:lnTo>
                  <a:lnTo>
                    <a:pt x="1961125" y="1220921"/>
                  </a:lnTo>
                  <a:lnTo>
                    <a:pt x="1939312" y="1226518"/>
                  </a:lnTo>
                  <a:lnTo>
                    <a:pt x="1906519" y="1213800"/>
                  </a:lnTo>
                  <a:lnTo>
                    <a:pt x="1902118" y="1190981"/>
                  </a:lnTo>
                  <a:lnTo>
                    <a:pt x="1874978" y="1183110"/>
                  </a:lnTo>
                  <a:lnTo>
                    <a:pt x="1854025" y="1179512"/>
                  </a:lnTo>
                  <a:lnTo>
                    <a:pt x="1828167" y="1166778"/>
                  </a:lnTo>
                  <a:lnTo>
                    <a:pt x="1804260" y="1198584"/>
                  </a:lnTo>
                  <a:lnTo>
                    <a:pt x="1813631" y="1216471"/>
                  </a:lnTo>
                  <a:lnTo>
                    <a:pt x="1791195" y="1237472"/>
                  </a:lnTo>
                  <a:lnTo>
                    <a:pt x="1757824" y="1229910"/>
                  </a:lnTo>
                  <a:lnTo>
                    <a:pt x="1734785" y="1228826"/>
                  </a:lnTo>
                  <a:lnTo>
                    <a:pt x="1719357" y="1214710"/>
                  </a:lnTo>
                  <a:lnTo>
                    <a:pt x="1695274" y="1214263"/>
                  </a:lnTo>
                  <a:lnTo>
                    <a:pt x="1675203" y="1204944"/>
                  </a:lnTo>
                  <a:lnTo>
                    <a:pt x="1640094" y="1219213"/>
                  </a:lnTo>
                  <a:lnTo>
                    <a:pt x="1596050" y="1245136"/>
                  </a:lnTo>
                  <a:lnTo>
                    <a:pt x="1571714" y="1250321"/>
                  </a:lnTo>
                  <a:lnTo>
                    <a:pt x="1562681" y="1252777"/>
                  </a:lnTo>
                  <a:lnTo>
                    <a:pt x="1550433" y="1234448"/>
                  </a:lnTo>
                  <a:lnTo>
                    <a:pt x="1520701" y="1238469"/>
                  </a:lnTo>
                  <a:lnTo>
                    <a:pt x="1510874" y="1225694"/>
                  </a:lnTo>
                  <a:lnTo>
                    <a:pt x="1494735" y="1219830"/>
                  </a:lnTo>
                  <a:lnTo>
                    <a:pt x="1483626" y="1202294"/>
                  </a:lnTo>
                  <a:lnTo>
                    <a:pt x="1470882" y="1196809"/>
                  </a:lnTo>
                  <a:lnTo>
                    <a:pt x="1437712" y="1204640"/>
                  </a:lnTo>
                  <a:lnTo>
                    <a:pt x="1405914" y="1187050"/>
                  </a:lnTo>
                  <a:lnTo>
                    <a:pt x="1393614" y="1203040"/>
                  </a:lnTo>
                  <a:lnTo>
                    <a:pt x="1342033" y="1124505"/>
                  </a:lnTo>
                  <a:lnTo>
                    <a:pt x="1312585" y="1100108"/>
                  </a:lnTo>
                  <a:lnTo>
                    <a:pt x="1321032" y="1090136"/>
                  </a:lnTo>
                  <a:lnTo>
                    <a:pt x="1263180" y="1120026"/>
                  </a:lnTo>
                  <a:lnTo>
                    <a:pt x="1241041" y="1121820"/>
                  </a:lnTo>
                  <a:lnTo>
                    <a:pt x="1242953" y="1104591"/>
                  </a:lnTo>
                  <a:lnTo>
                    <a:pt x="1213306" y="1093763"/>
                  </a:lnTo>
                  <a:lnTo>
                    <a:pt x="1189208" y="1101495"/>
                  </a:lnTo>
                  <a:lnTo>
                    <a:pt x="1181939" y="1068391"/>
                  </a:lnTo>
                  <a:lnTo>
                    <a:pt x="1140458" y="1061449"/>
                  </a:lnTo>
                  <a:lnTo>
                    <a:pt x="1119705" y="1074794"/>
                  </a:lnTo>
                  <a:lnTo>
                    <a:pt x="1061947" y="1086605"/>
                  </a:lnTo>
                  <a:lnTo>
                    <a:pt x="1050675" y="1094476"/>
                  </a:lnTo>
                  <a:lnTo>
                    <a:pt x="964301" y="1105521"/>
                  </a:lnTo>
                  <a:lnTo>
                    <a:pt x="953716" y="1116304"/>
                  </a:lnTo>
                  <a:lnTo>
                    <a:pt x="970380" y="1137804"/>
                  </a:lnTo>
                  <a:lnTo>
                    <a:pt x="948221" y="1145916"/>
                  </a:lnTo>
                  <a:lnTo>
                    <a:pt x="952544" y="1154387"/>
                  </a:lnTo>
                  <a:lnTo>
                    <a:pt x="930390" y="1169462"/>
                  </a:lnTo>
                  <a:lnTo>
                    <a:pt x="967795" y="1190592"/>
                  </a:lnTo>
                  <a:lnTo>
                    <a:pt x="962011" y="1205039"/>
                  </a:lnTo>
                  <a:lnTo>
                    <a:pt x="929589" y="1203727"/>
                  </a:lnTo>
                  <a:lnTo>
                    <a:pt x="922883" y="1212742"/>
                  </a:lnTo>
                  <a:lnTo>
                    <a:pt x="893361" y="1196978"/>
                  </a:lnTo>
                  <a:lnTo>
                    <a:pt x="856767" y="1197591"/>
                  </a:lnTo>
                  <a:lnTo>
                    <a:pt x="832275" y="1210428"/>
                  </a:lnTo>
                  <a:lnTo>
                    <a:pt x="804944" y="1198119"/>
                  </a:lnTo>
                  <a:lnTo>
                    <a:pt x="754066" y="1176910"/>
                  </a:lnTo>
                  <a:lnTo>
                    <a:pt x="718010" y="1177706"/>
                  </a:lnTo>
                  <a:lnTo>
                    <a:pt x="670361" y="1210931"/>
                  </a:lnTo>
                  <a:lnTo>
                    <a:pt x="667486" y="1233002"/>
                  </a:lnTo>
                  <a:lnTo>
                    <a:pt x="643749" y="1215493"/>
                  </a:lnTo>
                  <a:lnTo>
                    <a:pt x="625332" y="1248563"/>
                  </a:lnTo>
                  <a:lnTo>
                    <a:pt x="632073" y="1254656"/>
                  </a:lnTo>
                  <a:lnTo>
                    <a:pt x="618749" y="1277173"/>
                  </a:lnTo>
                  <a:lnTo>
                    <a:pt x="638342" y="1297164"/>
                  </a:lnTo>
                  <a:lnTo>
                    <a:pt x="655470" y="1296344"/>
                  </a:lnTo>
                  <a:lnTo>
                    <a:pt x="670184" y="1315896"/>
                  </a:lnTo>
                  <a:lnTo>
                    <a:pt x="667842" y="1330859"/>
                  </a:lnTo>
                  <a:lnTo>
                    <a:pt x="679565" y="1335544"/>
                  </a:lnTo>
                  <a:lnTo>
                    <a:pt x="669046" y="1352658"/>
                  </a:lnTo>
                  <a:lnTo>
                    <a:pt x="646667" y="1357396"/>
                  </a:lnTo>
                  <a:lnTo>
                    <a:pt x="623725" y="1386886"/>
                  </a:lnTo>
                  <a:lnTo>
                    <a:pt x="644706" y="1413731"/>
                  </a:lnTo>
                  <a:lnTo>
                    <a:pt x="642434" y="1432633"/>
                  </a:lnTo>
                  <a:lnTo>
                    <a:pt x="667637" y="1465393"/>
                  </a:lnTo>
                  <a:lnTo>
                    <a:pt x="653854" y="1476522"/>
                  </a:lnTo>
                  <a:lnTo>
                    <a:pt x="649893" y="1483526"/>
                  </a:lnTo>
                  <a:lnTo>
                    <a:pt x="639682" y="1481647"/>
                  </a:lnTo>
                  <a:lnTo>
                    <a:pt x="623819" y="1464888"/>
                  </a:lnTo>
                  <a:lnTo>
                    <a:pt x="617330" y="1463960"/>
                  </a:lnTo>
                  <a:lnTo>
                    <a:pt x="602821" y="1457538"/>
                  </a:lnTo>
                  <a:lnTo>
                    <a:pt x="595755" y="1446135"/>
                  </a:lnTo>
                  <a:lnTo>
                    <a:pt x="574227" y="1440304"/>
                  </a:lnTo>
                  <a:lnTo>
                    <a:pt x="560229" y="1444682"/>
                  </a:lnTo>
                  <a:lnTo>
                    <a:pt x="556185" y="1439499"/>
                  </a:lnTo>
                  <a:lnTo>
                    <a:pt x="524756" y="1426089"/>
                  </a:lnTo>
                  <a:lnTo>
                    <a:pt x="490773" y="1421547"/>
                  </a:lnTo>
                  <a:lnTo>
                    <a:pt x="471263" y="1416743"/>
                  </a:lnTo>
                  <a:lnTo>
                    <a:pt x="468448" y="1420063"/>
                  </a:lnTo>
                  <a:lnTo>
                    <a:pt x="439017" y="1396227"/>
                  </a:lnTo>
                  <a:lnTo>
                    <a:pt x="412683" y="1385522"/>
                  </a:lnTo>
                  <a:lnTo>
                    <a:pt x="392747" y="1368768"/>
                  </a:lnTo>
                  <a:lnTo>
                    <a:pt x="409545" y="1364193"/>
                  </a:lnTo>
                  <a:lnTo>
                    <a:pt x="428698" y="1340128"/>
                  </a:lnTo>
                  <a:lnTo>
                    <a:pt x="415790" y="1328668"/>
                  </a:lnTo>
                  <a:lnTo>
                    <a:pt x="449812" y="1316796"/>
                  </a:lnTo>
                  <a:lnTo>
                    <a:pt x="449202" y="1310417"/>
                  </a:lnTo>
                  <a:lnTo>
                    <a:pt x="428481" y="1315122"/>
                  </a:lnTo>
                  <a:lnTo>
                    <a:pt x="429210" y="1302134"/>
                  </a:lnTo>
                  <a:lnTo>
                    <a:pt x="441108" y="1293939"/>
                  </a:lnTo>
                  <a:lnTo>
                    <a:pt x="463445" y="1291782"/>
                  </a:lnTo>
                  <a:lnTo>
                    <a:pt x="467077" y="1281953"/>
                  </a:lnTo>
                  <a:lnTo>
                    <a:pt x="461976" y="1265620"/>
                  </a:lnTo>
                  <a:lnTo>
                    <a:pt x="471351" y="1250015"/>
                  </a:lnTo>
                  <a:lnTo>
                    <a:pt x="471080" y="1241224"/>
                  </a:lnTo>
                  <a:lnTo>
                    <a:pt x="437055" y="1231445"/>
                  </a:lnTo>
                  <a:lnTo>
                    <a:pt x="423567" y="1231771"/>
                  </a:lnTo>
                  <a:lnTo>
                    <a:pt x="409321" y="1217635"/>
                  </a:lnTo>
                  <a:lnTo>
                    <a:pt x="391609" y="1222424"/>
                  </a:lnTo>
                  <a:lnTo>
                    <a:pt x="362293" y="1211779"/>
                  </a:lnTo>
                  <a:lnTo>
                    <a:pt x="362796" y="1205803"/>
                  </a:lnTo>
                  <a:lnTo>
                    <a:pt x="354585" y="1192582"/>
                  </a:lnTo>
                  <a:lnTo>
                    <a:pt x="336180" y="1191101"/>
                  </a:lnTo>
                  <a:lnTo>
                    <a:pt x="334267" y="1181589"/>
                  </a:lnTo>
                  <a:lnTo>
                    <a:pt x="340033" y="1175364"/>
                  </a:lnTo>
                  <a:lnTo>
                    <a:pt x="325282" y="1157876"/>
                  </a:lnTo>
                  <a:lnTo>
                    <a:pt x="301347" y="1160869"/>
                  </a:lnTo>
                  <a:lnTo>
                    <a:pt x="294337" y="1159313"/>
                  </a:lnTo>
                  <a:lnTo>
                    <a:pt x="288506" y="1166349"/>
                  </a:lnTo>
                  <a:lnTo>
                    <a:pt x="279885" y="1165100"/>
                  </a:lnTo>
                  <a:lnTo>
                    <a:pt x="274208" y="1145229"/>
                  </a:lnTo>
                  <a:lnTo>
                    <a:pt x="268787" y="1134865"/>
                  </a:lnTo>
                  <a:lnTo>
                    <a:pt x="273229" y="1131940"/>
                  </a:lnTo>
                  <a:lnTo>
                    <a:pt x="291854" y="1133027"/>
                  </a:lnTo>
                  <a:lnTo>
                    <a:pt x="300836" y="1126170"/>
                  </a:lnTo>
                  <a:lnTo>
                    <a:pt x="294187" y="1117783"/>
                  </a:lnTo>
                  <a:lnTo>
                    <a:pt x="278622" y="1112232"/>
                  </a:lnTo>
                  <a:lnTo>
                    <a:pt x="280011" y="1106522"/>
                  </a:lnTo>
                  <a:lnTo>
                    <a:pt x="270617" y="1100741"/>
                  </a:lnTo>
                  <a:lnTo>
                    <a:pt x="256146" y="1079876"/>
                  </a:lnTo>
                  <a:lnTo>
                    <a:pt x="261092" y="1071225"/>
                  </a:lnTo>
                  <a:lnTo>
                    <a:pt x="258832" y="1056097"/>
                  </a:lnTo>
                  <a:lnTo>
                    <a:pt x="236266" y="1048374"/>
                  </a:lnTo>
                  <a:lnTo>
                    <a:pt x="224154" y="1052243"/>
                  </a:lnTo>
                  <a:lnTo>
                    <a:pt x="220875" y="1044191"/>
                  </a:lnTo>
                  <a:lnTo>
                    <a:pt x="196573" y="1036027"/>
                  </a:lnTo>
                  <a:lnTo>
                    <a:pt x="189154" y="1016703"/>
                  </a:lnTo>
                  <a:lnTo>
                    <a:pt x="187186" y="1000704"/>
                  </a:lnTo>
                  <a:lnTo>
                    <a:pt x="176064" y="993068"/>
                  </a:lnTo>
                  <a:lnTo>
                    <a:pt x="185955" y="982502"/>
                  </a:lnTo>
                  <a:lnTo>
                    <a:pt x="179110" y="951164"/>
                  </a:lnTo>
                  <a:lnTo>
                    <a:pt x="195534" y="931583"/>
                  </a:lnTo>
                  <a:lnTo>
                    <a:pt x="192059" y="925618"/>
                  </a:lnTo>
                  <a:lnTo>
                    <a:pt x="218294" y="906626"/>
                  </a:lnTo>
                  <a:lnTo>
                    <a:pt x="194110" y="890155"/>
                  </a:lnTo>
                  <a:lnTo>
                    <a:pt x="243533" y="845319"/>
                  </a:lnTo>
                  <a:lnTo>
                    <a:pt x="264974" y="824722"/>
                  </a:lnTo>
                  <a:lnTo>
                    <a:pt x="273655" y="806373"/>
                  </a:lnTo>
                  <a:lnTo>
                    <a:pt x="239488" y="781474"/>
                  </a:lnTo>
                  <a:lnTo>
                    <a:pt x="248924" y="757519"/>
                  </a:lnTo>
                  <a:lnTo>
                    <a:pt x="228144" y="729825"/>
                  </a:lnTo>
                  <a:lnTo>
                    <a:pt x="243683" y="697463"/>
                  </a:lnTo>
                  <a:lnTo>
                    <a:pt x="216837" y="653700"/>
                  </a:lnTo>
                  <a:lnTo>
                    <a:pt x="238139" y="624190"/>
                  </a:lnTo>
                  <a:lnTo>
                    <a:pt x="202788" y="597752"/>
                  </a:lnTo>
                  <a:lnTo>
                    <a:pt x="206158" y="569594"/>
                  </a:lnTo>
                  <a:lnTo>
                    <a:pt x="224800" y="565859"/>
                  </a:lnTo>
                  <a:lnTo>
                    <a:pt x="264076" y="549515"/>
                  </a:lnTo>
                  <a:lnTo>
                    <a:pt x="287889" y="535236"/>
                  </a:lnTo>
                  <a:lnTo>
                    <a:pt x="325808" y="559988"/>
                  </a:lnTo>
                  <a:lnTo>
                    <a:pt x="389020" y="569649"/>
                  </a:lnTo>
                  <a:lnTo>
                    <a:pt x="476234" y="614940"/>
                  </a:lnTo>
                  <a:lnTo>
                    <a:pt x="493951" y="633675"/>
                  </a:lnTo>
                  <a:lnTo>
                    <a:pt x="495476" y="659625"/>
                  </a:lnTo>
                  <a:lnTo>
                    <a:pt x="469852" y="679882"/>
                  </a:lnTo>
                  <a:lnTo>
                    <a:pt x="432161" y="690087"/>
                  </a:lnTo>
                  <a:lnTo>
                    <a:pt x="329114" y="660863"/>
                  </a:lnTo>
                  <a:lnTo>
                    <a:pt x="312165" y="665778"/>
                  </a:lnTo>
                  <a:lnTo>
                    <a:pt x="349798" y="693878"/>
                  </a:lnTo>
                  <a:lnTo>
                    <a:pt x="351270" y="711483"/>
                  </a:lnTo>
                  <a:lnTo>
                    <a:pt x="352778" y="749745"/>
                  </a:lnTo>
                  <a:lnTo>
                    <a:pt x="382494" y="761029"/>
                  </a:lnTo>
                  <a:lnTo>
                    <a:pt x="400532" y="770589"/>
                  </a:lnTo>
                  <a:lnTo>
                    <a:pt x="403516" y="752698"/>
                  </a:lnTo>
                  <a:lnTo>
                    <a:pt x="389611" y="736714"/>
                  </a:lnTo>
                  <a:lnTo>
                    <a:pt x="404302" y="722525"/>
                  </a:lnTo>
                  <a:lnTo>
                    <a:pt x="460102" y="745792"/>
                  </a:lnTo>
                  <a:lnTo>
                    <a:pt x="479541" y="736714"/>
                  </a:lnTo>
                  <a:lnTo>
                    <a:pt x="464006" y="709192"/>
                  </a:lnTo>
                  <a:lnTo>
                    <a:pt x="517800" y="671807"/>
                  </a:lnTo>
                  <a:lnTo>
                    <a:pt x="539105" y="674026"/>
                  </a:lnTo>
                  <a:lnTo>
                    <a:pt x="560657" y="687430"/>
                  </a:lnTo>
                  <a:lnTo>
                    <a:pt x="574103" y="660990"/>
                  </a:lnTo>
                  <a:lnTo>
                    <a:pt x="554855" y="637778"/>
                  </a:lnTo>
                  <a:lnTo>
                    <a:pt x="566156" y="614223"/>
                  </a:lnTo>
                  <a:lnTo>
                    <a:pt x="549187" y="589501"/>
                  </a:lnTo>
                  <a:lnTo>
                    <a:pt x="613753" y="602324"/>
                  </a:lnTo>
                  <a:lnTo>
                    <a:pt x="626941" y="624518"/>
                  </a:lnTo>
                  <a:lnTo>
                    <a:pt x="597715" y="629378"/>
                  </a:lnTo>
                  <a:lnTo>
                    <a:pt x="597873" y="651143"/>
                  </a:lnTo>
                  <a:lnTo>
                    <a:pt x="616042" y="664420"/>
                  </a:lnTo>
                  <a:lnTo>
                    <a:pt x="651705" y="656020"/>
                  </a:lnTo>
                  <a:lnTo>
                    <a:pt x="657351" y="631113"/>
                  </a:lnTo>
                  <a:lnTo>
                    <a:pt x="705568" y="612314"/>
                  </a:lnTo>
                  <a:lnTo>
                    <a:pt x="786121" y="577976"/>
                  </a:lnTo>
                  <a:lnTo>
                    <a:pt x="803532" y="579960"/>
                  </a:lnTo>
                  <a:lnTo>
                    <a:pt x="780776" y="604264"/>
                  </a:lnTo>
                  <a:lnTo>
                    <a:pt x="809408" y="608411"/>
                  </a:lnTo>
                  <a:lnTo>
                    <a:pt x="825945" y="594793"/>
                  </a:lnTo>
                  <a:lnTo>
                    <a:pt x="869210" y="593688"/>
                  </a:lnTo>
                  <a:lnTo>
                    <a:pt x="903487" y="577030"/>
                  </a:lnTo>
                  <a:lnTo>
                    <a:pt x="929788" y="601191"/>
                  </a:lnTo>
                  <a:lnTo>
                    <a:pt x="956019" y="574613"/>
                  </a:lnTo>
                  <a:lnTo>
                    <a:pt x="931833" y="551074"/>
                  </a:lnTo>
                  <a:lnTo>
                    <a:pt x="943835" y="537540"/>
                  </a:lnTo>
                  <a:lnTo>
                    <a:pt x="1012022" y="549954"/>
                  </a:lnTo>
                  <a:lnTo>
                    <a:pt x="1043971" y="562696"/>
                  </a:lnTo>
                  <a:lnTo>
                    <a:pt x="1127623" y="608597"/>
                  </a:lnTo>
                  <a:lnTo>
                    <a:pt x="1143055" y="587702"/>
                  </a:lnTo>
                  <a:lnTo>
                    <a:pt x="1119597" y="566369"/>
                  </a:lnTo>
                  <a:lnTo>
                    <a:pt x="1118923" y="557746"/>
                  </a:lnTo>
                  <a:lnTo>
                    <a:pt x="1091105" y="553744"/>
                  </a:lnTo>
                  <a:lnTo>
                    <a:pt x="1098715" y="534297"/>
                  </a:lnTo>
                  <a:lnTo>
                    <a:pt x="1086369" y="501878"/>
                  </a:lnTo>
                  <a:lnTo>
                    <a:pt x="1085671" y="488423"/>
                  </a:lnTo>
                  <a:lnTo>
                    <a:pt x="1128267" y="449851"/>
                  </a:lnTo>
                  <a:lnTo>
                    <a:pt x="1143417" y="410359"/>
                  </a:lnTo>
                  <a:lnTo>
                    <a:pt x="1160582" y="401708"/>
                  </a:lnTo>
                  <a:lnTo>
                    <a:pt x="1221694" y="413300"/>
                  </a:lnTo>
                  <a:lnTo>
                    <a:pt x="1226506" y="437528"/>
                  </a:lnTo>
                  <a:lnTo>
                    <a:pt x="1204626" y="472328"/>
                  </a:lnTo>
                  <a:lnTo>
                    <a:pt x="1218984" y="485839"/>
                  </a:lnTo>
                  <a:lnTo>
                    <a:pt x="1226411" y="515146"/>
                  </a:lnTo>
                  <a:lnTo>
                    <a:pt x="1221167" y="571373"/>
                  </a:lnTo>
                  <a:lnTo>
                    <a:pt x="1246631" y="596023"/>
                  </a:lnTo>
                  <a:lnTo>
                    <a:pt x="1236724" y="622529"/>
                  </a:lnTo>
                  <a:lnTo>
                    <a:pt x="1191512" y="677816"/>
                  </a:lnTo>
                  <a:lnTo>
                    <a:pt x="1217896" y="683466"/>
                  </a:lnTo>
                  <a:lnTo>
                    <a:pt x="1227078" y="669632"/>
                  </a:lnTo>
                  <a:lnTo>
                    <a:pt x="1252474" y="659707"/>
                  </a:lnTo>
                  <a:lnTo>
                    <a:pt x="1258603" y="640446"/>
                  </a:lnTo>
                  <a:lnTo>
                    <a:pt x="1278580" y="621738"/>
                  </a:lnTo>
                  <a:lnTo>
                    <a:pt x="1265129" y="599174"/>
                  </a:lnTo>
                  <a:lnTo>
                    <a:pt x="1275899" y="572654"/>
                  </a:lnTo>
                  <a:lnTo>
                    <a:pt x="1250659" y="569324"/>
                  </a:lnTo>
                  <a:lnTo>
                    <a:pt x="1245108" y="546669"/>
                  </a:lnTo>
                  <a:lnTo>
                    <a:pt x="1263526" y="505107"/>
                  </a:lnTo>
                  <a:lnTo>
                    <a:pt x="1233548" y="470703"/>
                  </a:lnTo>
                  <a:lnTo>
                    <a:pt x="1274860" y="441804"/>
                  </a:lnTo>
                  <a:lnTo>
                    <a:pt x="1269515" y="410845"/>
                  </a:lnTo>
                  <a:lnTo>
                    <a:pt x="1281028" y="409849"/>
                  </a:lnTo>
                  <a:lnTo>
                    <a:pt x="1293157" y="434041"/>
                  </a:lnTo>
                  <a:lnTo>
                    <a:pt x="1284051" y="475448"/>
                  </a:lnTo>
                  <a:lnTo>
                    <a:pt x="1308752" y="483190"/>
                  </a:lnTo>
                  <a:lnTo>
                    <a:pt x="1298227" y="452452"/>
                  </a:lnTo>
                  <a:lnTo>
                    <a:pt x="1336856" y="435488"/>
                  </a:lnTo>
                  <a:lnTo>
                    <a:pt x="1384761" y="433193"/>
                  </a:lnTo>
                  <a:lnTo>
                    <a:pt x="1427418" y="457772"/>
                  </a:lnTo>
                  <a:lnTo>
                    <a:pt x="1406890" y="421761"/>
                  </a:lnTo>
                  <a:lnTo>
                    <a:pt x="1404591" y="374703"/>
                  </a:lnTo>
                  <a:lnTo>
                    <a:pt x="1444730" y="365660"/>
                  </a:lnTo>
                  <a:lnTo>
                    <a:pt x="1500249" y="367639"/>
                  </a:lnTo>
                  <a:lnTo>
                    <a:pt x="1550271" y="361752"/>
                  </a:lnTo>
                  <a:lnTo>
                    <a:pt x="1531510" y="338075"/>
                  </a:lnTo>
                  <a:lnTo>
                    <a:pt x="1558223" y="307909"/>
                  </a:lnTo>
                  <a:lnTo>
                    <a:pt x="1584742" y="306636"/>
                  </a:lnTo>
                  <a:lnTo>
                    <a:pt x="1629622" y="283515"/>
                  </a:lnTo>
                  <a:lnTo>
                    <a:pt x="1690573" y="277252"/>
                  </a:lnTo>
                  <a:lnTo>
                    <a:pt x="1698275" y="264323"/>
                  </a:lnTo>
                  <a:lnTo>
                    <a:pt x="1758885" y="259922"/>
                  </a:lnTo>
                  <a:lnTo>
                    <a:pt x="1777771" y="270552"/>
                  </a:lnTo>
                  <a:lnTo>
                    <a:pt x="1829577" y="245294"/>
                  </a:lnTo>
                  <a:lnTo>
                    <a:pt x="1871983" y="246089"/>
                  </a:lnTo>
                  <a:lnTo>
                    <a:pt x="1878345" y="225332"/>
                  </a:lnTo>
                  <a:lnTo>
                    <a:pt x="1900401" y="204634"/>
                  </a:lnTo>
                  <a:close/>
                  <a:moveTo>
                    <a:pt x="1902605" y="101148"/>
                  </a:moveTo>
                  <a:lnTo>
                    <a:pt x="1919952" y="104512"/>
                  </a:lnTo>
                  <a:lnTo>
                    <a:pt x="1978457" y="133586"/>
                  </a:lnTo>
                  <a:lnTo>
                    <a:pt x="1971603" y="154117"/>
                  </a:lnTo>
                  <a:lnTo>
                    <a:pt x="1841478" y="173402"/>
                  </a:lnTo>
                  <a:lnTo>
                    <a:pt x="1883645" y="106950"/>
                  </a:lnTo>
                  <a:close/>
                  <a:moveTo>
                    <a:pt x="701231" y="18017"/>
                  </a:moveTo>
                  <a:lnTo>
                    <a:pt x="735467" y="29832"/>
                  </a:lnTo>
                  <a:lnTo>
                    <a:pt x="726539" y="38005"/>
                  </a:lnTo>
                  <a:lnTo>
                    <a:pt x="695551" y="45045"/>
                  </a:lnTo>
                  <a:lnTo>
                    <a:pt x="674793" y="49083"/>
                  </a:lnTo>
                  <a:lnTo>
                    <a:pt x="671574" y="57788"/>
                  </a:lnTo>
                  <a:lnTo>
                    <a:pt x="644594" y="66515"/>
                  </a:lnTo>
                  <a:lnTo>
                    <a:pt x="619589" y="53986"/>
                  </a:lnTo>
                  <a:lnTo>
                    <a:pt x="632738" y="37355"/>
                  </a:lnTo>
                  <a:lnTo>
                    <a:pt x="581367" y="35728"/>
                  </a:lnTo>
                  <a:lnTo>
                    <a:pt x="626429" y="25948"/>
                  </a:lnTo>
                  <a:lnTo>
                    <a:pt x="661499" y="25297"/>
                  </a:lnTo>
                  <a:lnTo>
                    <a:pt x="666216" y="39754"/>
                  </a:lnTo>
                  <a:lnTo>
                    <a:pt x="679474" y="26914"/>
                  </a:lnTo>
                  <a:close/>
                  <a:moveTo>
                    <a:pt x="1760752" y="0"/>
                  </a:moveTo>
                  <a:lnTo>
                    <a:pt x="1805601" y="27291"/>
                  </a:lnTo>
                  <a:lnTo>
                    <a:pt x="1858755" y="78592"/>
                  </a:lnTo>
                  <a:lnTo>
                    <a:pt x="1853057" y="125054"/>
                  </a:lnTo>
                  <a:lnTo>
                    <a:pt x="1802695" y="131408"/>
                  </a:lnTo>
                  <a:lnTo>
                    <a:pt x="1738401" y="116676"/>
                  </a:lnTo>
                  <a:lnTo>
                    <a:pt x="1700091" y="97004"/>
                  </a:lnTo>
                  <a:lnTo>
                    <a:pt x="1682375" y="59464"/>
                  </a:lnTo>
                  <a:lnTo>
                    <a:pt x="1650882" y="48982"/>
                  </a:lnTo>
                  <a:lnTo>
                    <a:pt x="1710819" y="12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3" name="Freeform 137">
              <a:extLst>
                <a:ext uri="{FF2B5EF4-FFF2-40B4-BE49-F238E27FC236}">
                  <a16:creationId xmlns:a16="http://schemas.microsoft.com/office/drawing/2014/main" id="{01E53860-7C73-428F-B273-B18995DCAD0C}"/>
                </a:ext>
              </a:extLst>
            </p:cNvPr>
            <p:cNvSpPr>
              <a:spLocks noChangeAspect="1"/>
            </p:cNvSpPr>
            <p:nvPr>
              <p:custDataLst>
                <p:tags r:id="rId143"/>
              </p:custDataLst>
            </p:nvPr>
          </p:nvSpPr>
          <p:spPr>
            <a:xfrm>
              <a:off x="5030660" y="4554163"/>
              <a:ext cx="41347" cy="41179"/>
            </a:xfrm>
            <a:custGeom>
              <a:avLst/>
              <a:gdLst/>
              <a:ahLst/>
              <a:cxnLst/>
              <a:rect l="0" t="0" r="0" b="0"/>
              <a:pathLst>
                <a:path w="41347" h="41179">
                  <a:moveTo>
                    <a:pt x="32181" y="0"/>
                  </a:moveTo>
                  <a:lnTo>
                    <a:pt x="41346" y="13027"/>
                  </a:lnTo>
                  <a:lnTo>
                    <a:pt x="40011" y="26612"/>
                  </a:lnTo>
                  <a:lnTo>
                    <a:pt x="33349" y="29536"/>
                  </a:lnTo>
                  <a:lnTo>
                    <a:pt x="21084" y="28027"/>
                  </a:lnTo>
                  <a:lnTo>
                    <a:pt x="14016" y="41178"/>
                  </a:lnTo>
                  <a:lnTo>
                    <a:pt x="0" y="39362"/>
                  </a:lnTo>
                  <a:lnTo>
                    <a:pt x="2136" y="26727"/>
                  </a:lnTo>
                  <a:lnTo>
                    <a:pt x="5306" y="24946"/>
                  </a:lnTo>
                  <a:lnTo>
                    <a:pt x="6162" y="11206"/>
                  </a:lnTo>
                  <a:lnTo>
                    <a:pt x="12800" y="4770"/>
                  </a:lnTo>
                  <a:lnTo>
                    <a:pt x="18387" y="71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4" name="Freeform 138">
              <a:extLst>
                <a:ext uri="{FF2B5EF4-FFF2-40B4-BE49-F238E27FC236}">
                  <a16:creationId xmlns:a16="http://schemas.microsoft.com/office/drawing/2014/main" id="{CA352C95-1A34-42B2-8D93-920AC9B73B68}"/>
                </a:ext>
              </a:extLst>
            </p:cNvPr>
            <p:cNvSpPr>
              <a:spLocks noChangeAspect="1"/>
            </p:cNvSpPr>
            <p:nvPr>
              <p:custDataLst>
                <p:tags r:id="rId144"/>
              </p:custDataLst>
            </p:nvPr>
          </p:nvSpPr>
          <p:spPr>
            <a:xfrm>
              <a:off x="3966817" y="3873102"/>
              <a:ext cx="193856" cy="163040"/>
            </a:xfrm>
            <a:custGeom>
              <a:avLst/>
              <a:gdLst/>
              <a:ahLst/>
              <a:cxnLst/>
              <a:rect l="0" t="0" r="0" b="0"/>
              <a:pathLst>
                <a:path w="193856" h="163040">
                  <a:moveTo>
                    <a:pt x="190860" y="13329"/>
                  </a:moveTo>
                  <a:lnTo>
                    <a:pt x="190330" y="0"/>
                  </a:lnTo>
                  <a:lnTo>
                    <a:pt x="193845" y="0"/>
                  </a:lnTo>
                  <a:lnTo>
                    <a:pt x="193855" y="1668"/>
                  </a:lnTo>
                  <a:lnTo>
                    <a:pt x="193410" y="6491"/>
                  </a:lnTo>
                  <a:lnTo>
                    <a:pt x="193343" y="44021"/>
                  </a:lnTo>
                  <a:lnTo>
                    <a:pt x="117583" y="42730"/>
                  </a:lnTo>
                  <a:lnTo>
                    <a:pt x="118326" y="105478"/>
                  </a:lnTo>
                  <a:lnTo>
                    <a:pt x="96698" y="107665"/>
                  </a:lnTo>
                  <a:lnTo>
                    <a:pt x="91054" y="120162"/>
                  </a:lnTo>
                  <a:lnTo>
                    <a:pt x="95431" y="155142"/>
                  </a:lnTo>
                  <a:lnTo>
                    <a:pt x="5037" y="154991"/>
                  </a:lnTo>
                  <a:lnTo>
                    <a:pt x="0" y="163039"/>
                  </a:lnTo>
                  <a:lnTo>
                    <a:pt x="992" y="152841"/>
                  </a:lnTo>
                  <a:lnTo>
                    <a:pt x="1395" y="152880"/>
                  </a:lnTo>
                  <a:lnTo>
                    <a:pt x="53378" y="150950"/>
                  </a:lnTo>
                  <a:lnTo>
                    <a:pt x="56151" y="142236"/>
                  </a:lnTo>
                  <a:lnTo>
                    <a:pt x="65607" y="131354"/>
                  </a:lnTo>
                  <a:lnTo>
                    <a:pt x="73226" y="97762"/>
                  </a:lnTo>
                  <a:lnTo>
                    <a:pt x="105314" y="71356"/>
                  </a:lnTo>
                  <a:lnTo>
                    <a:pt x="116168" y="40323"/>
                  </a:lnTo>
                  <a:lnTo>
                    <a:pt x="123381" y="38514"/>
                  </a:lnTo>
                  <a:lnTo>
                    <a:pt x="130899" y="19220"/>
                  </a:lnTo>
                  <a:lnTo>
                    <a:pt x="150318" y="16555"/>
                  </a:lnTo>
                  <a:lnTo>
                    <a:pt x="158670" y="19777"/>
                  </a:lnTo>
                  <a:lnTo>
                    <a:pt x="169152" y="19777"/>
                  </a:lnTo>
                  <a:lnTo>
                    <a:pt x="176591" y="1413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5" name="Freeform 139">
              <a:extLst>
                <a:ext uri="{FF2B5EF4-FFF2-40B4-BE49-F238E27FC236}">
                  <a16:creationId xmlns:a16="http://schemas.microsoft.com/office/drawing/2014/main" id="{508162EB-935A-40AB-A467-6B05DF973A5E}"/>
                </a:ext>
              </a:extLst>
            </p:cNvPr>
            <p:cNvSpPr>
              <a:spLocks noChangeAspect="1"/>
            </p:cNvSpPr>
            <p:nvPr>
              <p:custDataLst>
                <p:tags r:id="rId145"/>
              </p:custDataLst>
            </p:nvPr>
          </p:nvSpPr>
          <p:spPr>
            <a:xfrm>
              <a:off x="5160094" y="3759323"/>
              <a:ext cx="485529" cy="387975"/>
            </a:xfrm>
            <a:custGeom>
              <a:avLst/>
              <a:gdLst/>
              <a:ahLst/>
              <a:cxnLst/>
              <a:rect l="0" t="0" r="0" b="0"/>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6" name="Freeform 140">
              <a:extLst>
                <a:ext uri="{FF2B5EF4-FFF2-40B4-BE49-F238E27FC236}">
                  <a16:creationId xmlns:a16="http://schemas.microsoft.com/office/drawing/2014/main" id="{CDD6E3FE-6BC8-45B3-BB8D-F99710F0633F}"/>
                </a:ext>
              </a:extLst>
            </p:cNvPr>
            <p:cNvSpPr>
              <a:spLocks noChangeAspect="1"/>
            </p:cNvSpPr>
            <p:nvPr>
              <p:custDataLst>
                <p:tags r:id="rId146"/>
              </p:custDataLst>
            </p:nvPr>
          </p:nvSpPr>
          <p:spPr>
            <a:xfrm>
              <a:off x="4867047" y="4011972"/>
              <a:ext cx="380248" cy="316551"/>
            </a:xfrm>
            <a:custGeom>
              <a:avLst/>
              <a:gdLst/>
              <a:ahLst/>
              <a:cxnLst/>
              <a:rect l="0" t="0" r="0" b="0"/>
              <a:pathLst>
                <a:path w="380248" h="316551">
                  <a:moveTo>
                    <a:pt x="277606" y="296899"/>
                  </a:moveTo>
                  <a:lnTo>
                    <a:pt x="274410" y="296438"/>
                  </a:lnTo>
                  <a:lnTo>
                    <a:pt x="274807" y="284840"/>
                  </a:lnTo>
                  <a:lnTo>
                    <a:pt x="272032" y="276834"/>
                  </a:lnTo>
                  <a:lnTo>
                    <a:pt x="260144" y="267621"/>
                  </a:lnTo>
                  <a:lnTo>
                    <a:pt x="257370" y="250776"/>
                  </a:lnTo>
                  <a:lnTo>
                    <a:pt x="260144" y="233502"/>
                  </a:lnTo>
                  <a:lnTo>
                    <a:pt x="249445" y="231894"/>
                  </a:lnTo>
                  <a:lnTo>
                    <a:pt x="247860" y="237120"/>
                  </a:lnTo>
                  <a:lnTo>
                    <a:pt x="233991" y="238326"/>
                  </a:lnTo>
                  <a:lnTo>
                    <a:pt x="239539" y="245155"/>
                  </a:lnTo>
                  <a:lnTo>
                    <a:pt x="241520" y="259201"/>
                  </a:lnTo>
                  <a:lnTo>
                    <a:pt x="228839" y="272028"/>
                  </a:lnTo>
                  <a:lnTo>
                    <a:pt x="217347" y="288841"/>
                  </a:lnTo>
                  <a:lnTo>
                    <a:pt x="205459" y="291241"/>
                  </a:lnTo>
                  <a:lnTo>
                    <a:pt x="186042" y="277635"/>
                  </a:lnTo>
                  <a:lnTo>
                    <a:pt x="177324" y="282439"/>
                  </a:lnTo>
                  <a:lnTo>
                    <a:pt x="174947" y="289241"/>
                  </a:lnTo>
                  <a:lnTo>
                    <a:pt x="163059" y="293640"/>
                  </a:lnTo>
                  <a:lnTo>
                    <a:pt x="162266" y="298437"/>
                  </a:lnTo>
                  <a:lnTo>
                    <a:pt x="139282" y="298437"/>
                  </a:lnTo>
                  <a:lnTo>
                    <a:pt x="136112" y="293640"/>
                  </a:lnTo>
                  <a:lnTo>
                    <a:pt x="119469" y="292840"/>
                  </a:lnTo>
                  <a:lnTo>
                    <a:pt x="111147" y="296838"/>
                  </a:lnTo>
                  <a:lnTo>
                    <a:pt x="104807" y="294839"/>
                  </a:lnTo>
                  <a:lnTo>
                    <a:pt x="92919" y="281238"/>
                  </a:lnTo>
                  <a:lnTo>
                    <a:pt x="88956" y="274832"/>
                  </a:lnTo>
                  <a:lnTo>
                    <a:pt x="72313" y="278035"/>
                  </a:lnTo>
                  <a:lnTo>
                    <a:pt x="65973" y="288841"/>
                  </a:lnTo>
                  <a:lnTo>
                    <a:pt x="60029" y="309624"/>
                  </a:lnTo>
                  <a:lnTo>
                    <a:pt x="52103" y="314016"/>
                  </a:lnTo>
                  <a:lnTo>
                    <a:pt x="45015" y="316550"/>
                  </a:lnTo>
                  <a:lnTo>
                    <a:pt x="43141" y="315467"/>
                  </a:lnTo>
                  <a:lnTo>
                    <a:pt x="35136" y="308769"/>
                  </a:lnTo>
                  <a:lnTo>
                    <a:pt x="33653" y="301537"/>
                  </a:lnTo>
                  <a:lnTo>
                    <a:pt x="37404" y="291846"/>
                  </a:lnTo>
                  <a:lnTo>
                    <a:pt x="37336" y="282338"/>
                  </a:lnTo>
                  <a:lnTo>
                    <a:pt x="24023" y="267752"/>
                  </a:lnTo>
                  <a:lnTo>
                    <a:pt x="21406" y="257758"/>
                  </a:lnTo>
                  <a:lnTo>
                    <a:pt x="21684" y="252098"/>
                  </a:lnTo>
                  <a:lnTo>
                    <a:pt x="13200" y="245205"/>
                  </a:lnTo>
                  <a:lnTo>
                    <a:pt x="12945" y="231607"/>
                  </a:lnTo>
                  <a:lnTo>
                    <a:pt x="8106" y="222565"/>
                  </a:lnTo>
                  <a:lnTo>
                    <a:pt x="0" y="223922"/>
                  </a:lnTo>
                  <a:lnTo>
                    <a:pt x="2326" y="215308"/>
                  </a:lnTo>
                  <a:lnTo>
                    <a:pt x="8304" y="205521"/>
                  </a:lnTo>
                  <a:lnTo>
                    <a:pt x="5689" y="195786"/>
                  </a:lnTo>
                  <a:lnTo>
                    <a:pt x="13277" y="188570"/>
                  </a:lnTo>
                  <a:lnTo>
                    <a:pt x="8464" y="183069"/>
                  </a:lnTo>
                  <a:lnTo>
                    <a:pt x="14568" y="168514"/>
                  </a:lnTo>
                  <a:lnTo>
                    <a:pt x="25109" y="151118"/>
                  </a:lnTo>
                  <a:lnTo>
                    <a:pt x="45013" y="152771"/>
                  </a:lnTo>
                  <a:lnTo>
                    <a:pt x="43876" y="58291"/>
                  </a:lnTo>
                  <a:lnTo>
                    <a:pt x="44161" y="48225"/>
                  </a:lnTo>
                  <a:lnTo>
                    <a:pt x="70706" y="48152"/>
                  </a:lnTo>
                  <a:lnTo>
                    <a:pt x="70706" y="0"/>
                  </a:lnTo>
                  <a:lnTo>
                    <a:pt x="163499" y="0"/>
                  </a:lnTo>
                  <a:lnTo>
                    <a:pt x="253059" y="0"/>
                  </a:lnTo>
                  <a:lnTo>
                    <a:pt x="344611" y="0"/>
                  </a:lnTo>
                  <a:lnTo>
                    <a:pt x="352055" y="23709"/>
                  </a:lnTo>
                  <a:lnTo>
                    <a:pt x="346992" y="28082"/>
                  </a:lnTo>
                  <a:lnTo>
                    <a:pt x="350346" y="52835"/>
                  </a:lnTo>
                  <a:lnTo>
                    <a:pt x="358819" y="81415"/>
                  </a:lnTo>
                  <a:lnTo>
                    <a:pt x="367613" y="87294"/>
                  </a:lnTo>
                  <a:lnTo>
                    <a:pt x="380247" y="96106"/>
                  </a:lnTo>
                  <a:lnTo>
                    <a:pt x="368565" y="109695"/>
                  </a:lnTo>
                  <a:lnTo>
                    <a:pt x="351564" y="113604"/>
                  </a:lnTo>
                  <a:lnTo>
                    <a:pt x="344295" y="120887"/>
                  </a:lnTo>
                  <a:lnTo>
                    <a:pt x="342018" y="136653"/>
                  </a:lnTo>
                  <a:lnTo>
                    <a:pt x="332077" y="171387"/>
                  </a:lnTo>
                  <a:lnTo>
                    <a:pt x="334530" y="180825"/>
                  </a:lnTo>
                  <a:lnTo>
                    <a:pt x="330853" y="201032"/>
                  </a:lnTo>
                  <a:lnTo>
                    <a:pt x="321468" y="224154"/>
                  </a:lnTo>
                  <a:lnTo>
                    <a:pt x="307546" y="235761"/>
                  </a:lnTo>
                  <a:lnTo>
                    <a:pt x="297647" y="253632"/>
                  </a:lnTo>
                  <a:lnTo>
                    <a:pt x="295327" y="263183"/>
                  </a:lnTo>
                  <a:lnTo>
                    <a:pt x="284393" y="269722"/>
                  </a:lnTo>
                  <a:lnTo>
                    <a:pt x="277565" y="2941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7" name="Freeform 141">
              <a:extLst>
                <a:ext uri="{FF2B5EF4-FFF2-40B4-BE49-F238E27FC236}">
                  <a16:creationId xmlns:a16="http://schemas.microsoft.com/office/drawing/2014/main" id="{BC7E5197-BA44-4207-82BA-778813FEA084}"/>
                </a:ext>
              </a:extLst>
            </p:cNvPr>
            <p:cNvSpPr>
              <a:spLocks noChangeAspect="1"/>
            </p:cNvSpPr>
            <p:nvPr>
              <p:custDataLst>
                <p:tags r:id="rId147"/>
              </p:custDataLst>
            </p:nvPr>
          </p:nvSpPr>
          <p:spPr>
            <a:xfrm>
              <a:off x="4912062" y="4243866"/>
              <a:ext cx="263398" cy="203072"/>
            </a:xfrm>
            <a:custGeom>
              <a:avLst/>
              <a:gdLst/>
              <a:ahLst/>
              <a:cxnLst/>
              <a:rect l="0" t="0" r="0" b="0"/>
              <a:pathLst>
                <a:path w="263398" h="203072">
                  <a:moveTo>
                    <a:pt x="232591" y="65005"/>
                  </a:moveTo>
                  <a:lnTo>
                    <a:pt x="232858" y="83149"/>
                  </a:lnTo>
                  <a:lnTo>
                    <a:pt x="229408" y="90249"/>
                  </a:lnTo>
                  <a:lnTo>
                    <a:pt x="217157" y="90820"/>
                  </a:lnTo>
                  <a:lnTo>
                    <a:pt x="209295" y="104052"/>
                  </a:lnTo>
                  <a:lnTo>
                    <a:pt x="223470" y="105715"/>
                  </a:lnTo>
                  <a:lnTo>
                    <a:pt x="235169" y="117027"/>
                  </a:lnTo>
                  <a:lnTo>
                    <a:pt x="239213" y="126301"/>
                  </a:lnTo>
                  <a:lnTo>
                    <a:pt x="249755" y="131677"/>
                  </a:lnTo>
                  <a:lnTo>
                    <a:pt x="263397" y="156886"/>
                  </a:lnTo>
                  <a:lnTo>
                    <a:pt x="247751" y="172135"/>
                  </a:lnTo>
                  <a:lnTo>
                    <a:pt x="233551" y="185948"/>
                  </a:lnTo>
                  <a:lnTo>
                    <a:pt x="219355" y="196580"/>
                  </a:lnTo>
                  <a:lnTo>
                    <a:pt x="203115" y="196527"/>
                  </a:lnTo>
                  <a:lnTo>
                    <a:pt x="184533" y="201936"/>
                  </a:lnTo>
                  <a:lnTo>
                    <a:pt x="169856" y="196768"/>
                  </a:lnTo>
                  <a:lnTo>
                    <a:pt x="160352" y="203071"/>
                  </a:lnTo>
                  <a:lnTo>
                    <a:pt x="140031" y="187710"/>
                  </a:lnTo>
                  <a:lnTo>
                    <a:pt x="134549" y="177833"/>
                  </a:lnTo>
                  <a:lnTo>
                    <a:pt x="121694" y="182725"/>
                  </a:lnTo>
                  <a:lnTo>
                    <a:pt x="111021" y="181203"/>
                  </a:lnTo>
                  <a:lnTo>
                    <a:pt x="104842" y="185087"/>
                  </a:lnTo>
                  <a:lnTo>
                    <a:pt x="94477" y="182282"/>
                  </a:lnTo>
                  <a:lnTo>
                    <a:pt x="80495" y="163184"/>
                  </a:lnTo>
                  <a:lnTo>
                    <a:pt x="76783" y="155845"/>
                  </a:lnTo>
                  <a:lnTo>
                    <a:pt x="59528" y="146680"/>
                  </a:lnTo>
                  <a:lnTo>
                    <a:pt x="53700" y="132780"/>
                  </a:lnTo>
                  <a:lnTo>
                    <a:pt x="44080" y="122748"/>
                  </a:lnTo>
                  <a:lnTo>
                    <a:pt x="28557" y="110665"/>
                  </a:lnTo>
                  <a:lnTo>
                    <a:pt x="28344" y="103120"/>
                  </a:lnTo>
                  <a:lnTo>
                    <a:pt x="15705" y="93734"/>
                  </a:lnTo>
                  <a:lnTo>
                    <a:pt x="0" y="84656"/>
                  </a:lnTo>
                  <a:lnTo>
                    <a:pt x="7088" y="82122"/>
                  </a:lnTo>
                  <a:lnTo>
                    <a:pt x="15014" y="77730"/>
                  </a:lnTo>
                  <a:lnTo>
                    <a:pt x="20958" y="56947"/>
                  </a:lnTo>
                  <a:lnTo>
                    <a:pt x="27298" y="46141"/>
                  </a:lnTo>
                  <a:lnTo>
                    <a:pt x="43941" y="42938"/>
                  </a:lnTo>
                  <a:lnTo>
                    <a:pt x="47904" y="49344"/>
                  </a:lnTo>
                  <a:lnTo>
                    <a:pt x="59792" y="62945"/>
                  </a:lnTo>
                  <a:lnTo>
                    <a:pt x="66132" y="64944"/>
                  </a:lnTo>
                  <a:lnTo>
                    <a:pt x="74454" y="60946"/>
                  </a:lnTo>
                  <a:lnTo>
                    <a:pt x="91097" y="61746"/>
                  </a:lnTo>
                  <a:lnTo>
                    <a:pt x="94267" y="66543"/>
                  </a:lnTo>
                  <a:lnTo>
                    <a:pt x="117251" y="66543"/>
                  </a:lnTo>
                  <a:lnTo>
                    <a:pt x="118044" y="61746"/>
                  </a:lnTo>
                  <a:lnTo>
                    <a:pt x="129932" y="57347"/>
                  </a:lnTo>
                  <a:lnTo>
                    <a:pt x="132309" y="50545"/>
                  </a:lnTo>
                  <a:lnTo>
                    <a:pt x="141027" y="45741"/>
                  </a:lnTo>
                  <a:lnTo>
                    <a:pt x="160444" y="59347"/>
                  </a:lnTo>
                  <a:lnTo>
                    <a:pt x="172332" y="56947"/>
                  </a:lnTo>
                  <a:lnTo>
                    <a:pt x="183824" y="40134"/>
                  </a:lnTo>
                  <a:lnTo>
                    <a:pt x="196505" y="27307"/>
                  </a:lnTo>
                  <a:lnTo>
                    <a:pt x="194524" y="13261"/>
                  </a:lnTo>
                  <a:lnTo>
                    <a:pt x="188976" y="6432"/>
                  </a:lnTo>
                  <a:lnTo>
                    <a:pt x="202845" y="5226"/>
                  </a:lnTo>
                  <a:lnTo>
                    <a:pt x="204430" y="0"/>
                  </a:lnTo>
                  <a:lnTo>
                    <a:pt x="215129" y="1608"/>
                  </a:lnTo>
                  <a:lnTo>
                    <a:pt x="212355" y="18882"/>
                  </a:lnTo>
                  <a:lnTo>
                    <a:pt x="215129" y="35727"/>
                  </a:lnTo>
                  <a:lnTo>
                    <a:pt x="227017" y="44940"/>
                  </a:lnTo>
                  <a:lnTo>
                    <a:pt x="229792" y="52946"/>
                  </a:lnTo>
                  <a:lnTo>
                    <a:pt x="229395" y="645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8" name="Freeform 142">
              <a:extLst>
                <a:ext uri="{FF2B5EF4-FFF2-40B4-BE49-F238E27FC236}">
                  <a16:creationId xmlns:a16="http://schemas.microsoft.com/office/drawing/2014/main" id="{C59BBA4A-6EE4-4855-8141-A46EE2A2D09B}"/>
                </a:ext>
              </a:extLst>
            </p:cNvPr>
            <p:cNvSpPr>
              <a:spLocks noChangeAspect="1"/>
            </p:cNvSpPr>
            <p:nvPr>
              <p:custDataLst>
                <p:tags r:id="rId148"/>
              </p:custDataLst>
            </p:nvPr>
          </p:nvSpPr>
          <p:spPr>
            <a:xfrm>
              <a:off x="3953853" y="4141362"/>
              <a:ext cx="142125" cy="100535"/>
            </a:xfrm>
            <a:custGeom>
              <a:avLst/>
              <a:gdLst/>
              <a:ahLst/>
              <a:cxnLst/>
              <a:rect l="0" t="0" r="0" b="0"/>
              <a:pathLst>
                <a:path w="142125" h="100535">
                  <a:moveTo>
                    <a:pt x="21036" y="70899"/>
                  </a:moveTo>
                  <a:lnTo>
                    <a:pt x="11517" y="52580"/>
                  </a:lnTo>
                  <a:lnTo>
                    <a:pt x="0" y="44189"/>
                  </a:lnTo>
                  <a:lnTo>
                    <a:pt x="10154" y="39709"/>
                  </a:lnTo>
                  <a:lnTo>
                    <a:pt x="21337" y="23128"/>
                  </a:lnTo>
                  <a:lnTo>
                    <a:pt x="26821" y="10978"/>
                  </a:lnTo>
                  <a:lnTo>
                    <a:pt x="34725" y="3381"/>
                  </a:lnTo>
                  <a:lnTo>
                    <a:pt x="46197" y="5427"/>
                  </a:lnTo>
                  <a:lnTo>
                    <a:pt x="57460" y="260"/>
                  </a:lnTo>
                  <a:lnTo>
                    <a:pt x="70349" y="0"/>
                  </a:lnTo>
                  <a:lnTo>
                    <a:pt x="81379" y="6968"/>
                  </a:lnTo>
                  <a:lnTo>
                    <a:pt x="96701" y="13243"/>
                  </a:lnTo>
                  <a:lnTo>
                    <a:pt x="110668" y="30639"/>
                  </a:lnTo>
                  <a:lnTo>
                    <a:pt x="125900" y="46846"/>
                  </a:lnTo>
                  <a:lnTo>
                    <a:pt x="126959" y="61497"/>
                  </a:lnTo>
                  <a:lnTo>
                    <a:pt x="131510" y="74962"/>
                  </a:lnTo>
                  <a:lnTo>
                    <a:pt x="140150" y="81558"/>
                  </a:lnTo>
                  <a:lnTo>
                    <a:pt x="142124" y="90632"/>
                  </a:lnTo>
                  <a:lnTo>
                    <a:pt x="141061" y="97935"/>
                  </a:lnTo>
                  <a:lnTo>
                    <a:pt x="137729" y="99257"/>
                  </a:lnTo>
                  <a:lnTo>
                    <a:pt x="125143" y="97404"/>
                  </a:lnTo>
                  <a:lnTo>
                    <a:pt x="123411" y="100010"/>
                  </a:lnTo>
                  <a:lnTo>
                    <a:pt x="118322" y="100534"/>
                  </a:lnTo>
                  <a:lnTo>
                    <a:pt x="101731" y="94821"/>
                  </a:lnTo>
                  <a:lnTo>
                    <a:pt x="90590" y="94579"/>
                  </a:lnTo>
                  <a:lnTo>
                    <a:pt x="47933" y="93594"/>
                  </a:lnTo>
                  <a:lnTo>
                    <a:pt x="41745" y="96234"/>
                  </a:lnTo>
                  <a:lnTo>
                    <a:pt x="34101" y="95479"/>
                  </a:lnTo>
                  <a:lnTo>
                    <a:pt x="21873" y="99298"/>
                  </a:lnTo>
                  <a:lnTo>
                    <a:pt x="18086" y="81319"/>
                  </a:lnTo>
                  <a:lnTo>
                    <a:pt x="39097" y="81814"/>
                  </a:lnTo>
                  <a:lnTo>
                    <a:pt x="44643" y="78525"/>
                  </a:lnTo>
                  <a:lnTo>
                    <a:pt x="48779" y="78332"/>
                  </a:lnTo>
                  <a:lnTo>
                    <a:pt x="57335" y="72907"/>
                  </a:lnTo>
                  <a:lnTo>
                    <a:pt x="67236" y="77871"/>
                  </a:lnTo>
                  <a:lnTo>
                    <a:pt x="77266" y="78285"/>
                  </a:lnTo>
                  <a:lnTo>
                    <a:pt x="87255" y="73012"/>
                  </a:lnTo>
                  <a:lnTo>
                    <a:pt x="82591" y="66218"/>
                  </a:lnTo>
                  <a:lnTo>
                    <a:pt x="74981" y="70177"/>
                  </a:lnTo>
                  <a:lnTo>
                    <a:pt x="67817" y="70067"/>
                  </a:lnTo>
                  <a:lnTo>
                    <a:pt x="58707" y="64279"/>
                  </a:lnTo>
                  <a:lnTo>
                    <a:pt x="51389" y="64658"/>
                  </a:lnTo>
                  <a:lnTo>
                    <a:pt x="46176" y="702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9" name="Freeform 143">
              <a:extLst>
                <a:ext uri="{FF2B5EF4-FFF2-40B4-BE49-F238E27FC236}">
                  <a16:creationId xmlns:a16="http://schemas.microsoft.com/office/drawing/2014/main" id="{764C7B54-895B-4E4F-8AE4-0474336B2CAE}"/>
                </a:ext>
              </a:extLst>
            </p:cNvPr>
            <p:cNvSpPr>
              <a:spLocks noChangeAspect="1"/>
            </p:cNvSpPr>
            <p:nvPr>
              <p:custDataLst>
                <p:tags r:id="rId149"/>
              </p:custDataLst>
            </p:nvPr>
          </p:nvSpPr>
          <p:spPr>
            <a:xfrm>
              <a:off x="7972926" y="4680516"/>
              <a:ext cx="136356" cy="98312"/>
            </a:xfrm>
            <a:custGeom>
              <a:avLst/>
              <a:gdLst/>
              <a:ahLst/>
              <a:cxnLst/>
              <a:rect l="l" t="t" r="r" b="b"/>
              <a:pathLst>
                <a:path w="136356" h="98312">
                  <a:moveTo>
                    <a:pt x="111453" y="83808"/>
                  </a:moveTo>
                  <a:lnTo>
                    <a:pt x="125247" y="89451"/>
                  </a:lnTo>
                  <a:lnTo>
                    <a:pt x="129901" y="90291"/>
                  </a:lnTo>
                  <a:lnTo>
                    <a:pt x="136356" y="98312"/>
                  </a:lnTo>
                  <a:lnTo>
                    <a:pt x="120230" y="98164"/>
                  </a:lnTo>
                  <a:close/>
                  <a:moveTo>
                    <a:pt x="74132" y="61400"/>
                  </a:moveTo>
                  <a:lnTo>
                    <a:pt x="89367" y="65063"/>
                  </a:lnTo>
                  <a:lnTo>
                    <a:pt x="96881" y="69950"/>
                  </a:lnTo>
                  <a:lnTo>
                    <a:pt x="100660" y="76073"/>
                  </a:lnTo>
                  <a:lnTo>
                    <a:pt x="91666" y="76592"/>
                  </a:lnTo>
                  <a:lnTo>
                    <a:pt x="77514" y="74234"/>
                  </a:lnTo>
                  <a:lnTo>
                    <a:pt x="72679" y="70645"/>
                  </a:lnTo>
                  <a:close/>
                  <a:moveTo>
                    <a:pt x="94377" y="39935"/>
                  </a:moveTo>
                  <a:lnTo>
                    <a:pt x="102225" y="39935"/>
                  </a:lnTo>
                  <a:lnTo>
                    <a:pt x="110534" y="58539"/>
                  </a:lnTo>
                  <a:lnTo>
                    <a:pt x="119767" y="69714"/>
                  </a:lnTo>
                  <a:lnTo>
                    <a:pt x="116291" y="74008"/>
                  </a:lnTo>
                  <a:lnTo>
                    <a:pt x="99184" y="53828"/>
                  </a:lnTo>
                  <a:close/>
                  <a:moveTo>
                    <a:pt x="43132" y="16714"/>
                  </a:moveTo>
                  <a:lnTo>
                    <a:pt x="53752" y="22284"/>
                  </a:lnTo>
                  <a:lnTo>
                    <a:pt x="72679" y="32965"/>
                  </a:lnTo>
                  <a:lnTo>
                    <a:pt x="78104" y="40337"/>
                  </a:lnTo>
                  <a:lnTo>
                    <a:pt x="79082" y="45009"/>
                  </a:lnTo>
                  <a:lnTo>
                    <a:pt x="60991" y="35153"/>
                  </a:lnTo>
                  <a:lnTo>
                    <a:pt x="48353" y="26807"/>
                  </a:lnTo>
                  <a:lnTo>
                    <a:pt x="39697" y="19078"/>
                  </a:lnTo>
                  <a:close/>
                  <a:moveTo>
                    <a:pt x="1188" y="0"/>
                  </a:moveTo>
                  <a:lnTo>
                    <a:pt x="14972" y="9792"/>
                  </a:lnTo>
                  <a:lnTo>
                    <a:pt x="24169" y="17359"/>
                  </a:lnTo>
                  <a:lnTo>
                    <a:pt x="19575" y="18681"/>
                  </a:lnTo>
                  <a:lnTo>
                    <a:pt x="9479" y="13393"/>
                  </a:lnTo>
                  <a:lnTo>
                    <a:pt x="0" y="386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0" name="Freeform 144">
              <a:extLst>
                <a:ext uri="{FF2B5EF4-FFF2-40B4-BE49-F238E27FC236}">
                  <a16:creationId xmlns:a16="http://schemas.microsoft.com/office/drawing/2014/main" id="{54499F4C-5E65-49A8-BFD1-4D6FB8032E49}"/>
                </a:ext>
              </a:extLst>
            </p:cNvPr>
            <p:cNvSpPr>
              <a:spLocks noChangeAspect="1"/>
            </p:cNvSpPr>
            <p:nvPr>
              <p:custDataLst>
                <p:tags r:id="rId150"/>
              </p:custDataLst>
            </p:nvPr>
          </p:nvSpPr>
          <p:spPr>
            <a:xfrm>
              <a:off x="4054921" y="4295295"/>
              <a:ext cx="69629" cy="75805"/>
            </a:xfrm>
            <a:custGeom>
              <a:avLst/>
              <a:gdLst/>
              <a:ahLst/>
              <a:cxnLst/>
              <a:rect l="0" t="0" r="0" b="0"/>
              <a:pathLst>
                <a:path w="69629" h="75805">
                  <a:moveTo>
                    <a:pt x="41728" y="75804"/>
                  </a:moveTo>
                  <a:lnTo>
                    <a:pt x="35509" y="74084"/>
                  </a:lnTo>
                  <a:lnTo>
                    <a:pt x="18892" y="64739"/>
                  </a:lnTo>
                  <a:lnTo>
                    <a:pt x="6867" y="52305"/>
                  </a:lnTo>
                  <a:lnTo>
                    <a:pt x="2828" y="43820"/>
                  </a:lnTo>
                  <a:lnTo>
                    <a:pt x="0" y="26638"/>
                  </a:lnTo>
                  <a:lnTo>
                    <a:pt x="12340" y="16407"/>
                  </a:lnTo>
                  <a:lnTo>
                    <a:pt x="15000" y="9945"/>
                  </a:lnTo>
                  <a:lnTo>
                    <a:pt x="18942" y="4921"/>
                  </a:lnTo>
                  <a:lnTo>
                    <a:pt x="25303" y="4391"/>
                  </a:lnTo>
                  <a:lnTo>
                    <a:pt x="30683" y="0"/>
                  </a:lnTo>
                  <a:lnTo>
                    <a:pt x="49144" y="26"/>
                  </a:lnTo>
                  <a:lnTo>
                    <a:pt x="55569" y="8360"/>
                  </a:lnTo>
                  <a:lnTo>
                    <a:pt x="60572" y="18148"/>
                  </a:lnTo>
                  <a:lnTo>
                    <a:pt x="59825" y="24913"/>
                  </a:lnTo>
                  <a:lnTo>
                    <a:pt x="63529" y="30999"/>
                  </a:lnTo>
                  <a:lnTo>
                    <a:pt x="63271" y="39523"/>
                  </a:lnTo>
                  <a:lnTo>
                    <a:pt x="69628" y="38191"/>
                  </a:lnTo>
                  <a:lnTo>
                    <a:pt x="58883" y="49035"/>
                  </a:lnTo>
                  <a:lnTo>
                    <a:pt x="48470" y="61636"/>
                  </a:lnTo>
                  <a:lnTo>
                    <a:pt x="47244" y="6838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1" name="Freeform 145">
              <a:extLst>
                <a:ext uri="{FF2B5EF4-FFF2-40B4-BE49-F238E27FC236}">
                  <a16:creationId xmlns:a16="http://schemas.microsoft.com/office/drawing/2014/main" id="{320C13C2-46AC-4B11-92B0-A8014748B605}"/>
                </a:ext>
              </a:extLst>
            </p:cNvPr>
            <p:cNvSpPr>
              <a:spLocks noChangeAspect="1"/>
            </p:cNvSpPr>
            <p:nvPr>
              <p:custDataLst>
                <p:tags r:id="rId151"/>
              </p:custDataLst>
            </p:nvPr>
          </p:nvSpPr>
          <p:spPr>
            <a:xfrm>
              <a:off x="5343056" y="4262259"/>
              <a:ext cx="147487" cy="80739"/>
            </a:xfrm>
            <a:custGeom>
              <a:avLst/>
              <a:gdLst/>
              <a:ahLst/>
              <a:cxnLst/>
              <a:rect l="0" t="0" r="0" b="0"/>
              <a:pathLst>
                <a:path w="147487" h="80739">
                  <a:moveTo>
                    <a:pt x="147253" y="46904"/>
                  </a:moveTo>
                  <a:lnTo>
                    <a:pt x="136834" y="61196"/>
                  </a:lnTo>
                  <a:lnTo>
                    <a:pt x="120738" y="80595"/>
                  </a:lnTo>
                  <a:lnTo>
                    <a:pt x="101324" y="80738"/>
                  </a:lnTo>
                  <a:lnTo>
                    <a:pt x="25853" y="53147"/>
                  </a:lnTo>
                  <a:lnTo>
                    <a:pt x="17040" y="44838"/>
                  </a:lnTo>
                  <a:lnTo>
                    <a:pt x="8526" y="33620"/>
                  </a:lnTo>
                  <a:lnTo>
                    <a:pt x="0" y="20777"/>
                  </a:lnTo>
                  <a:lnTo>
                    <a:pt x="5035" y="12506"/>
                  </a:lnTo>
                  <a:lnTo>
                    <a:pt x="13540" y="0"/>
                  </a:lnTo>
                  <a:lnTo>
                    <a:pt x="21050" y="4309"/>
                  </a:lnTo>
                  <a:lnTo>
                    <a:pt x="25574" y="13970"/>
                  </a:lnTo>
                  <a:lnTo>
                    <a:pt x="35987" y="23741"/>
                  </a:lnTo>
                  <a:lnTo>
                    <a:pt x="47447" y="23819"/>
                  </a:lnTo>
                  <a:lnTo>
                    <a:pt x="69207" y="17849"/>
                  </a:lnTo>
                  <a:lnTo>
                    <a:pt x="94331" y="15082"/>
                  </a:lnTo>
                  <a:lnTo>
                    <a:pt x="114650" y="7826"/>
                  </a:lnTo>
                  <a:lnTo>
                    <a:pt x="126097" y="6287"/>
                  </a:lnTo>
                  <a:lnTo>
                    <a:pt x="134342" y="2024"/>
                  </a:lnTo>
                  <a:lnTo>
                    <a:pt x="147486" y="1202"/>
                  </a:lnTo>
                  <a:lnTo>
                    <a:pt x="147343" y="1585"/>
                  </a:lnTo>
                  <a:lnTo>
                    <a:pt x="147262" y="11211"/>
                  </a:lnTo>
                  <a:lnTo>
                    <a:pt x="147256" y="347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2" name="Freeform 146">
              <a:extLst>
                <a:ext uri="{FF2B5EF4-FFF2-40B4-BE49-F238E27FC236}">
                  <a16:creationId xmlns:a16="http://schemas.microsoft.com/office/drawing/2014/main" id="{BCCB4B53-9705-49B2-824D-7F1145DD8625}"/>
                </a:ext>
              </a:extLst>
            </p:cNvPr>
            <p:cNvSpPr>
              <a:spLocks noChangeAspect="1"/>
            </p:cNvSpPr>
            <p:nvPr>
              <p:custDataLst>
                <p:tags r:id="rId152"/>
              </p:custDataLst>
            </p:nvPr>
          </p:nvSpPr>
          <p:spPr>
            <a:xfrm>
              <a:off x="5306639" y="4249096"/>
              <a:ext cx="234355" cy="317733"/>
            </a:xfrm>
            <a:custGeom>
              <a:avLst/>
              <a:gdLst/>
              <a:ahLst/>
              <a:cxnLst/>
              <a:rect l="0" t="0" r="0" b="0"/>
              <a:pathLst>
                <a:path w="234355" h="317733">
                  <a:moveTo>
                    <a:pt x="201917" y="10430"/>
                  </a:moveTo>
                  <a:lnTo>
                    <a:pt x="214155" y="8076"/>
                  </a:lnTo>
                  <a:lnTo>
                    <a:pt x="225078" y="64"/>
                  </a:lnTo>
                  <a:lnTo>
                    <a:pt x="233831" y="0"/>
                  </a:lnTo>
                  <a:lnTo>
                    <a:pt x="234354" y="6471"/>
                  </a:lnTo>
                  <a:lnTo>
                    <a:pt x="232223" y="20071"/>
                  </a:lnTo>
                  <a:lnTo>
                    <a:pt x="232310" y="32345"/>
                  </a:lnTo>
                  <a:lnTo>
                    <a:pt x="227436" y="40772"/>
                  </a:lnTo>
                  <a:lnTo>
                    <a:pt x="220932" y="65957"/>
                  </a:lnTo>
                  <a:lnTo>
                    <a:pt x="209818" y="91929"/>
                  </a:lnTo>
                  <a:lnTo>
                    <a:pt x="195548" y="121568"/>
                  </a:lnTo>
                  <a:lnTo>
                    <a:pt x="175740" y="155519"/>
                  </a:lnTo>
                  <a:lnTo>
                    <a:pt x="156033" y="181423"/>
                  </a:lnTo>
                  <a:lnTo>
                    <a:pt x="128887" y="212949"/>
                  </a:lnTo>
                  <a:lnTo>
                    <a:pt x="105786" y="231646"/>
                  </a:lnTo>
                  <a:lnTo>
                    <a:pt x="71258" y="254572"/>
                  </a:lnTo>
                  <a:lnTo>
                    <a:pt x="49741" y="272130"/>
                  </a:lnTo>
                  <a:lnTo>
                    <a:pt x="24479" y="300092"/>
                  </a:lnTo>
                  <a:lnTo>
                    <a:pt x="19156" y="312265"/>
                  </a:lnTo>
                  <a:lnTo>
                    <a:pt x="13944" y="317732"/>
                  </a:lnTo>
                  <a:lnTo>
                    <a:pt x="275" y="298687"/>
                  </a:lnTo>
                  <a:lnTo>
                    <a:pt x="0" y="214584"/>
                  </a:lnTo>
                  <a:lnTo>
                    <a:pt x="20175" y="188370"/>
                  </a:lnTo>
                  <a:lnTo>
                    <a:pt x="26489" y="181082"/>
                  </a:lnTo>
                  <a:lnTo>
                    <a:pt x="41286" y="180656"/>
                  </a:lnTo>
                  <a:lnTo>
                    <a:pt x="61857" y="164350"/>
                  </a:lnTo>
                  <a:lnTo>
                    <a:pt x="91928" y="163330"/>
                  </a:lnTo>
                  <a:lnTo>
                    <a:pt x="157155" y="93758"/>
                  </a:lnTo>
                  <a:lnTo>
                    <a:pt x="173251" y="74359"/>
                  </a:lnTo>
                  <a:lnTo>
                    <a:pt x="183670" y="60067"/>
                  </a:lnTo>
                  <a:lnTo>
                    <a:pt x="183673" y="47912"/>
                  </a:lnTo>
                  <a:lnTo>
                    <a:pt x="183679" y="24374"/>
                  </a:lnTo>
                  <a:lnTo>
                    <a:pt x="183760" y="14748"/>
                  </a:lnTo>
                  <a:lnTo>
                    <a:pt x="183903" y="14365"/>
                  </a:lnTo>
                  <a:lnTo>
                    <a:pt x="191279" y="139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3" name="Freeform 147">
              <a:extLst>
                <a:ext uri="{FF2B5EF4-FFF2-40B4-BE49-F238E27FC236}">
                  <a16:creationId xmlns:a16="http://schemas.microsoft.com/office/drawing/2014/main" id="{805E2FE9-D9B6-41AF-80C7-F6277AEEC545}"/>
                </a:ext>
              </a:extLst>
            </p:cNvPr>
            <p:cNvSpPr>
              <a:spLocks noChangeAspect="1"/>
            </p:cNvSpPr>
            <p:nvPr>
              <p:custDataLst>
                <p:tags r:id="rId153"/>
              </p:custDataLst>
            </p:nvPr>
          </p:nvSpPr>
          <p:spPr>
            <a:xfrm>
              <a:off x="4795329" y="3379642"/>
              <a:ext cx="95937" cy="111173"/>
            </a:xfrm>
            <a:custGeom>
              <a:avLst/>
              <a:gdLst/>
              <a:ahLst/>
              <a:cxnLst/>
              <a:rect l="0" t="0" r="0" b="0"/>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4" name="Freeform 148">
              <a:extLst>
                <a:ext uri="{FF2B5EF4-FFF2-40B4-BE49-F238E27FC236}">
                  <a16:creationId xmlns:a16="http://schemas.microsoft.com/office/drawing/2014/main" id="{2E936B60-3C57-42B7-954D-9A8142FA1E38}"/>
                </a:ext>
              </a:extLst>
            </p:cNvPr>
            <p:cNvSpPr>
              <a:spLocks noChangeAspect="1"/>
            </p:cNvSpPr>
            <p:nvPr>
              <p:custDataLst>
                <p:tags r:id="rId154"/>
              </p:custDataLst>
            </p:nvPr>
          </p:nvSpPr>
          <p:spPr>
            <a:xfrm>
              <a:off x="4750322" y="3279625"/>
              <a:ext cx="131067" cy="53806"/>
            </a:xfrm>
            <a:custGeom>
              <a:avLst/>
              <a:gdLst/>
              <a:ahLst/>
              <a:cxnLst/>
              <a:rect l="0" t="0" r="0" b="0"/>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5" name="Freeform 149">
              <a:extLst>
                <a:ext uri="{FF2B5EF4-FFF2-40B4-BE49-F238E27FC236}">
                  <a16:creationId xmlns:a16="http://schemas.microsoft.com/office/drawing/2014/main" id="{25CECB35-9E0D-4C92-9076-468968137949}"/>
                </a:ext>
              </a:extLst>
            </p:cNvPr>
            <p:cNvSpPr>
              <a:spLocks noChangeAspect="1"/>
            </p:cNvSpPr>
            <p:nvPr>
              <p:custDataLst>
                <p:tags r:id="rId155"/>
              </p:custDataLst>
            </p:nvPr>
          </p:nvSpPr>
          <p:spPr>
            <a:xfrm>
              <a:off x="4676875" y="3359915"/>
              <a:ext cx="66173" cy="40426"/>
            </a:xfrm>
            <a:custGeom>
              <a:avLst/>
              <a:gdLst/>
              <a:ahLst/>
              <a:cxnLst/>
              <a:rect l="0" t="0" r="0" b="0"/>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6" name="Freeform 150">
              <a:extLst>
                <a:ext uri="{FF2B5EF4-FFF2-40B4-BE49-F238E27FC236}">
                  <a16:creationId xmlns:a16="http://schemas.microsoft.com/office/drawing/2014/main" id="{2F9FA55C-07DC-4DC4-A837-DDD3E5CD69DC}"/>
                </a:ext>
              </a:extLst>
            </p:cNvPr>
            <p:cNvSpPr>
              <a:spLocks noChangeAspect="1"/>
            </p:cNvSpPr>
            <p:nvPr>
              <p:custDataLst>
                <p:tags r:id="rId156"/>
              </p:custDataLst>
            </p:nvPr>
          </p:nvSpPr>
          <p:spPr>
            <a:xfrm>
              <a:off x="4615228" y="2605431"/>
              <a:ext cx="297213" cy="494295"/>
            </a:xfrm>
            <a:custGeom>
              <a:avLst/>
              <a:gdLst/>
              <a:ahLst/>
              <a:cxnLst/>
              <a:rect l="0" t="0" r="0" b="0"/>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7" name="Freeform 151">
              <a:extLst>
                <a:ext uri="{FF2B5EF4-FFF2-40B4-BE49-F238E27FC236}">
                  <a16:creationId xmlns:a16="http://schemas.microsoft.com/office/drawing/2014/main" id="{228BA8A0-D10D-4737-B2F2-AFB0FEBB512F}"/>
                </a:ext>
              </a:extLst>
            </p:cNvPr>
            <p:cNvSpPr>
              <a:spLocks noChangeAspect="1"/>
            </p:cNvSpPr>
            <p:nvPr>
              <p:custDataLst>
                <p:tags r:id="rId157"/>
              </p:custDataLst>
            </p:nvPr>
          </p:nvSpPr>
          <p:spPr>
            <a:xfrm>
              <a:off x="5068785" y="5133371"/>
              <a:ext cx="32202" cy="40246"/>
            </a:xfrm>
            <a:custGeom>
              <a:avLst/>
              <a:gdLst/>
              <a:ahLst/>
              <a:cxnLst/>
              <a:rect l="0" t="0" r="0" b="0"/>
              <a:pathLst>
                <a:path w="32202" h="40246">
                  <a:moveTo>
                    <a:pt x="32201" y="26538"/>
                  </a:moveTo>
                  <a:lnTo>
                    <a:pt x="27502" y="37561"/>
                  </a:lnTo>
                  <a:lnTo>
                    <a:pt x="13992" y="40245"/>
                  </a:lnTo>
                  <a:lnTo>
                    <a:pt x="216" y="26787"/>
                  </a:lnTo>
                  <a:lnTo>
                    <a:pt x="0" y="18223"/>
                  </a:lnTo>
                  <a:lnTo>
                    <a:pt x="6303" y="8942"/>
                  </a:lnTo>
                  <a:lnTo>
                    <a:pt x="8482" y="1757"/>
                  </a:lnTo>
                  <a:lnTo>
                    <a:pt x="15155" y="0"/>
                  </a:lnTo>
                  <a:lnTo>
                    <a:pt x="26802" y="4516"/>
                  </a:lnTo>
                  <a:lnTo>
                    <a:pt x="30219" y="155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8" name="Freeform 152">
              <a:extLst>
                <a:ext uri="{FF2B5EF4-FFF2-40B4-BE49-F238E27FC236}">
                  <a16:creationId xmlns:a16="http://schemas.microsoft.com/office/drawing/2014/main" id="{4EBC183A-3F9E-4273-94B8-2571FDD94134}"/>
                </a:ext>
              </a:extLst>
            </p:cNvPr>
            <p:cNvSpPr>
              <a:spLocks noChangeAspect="1"/>
            </p:cNvSpPr>
            <p:nvPr>
              <p:custDataLst>
                <p:tags r:id="rId158"/>
              </p:custDataLst>
            </p:nvPr>
          </p:nvSpPr>
          <p:spPr>
            <a:xfrm>
              <a:off x="5184756" y="3627063"/>
              <a:ext cx="153473" cy="128366"/>
            </a:xfrm>
            <a:custGeom>
              <a:avLst/>
              <a:gdLst/>
              <a:ahLst/>
              <a:cxnLst/>
              <a:rect l="0" t="0" r="0" b="0"/>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9" name="Freeform 153">
              <a:extLst>
                <a:ext uri="{FF2B5EF4-FFF2-40B4-BE49-F238E27FC236}">
                  <a16:creationId xmlns:a16="http://schemas.microsoft.com/office/drawing/2014/main" id="{05F7343B-4E7B-43C1-A7B4-C566112E4BAF}"/>
                </a:ext>
              </a:extLst>
            </p:cNvPr>
            <p:cNvSpPr>
              <a:spLocks noChangeAspect="1"/>
            </p:cNvSpPr>
            <p:nvPr>
              <p:custDataLst>
                <p:tags r:id="rId159"/>
              </p:custDataLst>
            </p:nvPr>
          </p:nvSpPr>
          <p:spPr>
            <a:xfrm>
              <a:off x="4673235" y="3977725"/>
              <a:ext cx="238826" cy="378621"/>
            </a:xfrm>
            <a:custGeom>
              <a:avLst/>
              <a:gdLst/>
              <a:ahLst/>
              <a:cxnLst/>
              <a:rect l="0" t="0" r="0" b="0"/>
              <a:pathLst>
                <a:path w="238826" h="378621">
                  <a:moveTo>
                    <a:pt x="22053" y="251808"/>
                  </a:moveTo>
                  <a:lnTo>
                    <a:pt x="24361" y="240752"/>
                  </a:lnTo>
                  <a:lnTo>
                    <a:pt x="9558" y="240211"/>
                  </a:lnTo>
                  <a:lnTo>
                    <a:pt x="9609" y="225088"/>
                  </a:lnTo>
                  <a:lnTo>
                    <a:pt x="0" y="216367"/>
                  </a:lnTo>
                  <a:lnTo>
                    <a:pt x="9966" y="185279"/>
                  </a:lnTo>
                  <a:lnTo>
                    <a:pt x="39410" y="162948"/>
                  </a:lnTo>
                  <a:lnTo>
                    <a:pt x="40626" y="132030"/>
                  </a:lnTo>
                  <a:lnTo>
                    <a:pt x="49521" y="83500"/>
                  </a:lnTo>
                  <a:lnTo>
                    <a:pt x="54541" y="73157"/>
                  </a:lnTo>
                  <a:lnTo>
                    <a:pt x="44936" y="64907"/>
                  </a:lnTo>
                  <a:lnTo>
                    <a:pt x="44565" y="57242"/>
                  </a:lnTo>
                  <a:lnTo>
                    <a:pt x="35928" y="50967"/>
                  </a:lnTo>
                  <a:lnTo>
                    <a:pt x="30259" y="13309"/>
                  </a:lnTo>
                  <a:lnTo>
                    <a:pt x="53562" y="0"/>
                  </a:lnTo>
                  <a:lnTo>
                    <a:pt x="145626" y="46460"/>
                  </a:lnTo>
                  <a:lnTo>
                    <a:pt x="237688" y="92538"/>
                  </a:lnTo>
                  <a:lnTo>
                    <a:pt x="238825" y="187018"/>
                  </a:lnTo>
                  <a:lnTo>
                    <a:pt x="218921" y="185365"/>
                  </a:lnTo>
                  <a:lnTo>
                    <a:pt x="208380" y="202761"/>
                  </a:lnTo>
                  <a:lnTo>
                    <a:pt x="202276" y="217316"/>
                  </a:lnTo>
                  <a:lnTo>
                    <a:pt x="207089" y="222817"/>
                  </a:lnTo>
                  <a:lnTo>
                    <a:pt x="199501" y="230033"/>
                  </a:lnTo>
                  <a:lnTo>
                    <a:pt x="202116" y="239768"/>
                  </a:lnTo>
                  <a:lnTo>
                    <a:pt x="196138" y="249555"/>
                  </a:lnTo>
                  <a:lnTo>
                    <a:pt x="193812" y="258169"/>
                  </a:lnTo>
                  <a:lnTo>
                    <a:pt x="201918" y="256812"/>
                  </a:lnTo>
                  <a:lnTo>
                    <a:pt x="206757" y="265854"/>
                  </a:lnTo>
                  <a:lnTo>
                    <a:pt x="207012" y="279452"/>
                  </a:lnTo>
                  <a:lnTo>
                    <a:pt x="215496" y="286345"/>
                  </a:lnTo>
                  <a:lnTo>
                    <a:pt x="215218" y="292005"/>
                  </a:lnTo>
                  <a:lnTo>
                    <a:pt x="200605" y="295989"/>
                  </a:lnTo>
                  <a:lnTo>
                    <a:pt x="188895" y="305440"/>
                  </a:lnTo>
                  <a:lnTo>
                    <a:pt x="172208" y="330874"/>
                  </a:lnTo>
                  <a:lnTo>
                    <a:pt x="150483" y="341657"/>
                  </a:lnTo>
                  <a:lnTo>
                    <a:pt x="128192" y="340211"/>
                  </a:lnTo>
                  <a:lnTo>
                    <a:pt x="121683" y="342350"/>
                  </a:lnTo>
                  <a:lnTo>
                    <a:pt x="123968" y="350538"/>
                  </a:lnTo>
                  <a:lnTo>
                    <a:pt x="111931" y="358663"/>
                  </a:lnTo>
                  <a:lnTo>
                    <a:pt x="102130" y="367733"/>
                  </a:lnTo>
                  <a:lnTo>
                    <a:pt x="73070" y="376615"/>
                  </a:lnTo>
                  <a:lnTo>
                    <a:pt x="67304" y="371358"/>
                  </a:lnTo>
                  <a:lnTo>
                    <a:pt x="63481" y="370905"/>
                  </a:lnTo>
                  <a:lnTo>
                    <a:pt x="59227" y="376876"/>
                  </a:lnTo>
                  <a:lnTo>
                    <a:pt x="40142" y="378620"/>
                  </a:lnTo>
                  <a:lnTo>
                    <a:pt x="43758" y="372332"/>
                  </a:lnTo>
                  <a:lnTo>
                    <a:pt x="36481" y="356320"/>
                  </a:lnTo>
                  <a:lnTo>
                    <a:pt x="33230" y="346696"/>
                  </a:lnTo>
                  <a:lnTo>
                    <a:pt x="23177" y="342747"/>
                  </a:lnTo>
                  <a:lnTo>
                    <a:pt x="9552" y="329162"/>
                  </a:lnTo>
                  <a:lnTo>
                    <a:pt x="14567" y="318167"/>
                  </a:lnTo>
                  <a:lnTo>
                    <a:pt x="25086" y="320508"/>
                  </a:lnTo>
                  <a:lnTo>
                    <a:pt x="31599" y="318849"/>
                  </a:lnTo>
                  <a:lnTo>
                    <a:pt x="44491" y="319077"/>
                  </a:lnTo>
                  <a:lnTo>
                    <a:pt x="31927" y="297870"/>
                  </a:lnTo>
                  <a:lnTo>
                    <a:pt x="32772" y="282347"/>
                  </a:lnTo>
                  <a:lnTo>
                    <a:pt x="31230" y="2668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0" name="Freeform 154">
              <a:extLst>
                <a:ext uri="{FF2B5EF4-FFF2-40B4-BE49-F238E27FC236}">
                  <a16:creationId xmlns:a16="http://schemas.microsoft.com/office/drawing/2014/main" id="{DB67EE1A-A57D-4CCC-96A9-CE835345C7D3}"/>
                </a:ext>
              </a:extLst>
            </p:cNvPr>
            <p:cNvSpPr>
              <a:spLocks noChangeAspect="1"/>
            </p:cNvSpPr>
            <p:nvPr>
              <p:custDataLst>
                <p:tags r:id="rId160"/>
              </p:custDataLst>
            </p:nvPr>
          </p:nvSpPr>
          <p:spPr>
            <a:xfrm>
              <a:off x="4359537" y="4272621"/>
              <a:ext cx="44205" cy="118341"/>
            </a:xfrm>
            <a:custGeom>
              <a:avLst/>
              <a:gdLst/>
              <a:ahLst/>
              <a:cxnLst/>
              <a:rect l="0" t="0" r="0" b="0"/>
              <a:pathLst>
                <a:path w="44205" h="118341">
                  <a:moveTo>
                    <a:pt x="44204" y="113398"/>
                  </a:moveTo>
                  <a:lnTo>
                    <a:pt x="25620" y="118340"/>
                  </a:lnTo>
                  <a:lnTo>
                    <a:pt x="20468" y="110205"/>
                  </a:lnTo>
                  <a:lnTo>
                    <a:pt x="14315" y="95499"/>
                  </a:lnTo>
                  <a:lnTo>
                    <a:pt x="12482" y="83960"/>
                  </a:lnTo>
                  <a:lnTo>
                    <a:pt x="17585" y="63043"/>
                  </a:lnTo>
                  <a:lnTo>
                    <a:pt x="11795" y="54564"/>
                  </a:lnTo>
                  <a:lnTo>
                    <a:pt x="9596" y="36233"/>
                  </a:lnTo>
                  <a:lnTo>
                    <a:pt x="9634" y="19311"/>
                  </a:lnTo>
                  <a:lnTo>
                    <a:pt x="0" y="7279"/>
                  </a:lnTo>
                  <a:lnTo>
                    <a:pt x="1699" y="0"/>
                  </a:lnTo>
                  <a:lnTo>
                    <a:pt x="21914" y="498"/>
                  </a:lnTo>
                  <a:lnTo>
                    <a:pt x="18977" y="12790"/>
                  </a:lnTo>
                  <a:lnTo>
                    <a:pt x="26028" y="19675"/>
                  </a:lnTo>
                  <a:lnTo>
                    <a:pt x="34044" y="27838"/>
                  </a:lnTo>
                  <a:lnTo>
                    <a:pt x="34920" y="39269"/>
                  </a:lnTo>
                  <a:lnTo>
                    <a:pt x="39570" y="44064"/>
                  </a:lnTo>
                  <a:lnTo>
                    <a:pt x="38519" y="97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1" name="Freeform 155">
              <a:extLst>
                <a:ext uri="{FF2B5EF4-FFF2-40B4-BE49-F238E27FC236}">
                  <a16:creationId xmlns:a16="http://schemas.microsoft.com/office/drawing/2014/main" id="{FE6CE4E6-2815-41F1-8D47-ED9D180D04CA}"/>
                </a:ext>
              </a:extLst>
            </p:cNvPr>
            <p:cNvSpPr>
              <a:spLocks noChangeAspect="1"/>
            </p:cNvSpPr>
            <p:nvPr>
              <p:custDataLst>
                <p:tags r:id="rId161"/>
              </p:custDataLst>
            </p:nvPr>
          </p:nvSpPr>
          <p:spPr>
            <a:xfrm>
              <a:off x="6608383" y="4050155"/>
              <a:ext cx="189582" cy="346306"/>
            </a:xfrm>
            <a:custGeom>
              <a:avLst/>
              <a:gdLst/>
              <a:ahLst/>
              <a:cxnLst/>
              <a:rect l="0" t="0" r="0" b="0"/>
              <a:pathLst>
                <a:path w="189582" h="346306">
                  <a:moveTo>
                    <a:pt x="120238" y="195149"/>
                  </a:moveTo>
                  <a:lnTo>
                    <a:pt x="99515" y="184389"/>
                  </a:lnTo>
                  <a:lnTo>
                    <a:pt x="79772" y="184827"/>
                  </a:lnTo>
                  <a:lnTo>
                    <a:pt x="83157" y="166388"/>
                  </a:lnTo>
                  <a:lnTo>
                    <a:pt x="62828" y="166526"/>
                  </a:lnTo>
                  <a:lnTo>
                    <a:pt x="61004" y="192329"/>
                  </a:lnTo>
                  <a:lnTo>
                    <a:pt x="48543" y="226490"/>
                  </a:lnTo>
                  <a:lnTo>
                    <a:pt x="41037" y="247096"/>
                  </a:lnTo>
                  <a:lnTo>
                    <a:pt x="42622" y="263955"/>
                  </a:lnTo>
                  <a:lnTo>
                    <a:pt x="57659" y="264686"/>
                  </a:lnTo>
                  <a:lnTo>
                    <a:pt x="67026" y="285912"/>
                  </a:lnTo>
                  <a:lnTo>
                    <a:pt x="71172" y="306013"/>
                  </a:lnTo>
                  <a:lnTo>
                    <a:pt x="84053" y="319298"/>
                  </a:lnTo>
                  <a:lnTo>
                    <a:pt x="98036" y="321994"/>
                  </a:lnTo>
                  <a:lnTo>
                    <a:pt x="109995" y="334023"/>
                  </a:lnTo>
                  <a:lnTo>
                    <a:pt x="102449" y="343539"/>
                  </a:lnTo>
                  <a:lnTo>
                    <a:pt x="87214" y="346305"/>
                  </a:lnTo>
                  <a:lnTo>
                    <a:pt x="85397" y="334411"/>
                  </a:lnTo>
                  <a:lnTo>
                    <a:pt x="66563" y="324261"/>
                  </a:lnTo>
                  <a:lnTo>
                    <a:pt x="62550" y="328395"/>
                  </a:lnTo>
                  <a:lnTo>
                    <a:pt x="53431" y="319499"/>
                  </a:lnTo>
                  <a:lnTo>
                    <a:pt x="49483" y="308011"/>
                  </a:lnTo>
                  <a:lnTo>
                    <a:pt x="37218" y="294906"/>
                  </a:lnTo>
                  <a:lnTo>
                    <a:pt x="26035" y="283886"/>
                  </a:lnTo>
                  <a:lnTo>
                    <a:pt x="22246" y="297541"/>
                  </a:lnTo>
                  <a:lnTo>
                    <a:pt x="17868" y="284637"/>
                  </a:lnTo>
                  <a:lnTo>
                    <a:pt x="20388" y="270129"/>
                  </a:lnTo>
                  <a:lnTo>
                    <a:pt x="27183" y="247798"/>
                  </a:lnTo>
                  <a:lnTo>
                    <a:pt x="38369" y="223824"/>
                  </a:lnTo>
                  <a:lnTo>
                    <a:pt x="51045" y="202028"/>
                  </a:lnTo>
                  <a:lnTo>
                    <a:pt x="42020" y="180660"/>
                  </a:lnTo>
                  <a:lnTo>
                    <a:pt x="42382" y="169757"/>
                  </a:lnTo>
                  <a:lnTo>
                    <a:pt x="39745" y="156638"/>
                  </a:lnTo>
                  <a:lnTo>
                    <a:pt x="24350" y="137930"/>
                  </a:lnTo>
                  <a:lnTo>
                    <a:pt x="18840" y="126096"/>
                  </a:lnTo>
                  <a:lnTo>
                    <a:pt x="26810" y="121733"/>
                  </a:lnTo>
                  <a:lnTo>
                    <a:pt x="35257" y="101171"/>
                  </a:lnTo>
                  <a:lnTo>
                    <a:pt x="25803" y="85523"/>
                  </a:lnTo>
                  <a:lnTo>
                    <a:pt x="11154" y="68172"/>
                  </a:lnTo>
                  <a:lnTo>
                    <a:pt x="0" y="47259"/>
                  </a:lnTo>
                  <a:lnTo>
                    <a:pt x="9738" y="42922"/>
                  </a:lnTo>
                  <a:lnTo>
                    <a:pt x="20262" y="17045"/>
                  </a:lnTo>
                  <a:lnTo>
                    <a:pt x="36558" y="15971"/>
                  </a:lnTo>
                  <a:lnTo>
                    <a:pt x="50029" y="5560"/>
                  </a:lnTo>
                  <a:lnTo>
                    <a:pt x="63249" y="0"/>
                  </a:lnTo>
                  <a:lnTo>
                    <a:pt x="73241" y="7419"/>
                  </a:lnTo>
                  <a:lnTo>
                    <a:pt x="74566" y="21837"/>
                  </a:lnTo>
                  <a:lnTo>
                    <a:pt x="90163" y="22933"/>
                  </a:lnTo>
                  <a:lnTo>
                    <a:pt x="84483" y="48131"/>
                  </a:lnTo>
                  <a:lnTo>
                    <a:pt x="85029" y="69491"/>
                  </a:lnTo>
                  <a:lnTo>
                    <a:pt x="109359" y="55282"/>
                  </a:lnTo>
                  <a:lnTo>
                    <a:pt x="116269" y="59485"/>
                  </a:lnTo>
                  <a:lnTo>
                    <a:pt x="129789" y="58796"/>
                  </a:lnTo>
                  <a:lnTo>
                    <a:pt x="134440" y="50500"/>
                  </a:lnTo>
                  <a:lnTo>
                    <a:pt x="151897" y="52138"/>
                  </a:lnTo>
                  <a:lnTo>
                    <a:pt x="169451" y="71480"/>
                  </a:lnTo>
                  <a:lnTo>
                    <a:pt x="170891" y="94915"/>
                  </a:lnTo>
                  <a:lnTo>
                    <a:pt x="189581" y="115546"/>
                  </a:lnTo>
                  <a:lnTo>
                    <a:pt x="188549" y="135528"/>
                  </a:lnTo>
                  <a:lnTo>
                    <a:pt x="181034" y="146149"/>
                  </a:lnTo>
                  <a:lnTo>
                    <a:pt x="159398" y="142768"/>
                  </a:lnTo>
                  <a:lnTo>
                    <a:pt x="129551" y="147267"/>
                  </a:lnTo>
                  <a:lnTo>
                    <a:pt x="114772" y="1668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2" name="Freeform 156">
              <a:extLst>
                <a:ext uri="{FF2B5EF4-FFF2-40B4-BE49-F238E27FC236}">
                  <a16:creationId xmlns:a16="http://schemas.microsoft.com/office/drawing/2014/main" id="{608823FC-7A07-43C1-8E21-0608F92100DF}"/>
                </a:ext>
              </a:extLst>
            </p:cNvPr>
            <p:cNvSpPr>
              <a:spLocks noChangeAspect="1"/>
            </p:cNvSpPr>
            <p:nvPr>
              <p:custDataLst>
                <p:tags r:id="rId162"/>
              </p:custDataLst>
            </p:nvPr>
          </p:nvSpPr>
          <p:spPr>
            <a:xfrm>
              <a:off x="5917433" y="3526296"/>
              <a:ext cx="173993" cy="113820"/>
            </a:xfrm>
            <a:custGeom>
              <a:avLst/>
              <a:gdLst/>
              <a:ahLst/>
              <a:cxnLst/>
              <a:rect l="0" t="0" r="0" b="0"/>
              <a:pathLst>
                <a:path w="173993" h="113820">
                  <a:moveTo>
                    <a:pt x="82451" y="19589"/>
                  </a:moveTo>
                  <a:lnTo>
                    <a:pt x="73999" y="27995"/>
                  </a:lnTo>
                  <a:lnTo>
                    <a:pt x="48875" y="23437"/>
                  </a:lnTo>
                  <a:lnTo>
                    <a:pt x="46689" y="39103"/>
                  </a:lnTo>
                  <a:lnTo>
                    <a:pt x="71717" y="37002"/>
                  </a:lnTo>
                  <a:lnTo>
                    <a:pt x="100236" y="45798"/>
                  </a:lnTo>
                  <a:lnTo>
                    <a:pt x="143878" y="41690"/>
                  </a:lnTo>
                  <a:lnTo>
                    <a:pt x="149729" y="66657"/>
                  </a:lnTo>
                  <a:lnTo>
                    <a:pt x="157316" y="63950"/>
                  </a:lnTo>
                  <a:lnTo>
                    <a:pt x="171334" y="70067"/>
                  </a:lnTo>
                  <a:lnTo>
                    <a:pt x="170530" y="80489"/>
                  </a:lnTo>
                  <a:lnTo>
                    <a:pt x="173992" y="95707"/>
                  </a:lnTo>
                  <a:lnTo>
                    <a:pt x="150187" y="95665"/>
                  </a:lnTo>
                  <a:lnTo>
                    <a:pt x="134291" y="93702"/>
                  </a:lnTo>
                  <a:lnTo>
                    <a:pt x="119907" y="105613"/>
                  </a:lnTo>
                  <a:lnTo>
                    <a:pt x="109662" y="108248"/>
                  </a:lnTo>
                  <a:lnTo>
                    <a:pt x="101620" y="113819"/>
                  </a:lnTo>
                  <a:lnTo>
                    <a:pt x="92480" y="105132"/>
                  </a:lnTo>
                  <a:lnTo>
                    <a:pt x="94632" y="82742"/>
                  </a:lnTo>
                  <a:lnTo>
                    <a:pt x="87650" y="81472"/>
                  </a:lnTo>
                  <a:lnTo>
                    <a:pt x="90159" y="73285"/>
                  </a:lnTo>
                  <a:lnTo>
                    <a:pt x="77664" y="67182"/>
                  </a:lnTo>
                  <a:lnTo>
                    <a:pt x="67727" y="76516"/>
                  </a:lnTo>
                  <a:lnTo>
                    <a:pt x="65286" y="87302"/>
                  </a:lnTo>
                  <a:lnTo>
                    <a:pt x="61732" y="91223"/>
                  </a:lnTo>
                  <a:lnTo>
                    <a:pt x="47933" y="90669"/>
                  </a:lnTo>
                  <a:lnTo>
                    <a:pt x="40489" y="102861"/>
                  </a:lnTo>
                  <a:lnTo>
                    <a:pt x="32714" y="97722"/>
                  </a:lnTo>
                  <a:lnTo>
                    <a:pt x="16004" y="106262"/>
                  </a:lnTo>
                  <a:lnTo>
                    <a:pt x="8951" y="103024"/>
                  </a:lnTo>
                  <a:lnTo>
                    <a:pt x="21925" y="76017"/>
                  </a:lnTo>
                  <a:lnTo>
                    <a:pt x="16938" y="56004"/>
                  </a:lnTo>
                  <a:lnTo>
                    <a:pt x="0" y="49564"/>
                  </a:lnTo>
                  <a:lnTo>
                    <a:pt x="5984" y="37645"/>
                  </a:lnTo>
                  <a:lnTo>
                    <a:pt x="25257" y="38920"/>
                  </a:lnTo>
                  <a:lnTo>
                    <a:pt x="36227" y="23901"/>
                  </a:lnTo>
                  <a:lnTo>
                    <a:pt x="43564" y="6373"/>
                  </a:lnTo>
                  <a:lnTo>
                    <a:pt x="74428" y="0"/>
                  </a:lnTo>
                  <a:lnTo>
                    <a:pt x="69616" y="12704"/>
                  </a:lnTo>
                  <a:lnTo>
                    <a:pt x="72923" y="202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3" name="Freeform 157">
              <a:extLst>
                <a:ext uri="{FF2B5EF4-FFF2-40B4-BE49-F238E27FC236}">
                  <a16:creationId xmlns:a16="http://schemas.microsoft.com/office/drawing/2014/main" id="{BCA003B4-027E-4DEA-AC83-293E70114E2A}"/>
                </a:ext>
              </a:extLst>
            </p:cNvPr>
            <p:cNvSpPr>
              <a:spLocks noChangeAspect="1"/>
            </p:cNvSpPr>
            <p:nvPr>
              <p:custDataLst>
                <p:tags r:id="rId163"/>
              </p:custDataLst>
            </p:nvPr>
          </p:nvSpPr>
          <p:spPr>
            <a:xfrm>
              <a:off x="5572584" y="3476717"/>
              <a:ext cx="324167" cy="202057"/>
            </a:xfrm>
            <a:custGeom>
              <a:avLst/>
              <a:gdLst/>
              <a:ahLst/>
              <a:cxnLst/>
              <a:rect l="0" t="0" r="0" b="0"/>
              <a:pathLst>
                <a:path w="324167" h="202057">
                  <a:moveTo>
                    <a:pt x="201012" y="192103"/>
                  </a:moveTo>
                  <a:lnTo>
                    <a:pt x="198987" y="169924"/>
                  </a:lnTo>
                  <a:lnTo>
                    <a:pt x="181780" y="168978"/>
                  </a:lnTo>
                  <a:lnTo>
                    <a:pt x="155399" y="145473"/>
                  </a:lnTo>
                  <a:lnTo>
                    <a:pt x="136965" y="142560"/>
                  </a:lnTo>
                  <a:lnTo>
                    <a:pt x="111442" y="129018"/>
                  </a:lnTo>
                  <a:lnTo>
                    <a:pt x="95029" y="126550"/>
                  </a:lnTo>
                  <a:lnTo>
                    <a:pt x="84896" y="131536"/>
                  </a:lnTo>
                  <a:lnTo>
                    <a:pt x="69458" y="130761"/>
                  </a:lnTo>
                  <a:lnTo>
                    <a:pt x="53040" y="146020"/>
                  </a:lnTo>
                  <a:lnTo>
                    <a:pt x="32757" y="151170"/>
                  </a:lnTo>
                  <a:lnTo>
                    <a:pt x="28462" y="132312"/>
                  </a:lnTo>
                  <a:lnTo>
                    <a:pt x="31818" y="104220"/>
                  </a:lnTo>
                  <a:lnTo>
                    <a:pt x="13816" y="95076"/>
                  </a:lnTo>
                  <a:lnTo>
                    <a:pt x="19743" y="76499"/>
                  </a:lnTo>
                  <a:lnTo>
                    <a:pt x="4421" y="74910"/>
                  </a:lnTo>
                  <a:lnTo>
                    <a:pt x="9528" y="51876"/>
                  </a:lnTo>
                  <a:lnTo>
                    <a:pt x="31293" y="58602"/>
                  </a:lnTo>
                  <a:lnTo>
                    <a:pt x="51575" y="49832"/>
                  </a:lnTo>
                  <a:lnTo>
                    <a:pt x="34759" y="33313"/>
                  </a:lnTo>
                  <a:lnTo>
                    <a:pt x="28144" y="17485"/>
                  </a:lnTo>
                  <a:lnTo>
                    <a:pt x="9562" y="24554"/>
                  </a:lnTo>
                  <a:lnTo>
                    <a:pt x="7207" y="44767"/>
                  </a:lnTo>
                  <a:lnTo>
                    <a:pt x="0" y="26900"/>
                  </a:lnTo>
                  <a:lnTo>
                    <a:pt x="10198" y="17684"/>
                  </a:lnTo>
                  <a:lnTo>
                    <a:pt x="36400" y="11905"/>
                  </a:lnTo>
                  <a:lnTo>
                    <a:pt x="52003" y="19682"/>
                  </a:lnTo>
                  <a:lnTo>
                    <a:pt x="68158" y="41343"/>
                  </a:lnTo>
                  <a:lnTo>
                    <a:pt x="79998" y="40000"/>
                  </a:lnTo>
                  <a:lnTo>
                    <a:pt x="106040" y="39623"/>
                  </a:lnTo>
                  <a:lnTo>
                    <a:pt x="102250" y="25718"/>
                  </a:lnTo>
                  <a:lnTo>
                    <a:pt x="121970" y="16171"/>
                  </a:lnTo>
                  <a:lnTo>
                    <a:pt x="141417" y="0"/>
                  </a:lnTo>
                  <a:lnTo>
                    <a:pt x="172519" y="14712"/>
                  </a:lnTo>
                  <a:lnTo>
                    <a:pt x="174986" y="36790"/>
                  </a:lnTo>
                  <a:lnTo>
                    <a:pt x="183819" y="42431"/>
                  </a:lnTo>
                  <a:lnTo>
                    <a:pt x="208776" y="41164"/>
                  </a:lnTo>
                  <a:lnTo>
                    <a:pt x="216521" y="46156"/>
                  </a:lnTo>
                  <a:lnTo>
                    <a:pt x="227867" y="74359"/>
                  </a:lnTo>
                  <a:lnTo>
                    <a:pt x="254268" y="93110"/>
                  </a:lnTo>
                  <a:lnTo>
                    <a:pt x="269323" y="105829"/>
                  </a:lnTo>
                  <a:lnTo>
                    <a:pt x="293462" y="119006"/>
                  </a:lnTo>
                  <a:lnTo>
                    <a:pt x="324166" y="130478"/>
                  </a:lnTo>
                  <a:lnTo>
                    <a:pt x="323530" y="146810"/>
                  </a:lnTo>
                  <a:lnTo>
                    <a:pt x="316577" y="145984"/>
                  </a:lnTo>
                  <a:lnTo>
                    <a:pt x="305687" y="138856"/>
                  </a:lnTo>
                  <a:lnTo>
                    <a:pt x="302071" y="148342"/>
                  </a:lnTo>
                  <a:lnTo>
                    <a:pt x="282616" y="153485"/>
                  </a:lnTo>
                  <a:lnTo>
                    <a:pt x="278008" y="174668"/>
                  </a:lnTo>
                  <a:lnTo>
                    <a:pt x="264999" y="182688"/>
                  </a:lnTo>
                  <a:lnTo>
                    <a:pt x="246779" y="186658"/>
                  </a:lnTo>
                  <a:lnTo>
                    <a:pt x="241957" y="198561"/>
                  </a:lnTo>
                  <a:lnTo>
                    <a:pt x="224552" y="20205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4" name="Freeform 158">
              <a:extLst>
                <a:ext uri="{FF2B5EF4-FFF2-40B4-BE49-F238E27FC236}">
                  <a16:creationId xmlns:a16="http://schemas.microsoft.com/office/drawing/2014/main" id="{D8D300E8-48AC-4044-AFCC-F6B5DF75A026}"/>
                </a:ext>
              </a:extLst>
            </p:cNvPr>
            <p:cNvSpPr>
              <a:spLocks noChangeAspect="1"/>
            </p:cNvSpPr>
            <p:nvPr>
              <p:custDataLst>
                <p:tags r:id="rId164"/>
              </p:custDataLst>
            </p:nvPr>
          </p:nvSpPr>
          <p:spPr>
            <a:xfrm>
              <a:off x="7245298" y="4719368"/>
              <a:ext cx="54643" cy="26048"/>
            </a:xfrm>
            <a:custGeom>
              <a:avLst/>
              <a:gdLst/>
              <a:ahLst/>
              <a:cxnLst/>
              <a:rect l="0" t="0" r="0" b="0"/>
              <a:pathLst>
                <a:path w="54643" h="26048">
                  <a:moveTo>
                    <a:pt x="0" y="14402"/>
                  </a:moveTo>
                  <a:lnTo>
                    <a:pt x="2714" y="8915"/>
                  </a:lnTo>
                  <a:lnTo>
                    <a:pt x="22584" y="3689"/>
                  </a:lnTo>
                  <a:lnTo>
                    <a:pt x="38688" y="2902"/>
                  </a:lnTo>
                  <a:lnTo>
                    <a:pt x="45901" y="0"/>
                  </a:lnTo>
                  <a:lnTo>
                    <a:pt x="54642" y="2881"/>
                  </a:lnTo>
                  <a:lnTo>
                    <a:pt x="46150" y="9179"/>
                  </a:lnTo>
                  <a:lnTo>
                    <a:pt x="22095" y="19362"/>
                  </a:lnTo>
                  <a:lnTo>
                    <a:pt x="2767" y="26047"/>
                  </a:lnTo>
                  <a:lnTo>
                    <a:pt x="2339" y="1898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5" name="Freeform 159">
              <a:extLst>
                <a:ext uri="{FF2B5EF4-FFF2-40B4-BE49-F238E27FC236}">
                  <a16:creationId xmlns:a16="http://schemas.microsoft.com/office/drawing/2014/main" id="{360FBF5D-5751-4CDD-B82A-1AF87540548A}"/>
                </a:ext>
              </a:extLst>
            </p:cNvPr>
            <p:cNvSpPr>
              <a:spLocks noChangeAspect="1"/>
            </p:cNvSpPr>
            <p:nvPr>
              <p:custDataLst>
                <p:tags r:id="rId165"/>
              </p:custDataLst>
            </p:nvPr>
          </p:nvSpPr>
          <p:spPr>
            <a:xfrm>
              <a:off x="4534372" y="3623867"/>
              <a:ext cx="91507" cy="182659"/>
            </a:xfrm>
            <a:custGeom>
              <a:avLst/>
              <a:gdLst/>
              <a:ahLst/>
              <a:cxnLst/>
              <a:rect l="0" t="0" r="0" b="0"/>
              <a:pathLst>
                <a:path w="91507" h="182659">
                  <a:moveTo>
                    <a:pt x="45188" y="182658"/>
                  </a:moveTo>
                  <a:lnTo>
                    <a:pt x="35342" y="136950"/>
                  </a:lnTo>
                  <a:lnTo>
                    <a:pt x="21112" y="126598"/>
                  </a:lnTo>
                  <a:lnTo>
                    <a:pt x="20912" y="120377"/>
                  </a:lnTo>
                  <a:lnTo>
                    <a:pt x="2034" y="105018"/>
                  </a:lnTo>
                  <a:lnTo>
                    <a:pt x="0" y="85508"/>
                  </a:lnTo>
                  <a:lnTo>
                    <a:pt x="14230" y="70993"/>
                  </a:lnTo>
                  <a:lnTo>
                    <a:pt x="19664" y="49421"/>
                  </a:lnTo>
                  <a:lnTo>
                    <a:pt x="16004" y="24318"/>
                  </a:lnTo>
                  <a:lnTo>
                    <a:pt x="20693" y="10727"/>
                  </a:lnTo>
                  <a:lnTo>
                    <a:pt x="45831" y="0"/>
                  </a:lnTo>
                  <a:lnTo>
                    <a:pt x="61989" y="3193"/>
                  </a:lnTo>
                  <a:lnTo>
                    <a:pt x="61311" y="16623"/>
                  </a:lnTo>
                  <a:lnTo>
                    <a:pt x="80890" y="6859"/>
                  </a:lnTo>
                  <a:lnTo>
                    <a:pt x="82533" y="11958"/>
                  </a:lnTo>
                  <a:lnTo>
                    <a:pt x="70991" y="24931"/>
                  </a:lnTo>
                  <a:lnTo>
                    <a:pt x="70836" y="37132"/>
                  </a:lnTo>
                  <a:lnTo>
                    <a:pt x="78828" y="43668"/>
                  </a:lnTo>
                  <a:lnTo>
                    <a:pt x="75788" y="66339"/>
                  </a:lnTo>
                  <a:lnTo>
                    <a:pt x="60594" y="79441"/>
                  </a:lnTo>
                  <a:lnTo>
                    <a:pt x="64981" y="93593"/>
                  </a:lnTo>
                  <a:lnTo>
                    <a:pt x="76919" y="94033"/>
                  </a:lnTo>
                  <a:lnTo>
                    <a:pt x="82728" y="106330"/>
                  </a:lnTo>
                  <a:lnTo>
                    <a:pt x="91506" y="110365"/>
                  </a:lnTo>
                  <a:lnTo>
                    <a:pt x="90202" y="130125"/>
                  </a:lnTo>
                  <a:lnTo>
                    <a:pt x="78950" y="137484"/>
                  </a:lnTo>
                  <a:lnTo>
                    <a:pt x="71843" y="145681"/>
                  </a:lnTo>
                  <a:lnTo>
                    <a:pt x="55992" y="155515"/>
                  </a:lnTo>
                  <a:lnTo>
                    <a:pt x="58447" y="166060"/>
                  </a:lnTo>
                  <a:lnTo>
                    <a:pt x="56449" y="1767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6" name="Freeform 160">
              <a:extLst>
                <a:ext uri="{FF2B5EF4-FFF2-40B4-BE49-F238E27FC236}">
                  <a16:creationId xmlns:a16="http://schemas.microsoft.com/office/drawing/2014/main" id="{45BEB37A-E4A5-4B03-9E06-FF683952C2CA}"/>
                </a:ext>
              </a:extLst>
            </p:cNvPr>
            <p:cNvSpPr>
              <a:spLocks noChangeAspect="1"/>
            </p:cNvSpPr>
            <p:nvPr>
              <p:custDataLst>
                <p:tags r:id="rId166"/>
              </p:custDataLst>
            </p:nvPr>
          </p:nvSpPr>
          <p:spPr>
            <a:xfrm>
              <a:off x="4961837" y="3493694"/>
              <a:ext cx="432815" cy="170618"/>
            </a:xfrm>
            <a:custGeom>
              <a:avLst/>
              <a:gdLst/>
              <a:ahLst/>
              <a:cxnLst/>
              <a:rect l="l" t="t" r="r" b="b"/>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7" name="Freeform 161">
              <a:extLst>
                <a:ext uri="{FF2B5EF4-FFF2-40B4-BE49-F238E27FC236}">
                  <a16:creationId xmlns:a16="http://schemas.microsoft.com/office/drawing/2014/main" id="{3A972A6A-E7AA-4582-BAF2-7996A22C5531}"/>
                </a:ext>
              </a:extLst>
            </p:cNvPr>
            <p:cNvSpPr>
              <a:spLocks noChangeAspect="1"/>
            </p:cNvSpPr>
            <p:nvPr>
              <p:custDataLst>
                <p:tags r:id="rId167"/>
              </p:custDataLst>
            </p:nvPr>
          </p:nvSpPr>
          <p:spPr>
            <a:xfrm>
              <a:off x="7133058" y="3931551"/>
              <a:ext cx="42590" cy="81135"/>
            </a:xfrm>
            <a:custGeom>
              <a:avLst/>
              <a:gdLst/>
              <a:ahLst/>
              <a:cxnLst/>
              <a:rect l="0" t="0" r="0" b="0"/>
              <a:pathLst>
                <a:path w="42590" h="81135">
                  <a:moveTo>
                    <a:pt x="38586" y="22120"/>
                  </a:moveTo>
                  <a:lnTo>
                    <a:pt x="24686" y="61235"/>
                  </a:lnTo>
                  <a:lnTo>
                    <a:pt x="14794" y="81134"/>
                  </a:lnTo>
                  <a:lnTo>
                    <a:pt x="2630" y="60652"/>
                  </a:lnTo>
                  <a:lnTo>
                    <a:pt x="0" y="42601"/>
                  </a:lnTo>
                  <a:lnTo>
                    <a:pt x="13585" y="18588"/>
                  </a:lnTo>
                  <a:lnTo>
                    <a:pt x="32059" y="0"/>
                  </a:lnTo>
                  <a:lnTo>
                    <a:pt x="42589" y="7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8" name="Freeform 162">
              <a:extLst>
                <a:ext uri="{FF2B5EF4-FFF2-40B4-BE49-F238E27FC236}">
                  <a16:creationId xmlns:a16="http://schemas.microsoft.com/office/drawing/2014/main" id="{41A25AB6-8A76-4EC9-ACB1-CEBD0CFA25FF}"/>
                </a:ext>
              </a:extLst>
            </p:cNvPr>
            <p:cNvSpPr>
              <a:spLocks noChangeAspect="1"/>
            </p:cNvSpPr>
            <p:nvPr>
              <p:custDataLst>
                <p:tags r:id="rId168"/>
              </p:custDataLst>
            </p:nvPr>
          </p:nvSpPr>
          <p:spPr>
            <a:xfrm>
              <a:off x="5037932" y="4549900"/>
              <a:ext cx="253370" cy="249838"/>
            </a:xfrm>
            <a:custGeom>
              <a:avLst/>
              <a:gdLst/>
              <a:ahLst/>
              <a:cxnLst/>
              <a:rect l="0" t="0" r="0" b="0"/>
              <a:pathLst>
                <a:path w="253370" h="249838">
                  <a:moveTo>
                    <a:pt x="105343" y="0"/>
                  </a:moveTo>
                  <a:lnTo>
                    <a:pt x="109242" y="2535"/>
                  </a:lnTo>
                  <a:lnTo>
                    <a:pt x="192941" y="49580"/>
                  </a:lnTo>
                  <a:lnTo>
                    <a:pt x="194516" y="62985"/>
                  </a:lnTo>
                  <a:lnTo>
                    <a:pt x="227647" y="86100"/>
                  </a:lnTo>
                  <a:lnTo>
                    <a:pt x="216990" y="114620"/>
                  </a:lnTo>
                  <a:lnTo>
                    <a:pt x="218357" y="127750"/>
                  </a:lnTo>
                  <a:lnTo>
                    <a:pt x="233135" y="136197"/>
                  </a:lnTo>
                  <a:lnTo>
                    <a:pt x="233828" y="142227"/>
                  </a:lnTo>
                  <a:lnTo>
                    <a:pt x="227473" y="156241"/>
                  </a:lnTo>
                  <a:lnTo>
                    <a:pt x="228796" y="163299"/>
                  </a:lnTo>
                  <a:lnTo>
                    <a:pt x="227284" y="174399"/>
                  </a:lnTo>
                  <a:lnTo>
                    <a:pt x="235345" y="188978"/>
                  </a:lnTo>
                  <a:lnTo>
                    <a:pt x="244898" y="211945"/>
                  </a:lnTo>
                  <a:lnTo>
                    <a:pt x="253369" y="217045"/>
                  </a:lnTo>
                  <a:lnTo>
                    <a:pt x="235005" y="230576"/>
                  </a:lnTo>
                  <a:lnTo>
                    <a:pt x="209765" y="239648"/>
                  </a:lnTo>
                  <a:lnTo>
                    <a:pt x="195918" y="239264"/>
                  </a:lnTo>
                  <a:lnTo>
                    <a:pt x="187692" y="246277"/>
                  </a:lnTo>
                  <a:lnTo>
                    <a:pt x="171623" y="246880"/>
                  </a:lnTo>
                  <a:lnTo>
                    <a:pt x="165597" y="249837"/>
                  </a:lnTo>
                  <a:lnTo>
                    <a:pt x="137859" y="243247"/>
                  </a:lnTo>
                  <a:lnTo>
                    <a:pt x="120492" y="245138"/>
                  </a:lnTo>
                  <a:lnTo>
                    <a:pt x="114029" y="213381"/>
                  </a:lnTo>
                  <a:lnTo>
                    <a:pt x="106200" y="202513"/>
                  </a:lnTo>
                  <a:lnTo>
                    <a:pt x="101557" y="196073"/>
                  </a:lnTo>
                  <a:lnTo>
                    <a:pt x="78929" y="191730"/>
                  </a:lnTo>
                  <a:lnTo>
                    <a:pt x="65829" y="184744"/>
                  </a:lnTo>
                  <a:lnTo>
                    <a:pt x="51159" y="180829"/>
                  </a:lnTo>
                  <a:lnTo>
                    <a:pt x="41959" y="176934"/>
                  </a:lnTo>
                  <a:lnTo>
                    <a:pt x="32316" y="171016"/>
                  </a:lnTo>
                  <a:lnTo>
                    <a:pt x="19852" y="141763"/>
                  </a:lnTo>
                  <a:lnTo>
                    <a:pt x="6463" y="128778"/>
                  </a:lnTo>
                  <a:lnTo>
                    <a:pt x="1846" y="115339"/>
                  </a:lnTo>
                  <a:lnTo>
                    <a:pt x="4155" y="103298"/>
                  </a:lnTo>
                  <a:lnTo>
                    <a:pt x="0" y="82011"/>
                  </a:lnTo>
                  <a:lnTo>
                    <a:pt x="9545" y="80910"/>
                  </a:lnTo>
                  <a:lnTo>
                    <a:pt x="17920" y="72533"/>
                  </a:lnTo>
                  <a:lnTo>
                    <a:pt x="26904" y="60477"/>
                  </a:lnTo>
                  <a:lnTo>
                    <a:pt x="32598" y="55641"/>
                  </a:lnTo>
                  <a:lnTo>
                    <a:pt x="32385" y="48132"/>
                  </a:lnTo>
                  <a:lnTo>
                    <a:pt x="27415" y="42894"/>
                  </a:lnTo>
                  <a:lnTo>
                    <a:pt x="26076" y="33799"/>
                  </a:lnTo>
                  <a:lnTo>
                    <a:pt x="32739" y="30875"/>
                  </a:lnTo>
                  <a:lnTo>
                    <a:pt x="34074" y="17290"/>
                  </a:lnTo>
                  <a:lnTo>
                    <a:pt x="24909" y="4263"/>
                  </a:lnTo>
                  <a:lnTo>
                    <a:pt x="33005" y="1490"/>
                  </a:lnTo>
                  <a:lnTo>
                    <a:pt x="58311" y="17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9" name="Freeform 163">
              <a:extLst>
                <a:ext uri="{FF2B5EF4-FFF2-40B4-BE49-F238E27FC236}">
                  <a16:creationId xmlns:a16="http://schemas.microsoft.com/office/drawing/2014/main" id="{3EDA0D19-F193-458B-98DD-94456A109117}"/>
                </a:ext>
              </a:extLst>
            </p:cNvPr>
            <p:cNvSpPr>
              <a:spLocks noChangeAspect="1"/>
            </p:cNvSpPr>
            <p:nvPr>
              <p:custDataLst>
                <p:tags r:id="rId169"/>
              </p:custDataLst>
            </p:nvPr>
          </p:nvSpPr>
          <p:spPr>
            <a:xfrm>
              <a:off x="5043460" y="4429814"/>
              <a:ext cx="125952" cy="131476"/>
            </a:xfrm>
            <a:custGeom>
              <a:avLst/>
              <a:gdLst/>
              <a:ahLst/>
              <a:cxnLst/>
              <a:rect l="0" t="0" r="0" b="0"/>
              <a:pathLst>
                <a:path w="125952" h="131476">
                  <a:moveTo>
                    <a:pt x="52783" y="121872"/>
                  </a:moveTo>
                  <a:lnTo>
                    <a:pt x="27477" y="121576"/>
                  </a:lnTo>
                  <a:lnTo>
                    <a:pt x="19381" y="124349"/>
                  </a:lnTo>
                  <a:lnTo>
                    <a:pt x="5587" y="131475"/>
                  </a:lnTo>
                  <a:lnTo>
                    <a:pt x="0" y="129119"/>
                  </a:lnTo>
                  <a:lnTo>
                    <a:pt x="193" y="111716"/>
                  </a:lnTo>
                  <a:lnTo>
                    <a:pt x="5540" y="102895"/>
                  </a:lnTo>
                  <a:lnTo>
                    <a:pt x="6839" y="84367"/>
                  </a:lnTo>
                  <a:lnTo>
                    <a:pt x="11695" y="73635"/>
                  </a:lnTo>
                  <a:lnTo>
                    <a:pt x="20521" y="61595"/>
                  </a:lnTo>
                  <a:lnTo>
                    <a:pt x="29388" y="55463"/>
                  </a:lnTo>
                  <a:lnTo>
                    <a:pt x="36809" y="47263"/>
                  </a:lnTo>
                  <a:lnTo>
                    <a:pt x="27557" y="44136"/>
                  </a:lnTo>
                  <a:lnTo>
                    <a:pt x="28954" y="17123"/>
                  </a:lnTo>
                  <a:lnTo>
                    <a:pt x="38458" y="10820"/>
                  </a:lnTo>
                  <a:lnTo>
                    <a:pt x="53135" y="15988"/>
                  </a:lnTo>
                  <a:lnTo>
                    <a:pt x="71717" y="10579"/>
                  </a:lnTo>
                  <a:lnTo>
                    <a:pt x="87957" y="10632"/>
                  </a:lnTo>
                  <a:lnTo>
                    <a:pt x="102153" y="0"/>
                  </a:lnTo>
                  <a:lnTo>
                    <a:pt x="113097" y="16050"/>
                  </a:lnTo>
                  <a:lnTo>
                    <a:pt x="115796" y="27647"/>
                  </a:lnTo>
                  <a:lnTo>
                    <a:pt x="125951" y="54160"/>
                  </a:lnTo>
                  <a:lnTo>
                    <a:pt x="117551" y="70988"/>
                  </a:lnTo>
                  <a:lnTo>
                    <a:pt x="106192" y="86269"/>
                  </a:lnTo>
                  <a:lnTo>
                    <a:pt x="99581" y="95622"/>
                  </a:lnTo>
                  <a:lnTo>
                    <a:pt x="99815" y="1200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0" name="Freeform 164">
              <a:extLst>
                <a:ext uri="{FF2B5EF4-FFF2-40B4-BE49-F238E27FC236}">
                  <a16:creationId xmlns:a16="http://schemas.microsoft.com/office/drawing/2014/main" id="{03A712EA-7169-46DE-99E0-8AED3FDB6A0E}"/>
                </a:ext>
              </a:extLst>
            </p:cNvPr>
            <p:cNvSpPr>
              <a:spLocks noChangeAspect="1"/>
            </p:cNvSpPr>
            <p:nvPr>
              <p:custDataLst>
                <p:tags r:id="rId170"/>
              </p:custDataLst>
            </p:nvPr>
          </p:nvSpPr>
          <p:spPr>
            <a:xfrm>
              <a:off x="4870481" y="3195393"/>
              <a:ext cx="415378" cy="236043"/>
            </a:xfrm>
            <a:custGeom>
              <a:avLst/>
              <a:gdLst/>
              <a:ahLst/>
              <a:cxnLst/>
              <a:rect l="0" t="0" r="0" b="0"/>
              <a:pathLst>
                <a:path w="415378" h="236043">
                  <a:moveTo>
                    <a:pt x="223911" y="7224"/>
                  </a:moveTo>
                  <a:lnTo>
                    <a:pt x="232531" y="8473"/>
                  </a:lnTo>
                  <a:lnTo>
                    <a:pt x="238363" y="1437"/>
                  </a:lnTo>
                  <a:lnTo>
                    <a:pt x="245373" y="2993"/>
                  </a:lnTo>
                  <a:lnTo>
                    <a:pt x="269308" y="0"/>
                  </a:lnTo>
                  <a:lnTo>
                    <a:pt x="284059" y="17488"/>
                  </a:lnTo>
                  <a:lnTo>
                    <a:pt x="278293" y="23713"/>
                  </a:lnTo>
                  <a:lnTo>
                    <a:pt x="280206" y="33225"/>
                  </a:lnTo>
                  <a:lnTo>
                    <a:pt x="298611" y="34706"/>
                  </a:lnTo>
                  <a:lnTo>
                    <a:pt x="306822" y="47927"/>
                  </a:lnTo>
                  <a:lnTo>
                    <a:pt x="306319" y="53903"/>
                  </a:lnTo>
                  <a:lnTo>
                    <a:pt x="335635" y="64548"/>
                  </a:lnTo>
                  <a:lnTo>
                    <a:pt x="353347" y="59759"/>
                  </a:lnTo>
                  <a:lnTo>
                    <a:pt x="367593" y="73895"/>
                  </a:lnTo>
                  <a:lnTo>
                    <a:pt x="381081" y="73569"/>
                  </a:lnTo>
                  <a:lnTo>
                    <a:pt x="415106" y="83348"/>
                  </a:lnTo>
                  <a:lnTo>
                    <a:pt x="415377" y="92139"/>
                  </a:lnTo>
                  <a:lnTo>
                    <a:pt x="406003" y="107744"/>
                  </a:lnTo>
                  <a:lnTo>
                    <a:pt x="411104" y="124077"/>
                  </a:lnTo>
                  <a:lnTo>
                    <a:pt x="407471" y="133906"/>
                  </a:lnTo>
                  <a:lnTo>
                    <a:pt x="385134" y="136063"/>
                  </a:lnTo>
                  <a:lnTo>
                    <a:pt x="373236" y="144258"/>
                  </a:lnTo>
                  <a:lnTo>
                    <a:pt x="372507" y="157246"/>
                  </a:lnTo>
                  <a:lnTo>
                    <a:pt x="354078" y="159577"/>
                  </a:lnTo>
                  <a:lnTo>
                    <a:pt x="338721" y="168988"/>
                  </a:lnTo>
                  <a:lnTo>
                    <a:pt x="317112" y="170519"/>
                  </a:lnTo>
                  <a:lnTo>
                    <a:pt x="297230" y="181317"/>
                  </a:lnTo>
                  <a:lnTo>
                    <a:pt x="298579" y="199240"/>
                  </a:lnTo>
                  <a:lnTo>
                    <a:pt x="309871" y="206160"/>
                  </a:lnTo>
                  <a:lnTo>
                    <a:pt x="333416" y="204441"/>
                  </a:lnTo>
                  <a:lnTo>
                    <a:pt x="328908" y="214650"/>
                  </a:lnTo>
                  <a:lnTo>
                    <a:pt x="303639" y="219594"/>
                  </a:lnTo>
                  <a:lnTo>
                    <a:pt x="272305" y="236042"/>
                  </a:lnTo>
                  <a:lnTo>
                    <a:pt x="259468" y="230270"/>
                  </a:lnTo>
                  <a:lnTo>
                    <a:pt x="264558" y="216890"/>
                  </a:lnTo>
                  <a:lnTo>
                    <a:pt x="239335" y="208524"/>
                  </a:lnTo>
                  <a:lnTo>
                    <a:pt x="243412" y="203030"/>
                  </a:lnTo>
                  <a:lnTo>
                    <a:pt x="265510" y="193480"/>
                  </a:lnTo>
                  <a:lnTo>
                    <a:pt x="258826" y="186880"/>
                  </a:lnTo>
                  <a:lnTo>
                    <a:pt x="222945" y="179578"/>
                  </a:lnTo>
                  <a:lnTo>
                    <a:pt x="221356" y="168769"/>
                  </a:lnTo>
                  <a:lnTo>
                    <a:pt x="199969" y="172343"/>
                  </a:lnTo>
                  <a:lnTo>
                    <a:pt x="191402" y="188269"/>
                  </a:lnTo>
                  <a:lnTo>
                    <a:pt x="173529" y="209501"/>
                  </a:lnTo>
                  <a:lnTo>
                    <a:pt x="163059" y="204586"/>
                  </a:lnTo>
                  <a:lnTo>
                    <a:pt x="152212" y="209194"/>
                  </a:lnTo>
                  <a:lnTo>
                    <a:pt x="141911" y="203916"/>
                  </a:lnTo>
                  <a:lnTo>
                    <a:pt x="147722" y="200799"/>
                  </a:lnTo>
                  <a:lnTo>
                    <a:pt x="151755" y="190933"/>
                  </a:lnTo>
                  <a:lnTo>
                    <a:pt x="158073" y="181733"/>
                  </a:lnTo>
                  <a:lnTo>
                    <a:pt x="156440" y="176552"/>
                  </a:lnTo>
                  <a:lnTo>
                    <a:pt x="161267" y="174240"/>
                  </a:lnTo>
                  <a:lnTo>
                    <a:pt x="163542" y="178249"/>
                  </a:lnTo>
                  <a:lnTo>
                    <a:pt x="177145" y="179096"/>
                  </a:lnTo>
                  <a:lnTo>
                    <a:pt x="183255" y="176956"/>
                  </a:lnTo>
                  <a:lnTo>
                    <a:pt x="178951" y="174018"/>
                  </a:lnTo>
                  <a:lnTo>
                    <a:pt x="180582" y="169695"/>
                  </a:lnTo>
                  <a:lnTo>
                    <a:pt x="172522" y="162304"/>
                  </a:lnTo>
                  <a:lnTo>
                    <a:pt x="169185" y="150106"/>
                  </a:lnTo>
                  <a:lnTo>
                    <a:pt x="160777" y="145318"/>
                  </a:lnTo>
                  <a:lnTo>
                    <a:pt x="162435" y="135373"/>
                  </a:lnTo>
                  <a:lnTo>
                    <a:pt x="152006" y="127449"/>
                  </a:lnTo>
                  <a:lnTo>
                    <a:pt x="142511" y="126346"/>
                  </a:lnTo>
                  <a:lnTo>
                    <a:pt x="125499" y="117137"/>
                  </a:lnTo>
                  <a:lnTo>
                    <a:pt x="110156" y="120064"/>
                  </a:lnTo>
                  <a:lnTo>
                    <a:pt x="104651" y="124422"/>
                  </a:lnTo>
                  <a:lnTo>
                    <a:pt x="94913" y="124418"/>
                  </a:lnTo>
                  <a:lnTo>
                    <a:pt x="89107" y="131310"/>
                  </a:lnTo>
                  <a:lnTo>
                    <a:pt x="72068" y="134138"/>
                  </a:lnTo>
                  <a:lnTo>
                    <a:pt x="64187" y="138651"/>
                  </a:lnTo>
                  <a:lnTo>
                    <a:pt x="53470" y="131465"/>
                  </a:lnTo>
                  <a:lnTo>
                    <a:pt x="38672" y="131355"/>
                  </a:lnTo>
                  <a:lnTo>
                    <a:pt x="24390" y="128093"/>
                  </a:lnTo>
                  <a:lnTo>
                    <a:pt x="14425" y="134399"/>
                  </a:lnTo>
                  <a:lnTo>
                    <a:pt x="12816" y="126503"/>
                  </a:lnTo>
                  <a:lnTo>
                    <a:pt x="0" y="118465"/>
                  </a:lnTo>
                  <a:lnTo>
                    <a:pt x="4507" y="106508"/>
                  </a:lnTo>
                  <a:lnTo>
                    <a:pt x="10907" y="98757"/>
                  </a:lnTo>
                  <a:lnTo>
                    <a:pt x="15946" y="100497"/>
                  </a:lnTo>
                  <a:lnTo>
                    <a:pt x="9992" y="87073"/>
                  </a:lnTo>
                  <a:lnTo>
                    <a:pt x="30952" y="62042"/>
                  </a:lnTo>
                  <a:lnTo>
                    <a:pt x="42407" y="58520"/>
                  </a:lnTo>
                  <a:lnTo>
                    <a:pt x="44882" y="50010"/>
                  </a:lnTo>
                  <a:lnTo>
                    <a:pt x="33273" y="23343"/>
                  </a:lnTo>
                  <a:lnTo>
                    <a:pt x="44307" y="22145"/>
                  </a:lnTo>
                  <a:lnTo>
                    <a:pt x="56957" y="13805"/>
                  </a:lnTo>
                  <a:lnTo>
                    <a:pt x="74838" y="13121"/>
                  </a:lnTo>
                  <a:lnTo>
                    <a:pt x="98156" y="15536"/>
                  </a:lnTo>
                  <a:lnTo>
                    <a:pt x="123919" y="22918"/>
                  </a:lnTo>
                  <a:lnTo>
                    <a:pt x="142098" y="23534"/>
                  </a:lnTo>
                  <a:lnTo>
                    <a:pt x="150776" y="27967"/>
                  </a:lnTo>
                  <a:lnTo>
                    <a:pt x="159438" y="22618"/>
                  </a:lnTo>
                  <a:lnTo>
                    <a:pt x="165488" y="29790"/>
                  </a:lnTo>
                  <a:lnTo>
                    <a:pt x="186318" y="28322"/>
                  </a:lnTo>
                  <a:lnTo>
                    <a:pt x="195499" y="31282"/>
                  </a:lnTo>
                  <a:lnTo>
                    <a:pt x="196984" y="15828"/>
                  </a:lnTo>
                  <a:lnTo>
                    <a:pt x="204096" y="90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1" name="Freeform 165">
              <a:extLst>
                <a:ext uri="{FF2B5EF4-FFF2-40B4-BE49-F238E27FC236}">
                  <a16:creationId xmlns:a16="http://schemas.microsoft.com/office/drawing/2014/main" id="{BA7FD5C7-B54D-4F60-B56F-7A76A1044128}"/>
                </a:ext>
              </a:extLst>
            </p:cNvPr>
            <p:cNvSpPr>
              <a:spLocks noChangeAspect="1"/>
            </p:cNvSpPr>
            <p:nvPr>
              <p:custDataLst>
                <p:tags r:id="rId171"/>
              </p:custDataLst>
            </p:nvPr>
          </p:nvSpPr>
          <p:spPr>
            <a:xfrm>
              <a:off x="5651676" y="3396483"/>
              <a:ext cx="395326" cy="232838"/>
            </a:xfrm>
            <a:custGeom>
              <a:avLst/>
              <a:gdLst/>
              <a:ahLst/>
              <a:cxnLst/>
              <a:rect l="0" t="0" r="0" b="0"/>
              <a:pathLst>
                <a:path w="395326" h="232838">
                  <a:moveTo>
                    <a:pt x="244438" y="227044"/>
                  </a:moveTo>
                  <a:lnTo>
                    <a:pt x="245074" y="210712"/>
                  </a:lnTo>
                  <a:lnTo>
                    <a:pt x="214370" y="199240"/>
                  </a:lnTo>
                  <a:lnTo>
                    <a:pt x="190231" y="186063"/>
                  </a:lnTo>
                  <a:lnTo>
                    <a:pt x="175176" y="173344"/>
                  </a:lnTo>
                  <a:lnTo>
                    <a:pt x="148775" y="154593"/>
                  </a:lnTo>
                  <a:lnTo>
                    <a:pt x="137429" y="126390"/>
                  </a:lnTo>
                  <a:lnTo>
                    <a:pt x="129684" y="121398"/>
                  </a:lnTo>
                  <a:lnTo>
                    <a:pt x="104727" y="122665"/>
                  </a:lnTo>
                  <a:lnTo>
                    <a:pt x="95894" y="117024"/>
                  </a:lnTo>
                  <a:lnTo>
                    <a:pt x="93427" y="94946"/>
                  </a:lnTo>
                  <a:lnTo>
                    <a:pt x="62325" y="80234"/>
                  </a:lnTo>
                  <a:lnTo>
                    <a:pt x="42878" y="96405"/>
                  </a:lnTo>
                  <a:lnTo>
                    <a:pt x="23158" y="105952"/>
                  </a:lnTo>
                  <a:lnTo>
                    <a:pt x="26948" y="119857"/>
                  </a:lnTo>
                  <a:lnTo>
                    <a:pt x="906" y="120234"/>
                  </a:lnTo>
                  <a:lnTo>
                    <a:pt x="0" y="16911"/>
                  </a:lnTo>
                  <a:lnTo>
                    <a:pt x="59419" y="0"/>
                  </a:lnTo>
                  <a:lnTo>
                    <a:pt x="63733" y="2490"/>
                  </a:lnTo>
                  <a:lnTo>
                    <a:pt x="99510" y="22947"/>
                  </a:lnTo>
                  <a:lnTo>
                    <a:pt x="118400" y="33695"/>
                  </a:lnTo>
                  <a:lnTo>
                    <a:pt x="140443" y="59145"/>
                  </a:lnTo>
                  <a:lnTo>
                    <a:pt x="167508" y="55049"/>
                  </a:lnTo>
                  <a:lnTo>
                    <a:pt x="207095" y="52852"/>
                  </a:lnTo>
                  <a:lnTo>
                    <a:pt x="234729" y="73357"/>
                  </a:lnTo>
                  <a:lnTo>
                    <a:pt x="233007" y="101283"/>
                  </a:lnTo>
                  <a:lnTo>
                    <a:pt x="244254" y="101478"/>
                  </a:lnTo>
                  <a:lnTo>
                    <a:pt x="248949" y="124092"/>
                  </a:lnTo>
                  <a:lnTo>
                    <a:pt x="278306" y="124984"/>
                  </a:lnTo>
                  <a:lnTo>
                    <a:pt x="284631" y="137980"/>
                  </a:lnTo>
                  <a:lnTo>
                    <a:pt x="293232" y="137806"/>
                  </a:lnTo>
                  <a:lnTo>
                    <a:pt x="303331" y="118151"/>
                  </a:lnTo>
                  <a:lnTo>
                    <a:pt x="333776" y="98881"/>
                  </a:lnTo>
                  <a:lnTo>
                    <a:pt x="347011" y="93750"/>
                  </a:lnTo>
                  <a:lnTo>
                    <a:pt x="353864" y="96484"/>
                  </a:lnTo>
                  <a:lnTo>
                    <a:pt x="334493" y="114408"/>
                  </a:lnTo>
                  <a:lnTo>
                    <a:pt x="351524" y="124775"/>
                  </a:lnTo>
                  <a:lnTo>
                    <a:pt x="367965" y="117913"/>
                  </a:lnTo>
                  <a:lnTo>
                    <a:pt x="395325" y="132398"/>
                  </a:lnTo>
                  <a:lnTo>
                    <a:pt x="365766" y="152088"/>
                  </a:lnTo>
                  <a:lnTo>
                    <a:pt x="348208" y="149402"/>
                  </a:lnTo>
                  <a:lnTo>
                    <a:pt x="338680" y="150106"/>
                  </a:lnTo>
                  <a:lnTo>
                    <a:pt x="335373" y="142517"/>
                  </a:lnTo>
                  <a:lnTo>
                    <a:pt x="340185" y="129813"/>
                  </a:lnTo>
                  <a:lnTo>
                    <a:pt x="309321" y="136186"/>
                  </a:lnTo>
                  <a:lnTo>
                    <a:pt x="301984" y="153714"/>
                  </a:lnTo>
                  <a:lnTo>
                    <a:pt x="291014" y="168733"/>
                  </a:lnTo>
                  <a:lnTo>
                    <a:pt x="271741" y="167458"/>
                  </a:lnTo>
                  <a:lnTo>
                    <a:pt x="265757" y="179377"/>
                  </a:lnTo>
                  <a:lnTo>
                    <a:pt x="282695" y="185817"/>
                  </a:lnTo>
                  <a:lnTo>
                    <a:pt x="287682" y="205830"/>
                  </a:lnTo>
                  <a:lnTo>
                    <a:pt x="274708" y="232837"/>
                  </a:lnTo>
                  <a:lnTo>
                    <a:pt x="257299" y="2272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2" name="Freeform 166">
              <a:extLst>
                <a:ext uri="{FF2B5EF4-FFF2-40B4-BE49-F238E27FC236}">
                  <a16:creationId xmlns:a16="http://schemas.microsoft.com/office/drawing/2014/main" id="{D428B11E-108E-4466-B22B-6851B52A679F}"/>
                </a:ext>
              </a:extLst>
            </p:cNvPr>
            <p:cNvSpPr>
              <a:spLocks noChangeAspect="1"/>
            </p:cNvSpPr>
            <p:nvPr>
              <p:custDataLst>
                <p:tags r:id="rId172"/>
              </p:custDataLst>
            </p:nvPr>
          </p:nvSpPr>
          <p:spPr>
            <a:xfrm>
              <a:off x="6719053" y="3979130"/>
              <a:ext cx="165385" cy="349858"/>
            </a:xfrm>
            <a:custGeom>
              <a:avLst/>
              <a:gdLst/>
              <a:ahLst/>
              <a:cxnLst/>
              <a:rect l="0" t="0" r="0" b="0"/>
              <a:pathLst>
                <a:path w="165385" h="349858">
                  <a:moveTo>
                    <a:pt x="135721" y="43671"/>
                  </a:moveTo>
                  <a:lnTo>
                    <a:pt x="104903" y="64310"/>
                  </a:lnTo>
                  <a:lnTo>
                    <a:pt x="85666" y="87018"/>
                  </a:lnTo>
                  <a:lnTo>
                    <a:pt x="80596" y="103642"/>
                  </a:lnTo>
                  <a:lnTo>
                    <a:pt x="98249" y="128810"/>
                  </a:lnTo>
                  <a:lnTo>
                    <a:pt x="119835" y="159879"/>
                  </a:lnTo>
                  <a:lnTo>
                    <a:pt x="140783" y="174519"/>
                  </a:lnTo>
                  <a:lnTo>
                    <a:pt x="154809" y="193509"/>
                  </a:lnTo>
                  <a:lnTo>
                    <a:pt x="165384" y="237101"/>
                  </a:lnTo>
                  <a:lnTo>
                    <a:pt x="162265" y="278339"/>
                  </a:lnTo>
                  <a:lnTo>
                    <a:pt x="143013" y="293732"/>
                  </a:lnTo>
                  <a:lnTo>
                    <a:pt x="116579" y="308761"/>
                  </a:lnTo>
                  <a:lnTo>
                    <a:pt x="97748" y="328191"/>
                  </a:lnTo>
                  <a:lnTo>
                    <a:pt x="68968" y="349857"/>
                  </a:lnTo>
                  <a:lnTo>
                    <a:pt x="60587" y="334938"/>
                  </a:lnTo>
                  <a:lnTo>
                    <a:pt x="67073" y="319160"/>
                  </a:lnTo>
                  <a:lnTo>
                    <a:pt x="49949" y="305913"/>
                  </a:lnTo>
                  <a:lnTo>
                    <a:pt x="69929" y="296512"/>
                  </a:lnTo>
                  <a:lnTo>
                    <a:pt x="94161" y="294819"/>
                  </a:lnTo>
                  <a:lnTo>
                    <a:pt x="84023" y="280660"/>
                  </a:lnTo>
                  <a:lnTo>
                    <a:pt x="122822" y="262646"/>
                  </a:lnTo>
                  <a:lnTo>
                    <a:pt x="125665" y="234528"/>
                  </a:lnTo>
                  <a:lnTo>
                    <a:pt x="120314" y="218840"/>
                  </a:lnTo>
                  <a:lnTo>
                    <a:pt x="124511" y="195269"/>
                  </a:lnTo>
                  <a:lnTo>
                    <a:pt x="118698" y="178572"/>
                  </a:lnTo>
                  <a:lnTo>
                    <a:pt x="101231" y="162089"/>
                  </a:lnTo>
                  <a:lnTo>
                    <a:pt x="86684" y="141162"/>
                  </a:lnTo>
                  <a:lnTo>
                    <a:pt x="67498" y="112994"/>
                  </a:lnTo>
                  <a:lnTo>
                    <a:pt x="39843" y="98687"/>
                  </a:lnTo>
                  <a:lnTo>
                    <a:pt x="46465" y="90073"/>
                  </a:lnTo>
                  <a:lnTo>
                    <a:pt x="61219" y="83789"/>
                  </a:lnTo>
                  <a:lnTo>
                    <a:pt x="52272" y="62820"/>
                  </a:lnTo>
                  <a:lnTo>
                    <a:pt x="23855" y="62631"/>
                  </a:lnTo>
                  <a:lnTo>
                    <a:pt x="13491" y="40703"/>
                  </a:lnTo>
                  <a:lnTo>
                    <a:pt x="0" y="21576"/>
                  </a:lnTo>
                  <a:lnTo>
                    <a:pt x="12386" y="15650"/>
                  </a:lnTo>
                  <a:lnTo>
                    <a:pt x="30795" y="15773"/>
                  </a:lnTo>
                  <a:lnTo>
                    <a:pt x="53239" y="12969"/>
                  </a:lnTo>
                  <a:lnTo>
                    <a:pt x="72914" y="0"/>
                  </a:lnTo>
                  <a:lnTo>
                    <a:pt x="84040" y="9133"/>
                  </a:lnTo>
                  <a:lnTo>
                    <a:pt x="105141" y="13574"/>
                  </a:lnTo>
                  <a:lnTo>
                    <a:pt x="101491" y="27555"/>
                  </a:lnTo>
                  <a:lnTo>
                    <a:pt x="112482" y="373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3" name="Freeform 167">
              <a:extLst>
                <a:ext uri="{FF2B5EF4-FFF2-40B4-BE49-F238E27FC236}">
                  <a16:creationId xmlns:a16="http://schemas.microsoft.com/office/drawing/2014/main" id="{3B21CB27-5F62-4FB6-A322-3546BD0251DF}"/>
                </a:ext>
              </a:extLst>
            </p:cNvPr>
            <p:cNvSpPr>
              <a:spLocks noChangeAspect="1"/>
            </p:cNvSpPr>
            <p:nvPr>
              <p:custDataLst>
                <p:tags r:id="rId173"/>
              </p:custDataLst>
            </p:nvPr>
          </p:nvSpPr>
          <p:spPr>
            <a:xfrm>
              <a:off x="8206932" y="4867961"/>
              <a:ext cx="28063" cy="46609"/>
            </a:xfrm>
            <a:custGeom>
              <a:avLst/>
              <a:gdLst/>
              <a:ahLst/>
              <a:cxnLst/>
              <a:rect l="l" t="t" r="r" b="b"/>
              <a:pathLst>
                <a:path w="28063" h="46609">
                  <a:moveTo>
                    <a:pt x="13565" y="29884"/>
                  </a:moveTo>
                  <a:lnTo>
                    <a:pt x="28063" y="43490"/>
                  </a:lnTo>
                  <a:lnTo>
                    <a:pt x="20453" y="46609"/>
                  </a:lnTo>
                  <a:lnTo>
                    <a:pt x="12717" y="36232"/>
                  </a:lnTo>
                  <a:close/>
                  <a:moveTo>
                    <a:pt x="0" y="0"/>
                  </a:moveTo>
                  <a:lnTo>
                    <a:pt x="11048" y="7250"/>
                  </a:lnTo>
                  <a:lnTo>
                    <a:pt x="14795" y="26292"/>
                  </a:lnTo>
                  <a:lnTo>
                    <a:pt x="8589" y="23326"/>
                  </a:lnTo>
                  <a:lnTo>
                    <a:pt x="3787" y="24608"/>
                  </a:lnTo>
                  <a:lnTo>
                    <a:pt x="479" y="18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4" name="Freeform 168">
              <a:extLst>
                <a:ext uri="{FF2B5EF4-FFF2-40B4-BE49-F238E27FC236}">
                  <a16:creationId xmlns:a16="http://schemas.microsoft.com/office/drawing/2014/main" id="{A36AB362-512A-408B-843E-CC136665D77A}"/>
                </a:ext>
              </a:extLst>
            </p:cNvPr>
            <p:cNvSpPr>
              <a:spLocks noChangeAspect="1"/>
            </p:cNvSpPr>
            <p:nvPr>
              <p:custDataLst>
                <p:tags r:id="rId174"/>
              </p:custDataLst>
            </p:nvPr>
          </p:nvSpPr>
          <p:spPr>
            <a:xfrm>
              <a:off x="5344121" y="4084163"/>
              <a:ext cx="242455" cy="151784"/>
            </a:xfrm>
            <a:custGeom>
              <a:avLst/>
              <a:gdLst/>
              <a:ahLst/>
              <a:cxnLst/>
              <a:rect l="0" t="0" r="0" b="0"/>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5" name="Freeform 169">
              <a:extLst>
                <a:ext uri="{FF2B5EF4-FFF2-40B4-BE49-F238E27FC236}">
                  <a16:creationId xmlns:a16="http://schemas.microsoft.com/office/drawing/2014/main" id="{36F8C91A-E87E-4666-9046-71D1DBF36017}"/>
                </a:ext>
              </a:extLst>
            </p:cNvPr>
            <p:cNvSpPr>
              <a:spLocks noChangeAspect="1"/>
            </p:cNvSpPr>
            <p:nvPr>
              <p:custDataLst>
                <p:tags r:id="rId175"/>
              </p:custDataLst>
            </p:nvPr>
          </p:nvSpPr>
          <p:spPr>
            <a:xfrm>
              <a:off x="4737973" y="5046181"/>
              <a:ext cx="380521" cy="319180"/>
            </a:xfrm>
            <a:custGeom>
              <a:avLst/>
              <a:gdLst/>
              <a:ahLst/>
              <a:cxnLst/>
              <a:rect l="l" t="t" r="r" b="b"/>
              <a:pathLst>
                <a:path w="380521" h="319180">
                  <a:moveTo>
                    <a:pt x="281533" y="161424"/>
                  </a:moveTo>
                  <a:lnTo>
                    <a:pt x="270745" y="166538"/>
                  </a:lnTo>
                  <a:lnTo>
                    <a:pt x="258239" y="176367"/>
                  </a:lnTo>
                  <a:lnTo>
                    <a:pt x="245930" y="192323"/>
                  </a:lnTo>
                  <a:lnTo>
                    <a:pt x="263245" y="211790"/>
                  </a:lnTo>
                  <a:lnTo>
                    <a:pt x="271504" y="209269"/>
                  </a:lnTo>
                  <a:lnTo>
                    <a:pt x="275748" y="201176"/>
                  </a:lnTo>
                  <a:lnTo>
                    <a:pt x="288613" y="197227"/>
                  </a:lnTo>
                  <a:lnTo>
                    <a:pt x="292537" y="188987"/>
                  </a:lnTo>
                  <a:lnTo>
                    <a:pt x="299618" y="176735"/>
                  </a:lnTo>
                  <a:lnTo>
                    <a:pt x="291610" y="169152"/>
                  </a:lnTo>
                  <a:close/>
                  <a:moveTo>
                    <a:pt x="302088" y="0"/>
                  </a:moveTo>
                  <a:lnTo>
                    <a:pt x="311479" y="264"/>
                  </a:lnTo>
                  <a:lnTo>
                    <a:pt x="322648" y="4370"/>
                  </a:lnTo>
                  <a:lnTo>
                    <a:pt x="330426" y="1460"/>
                  </a:lnTo>
                  <a:lnTo>
                    <a:pt x="342696" y="3882"/>
                  </a:lnTo>
                  <a:lnTo>
                    <a:pt x="353752" y="38114"/>
                  </a:lnTo>
                  <a:lnTo>
                    <a:pt x="359758" y="55480"/>
                  </a:lnTo>
                  <a:lnTo>
                    <a:pt x="355645" y="82856"/>
                  </a:lnTo>
                  <a:lnTo>
                    <a:pt x="357615" y="91706"/>
                  </a:lnTo>
                  <a:lnTo>
                    <a:pt x="345968" y="87190"/>
                  </a:lnTo>
                  <a:lnTo>
                    <a:pt x="339295" y="88947"/>
                  </a:lnTo>
                  <a:lnTo>
                    <a:pt x="337116" y="96132"/>
                  </a:lnTo>
                  <a:lnTo>
                    <a:pt x="330813" y="105413"/>
                  </a:lnTo>
                  <a:lnTo>
                    <a:pt x="331029" y="113977"/>
                  </a:lnTo>
                  <a:lnTo>
                    <a:pt x="344805" y="127435"/>
                  </a:lnTo>
                  <a:lnTo>
                    <a:pt x="358315" y="124751"/>
                  </a:lnTo>
                  <a:lnTo>
                    <a:pt x="363014" y="113728"/>
                  </a:lnTo>
                  <a:lnTo>
                    <a:pt x="380521" y="113936"/>
                  </a:lnTo>
                  <a:lnTo>
                    <a:pt x="374754" y="132019"/>
                  </a:lnTo>
                  <a:lnTo>
                    <a:pt x="372027" y="152749"/>
                  </a:lnTo>
                  <a:lnTo>
                    <a:pt x="366055" y="164053"/>
                  </a:lnTo>
                  <a:lnTo>
                    <a:pt x="350303" y="176735"/>
                  </a:lnTo>
                  <a:lnTo>
                    <a:pt x="345792" y="180374"/>
                  </a:lnTo>
                  <a:lnTo>
                    <a:pt x="336010" y="193182"/>
                  </a:lnTo>
                  <a:lnTo>
                    <a:pt x="329571" y="206178"/>
                  </a:lnTo>
                  <a:lnTo>
                    <a:pt x="316481" y="224372"/>
                  </a:lnTo>
                  <a:lnTo>
                    <a:pt x="290394" y="250720"/>
                  </a:lnTo>
                  <a:lnTo>
                    <a:pt x="274102" y="266124"/>
                  </a:lnTo>
                  <a:lnTo>
                    <a:pt x="256671" y="277850"/>
                  </a:lnTo>
                  <a:lnTo>
                    <a:pt x="232546" y="287878"/>
                  </a:lnTo>
                  <a:lnTo>
                    <a:pt x="220779" y="289226"/>
                  </a:lnTo>
                  <a:lnTo>
                    <a:pt x="217800" y="296421"/>
                  </a:lnTo>
                  <a:lnTo>
                    <a:pt x="203771" y="292589"/>
                  </a:lnTo>
                  <a:lnTo>
                    <a:pt x="192345" y="297524"/>
                  </a:lnTo>
                  <a:lnTo>
                    <a:pt x="167328" y="292527"/>
                  </a:lnTo>
                  <a:lnTo>
                    <a:pt x="153343" y="295689"/>
                  </a:lnTo>
                  <a:lnTo>
                    <a:pt x="143787" y="294331"/>
                  </a:lnTo>
                  <a:lnTo>
                    <a:pt x="119980" y="304581"/>
                  </a:lnTo>
                  <a:lnTo>
                    <a:pt x="100273" y="308700"/>
                  </a:lnTo>
                  <a:lnTo>
                    <a:pt x="86013" y="318552"/>
                  </a:lnTo>
                  <a:lnTo>
                    <a:pt x="75514" y="319180"/>
                  </a:lnTo>
                  <a:lnTo>
                    <a:pt x="65747" y="309883"/>
                  </a:lnTo>
                  <a:lnTo>
                    <a:pt x="57946" y="309406"/>
                  </a:lnTo>
                  <a:lnTo>
                    <a:pt x="48004" y="297802"/>
                  </a:lnTo>
                  <a:lnTo>
                    <a:pt x="46914" y="301402"/>
                  </a:lnTo>
                  <a:lnTo>
                    <a:pt x="43846" y="294427"/>
                  </a:lnTo>
                  <a:lnTo>
                    <a:pt x="43975" y="279256"/>
                  </a:lnTo>
                  <a:lnTo>
                    <a:pt x="36476" y="261993"/>
                  </a:lnTo>
                  <a:lnTo>
                    <a:pt x="43925" y="257314"/>
                  </a:lnTo>
                  <a:lnTo>
                    <a:pt x="43321" y="237663"/>
                  </a:lnTo>
                  <a:lnTo>
                    <a:pt x="28206" y="213835"/>
                  </a:lnTo>
                  <a:lnTo>
                    <a:pt x="16607" y="192391"/>
                  </a:lnTo>
                  <a:lnTo>
                    <a:pt x="16572" y="192323"/>
                  </a:lnTo>
                  <a:lnTo>
                    <a:pt x="0" y="159650"/>
                  </a:lnTo>
                  <a:lnTo>
                    <a:pt x="11058" y="147279"/>
                  </a:lnTo>
                  <a:lnTo>
                    <a:pt x="20174" y="154123"/>
                  </a:lnTo>
                  <a:lnTo>
                    <a:pt x="24064" y="164833"/>
                  </a:lnTo>
                  <a:lnTo>
                    <a:pt x="34420" y="166661"/>
                  </a:lnTo>
                  <a:lnTo>
                    <a:pt x="48934" y="171409"/>
                  </a:lnTo>
                  <a:lnTo>
                    <a:pt x="61334" y="169575"/>
                  </a:lnTo>
                  <a:lnTo>
                    <a:pt x="81938" y="156755"/>
                  </a:lnTo>
                  <a:lnTo>
                    <a:pt x="81962" y="65245"/>
                  </a:lnTo>
                  <a:lnTo>
                    <a:pt x="88193" y="68931"/>
                  </a:lnTo>
                  <a:lnTo>
                    <a:pt x="101879" y="92318"/>
                  </a:lnTo>
                  <a:lnTo>
                    <a:pt x="99752" y="107377"/>
                  </a:lnTo>
                  <a:lnTo>
                    <a:pt x="104903" y="116077"/>
                  </a:lnTo>
                  <a:lnTo>
                    <a:pt x="121436" y="113547"/>
                  </a:lnTo>
                  <a:lnTo>
                    <a:pt x="132980" y="102498"/>
                  </a:lnTo>
                  <a:lnTo>
                    <a:pt x="143911" y="95066"/>
                  </a:lnTo>
                  <a:lnTo>
                    <a:pt x="149560" y="83255"/>
                  </a:lnTo>
                  <a:lnTo>
                    <a:pt x="160820" y="77550"/>
                  </a:lnTo>
                  <a:lnTo>
                    <a:pt x="170549" y="80538"/>
                  </a:lnTo>
                  <a:lnTo>
                    <a:pt x="181575" y="87437"/>
                  </a:lnTo>
                  <a:lnTo>
                    <a:pt x="200362" y="88656"/>
                  </a:lnTo>
                  <a:lnTo>
                    <a:pt x="215124" y="82919"/>
                  </a:lnTo>
                  <a:lnTo>
                    <a:pt x="217459" y="75242"/>
                  </a:lnTo>
                  <a:lnTo>
                    <a:pt x="221517" y="63493"/>
                  </a:lnTo>
                  <a:lnTo>
                    <a:pt x="234076" y="61530"/>
                  </a:lnTo>
                  <a:lnTo>
                    <a:pt x="241016" y="52329"/>
                  </a:lnTo>
                  <a:lnTo>
                    <a:pt x="248703" y="36049"/>
                  </a:lnTo>
                  <a:lnTo>
                    <a:pt x="269427" y="178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6" name="Freeform 170">
              <a:extLst>
                <a:ext uri="{FF2B5EF4-FFF2-40B4-BE49-F238E27FC236}">
                  <a16:creationId xmlns:a16="http://schemas.microsoft.com/office/drawing/2014/main" id="{C30A5CBA-0D47-4BA8-BD2F-4928D515BB83}"/>
                </a:ext>
              </a:extLst>
            </p:cNvPr>
            <p:cNvSpPr>
              <a:spLocks noChangeAspect="1"/>
            </p:cNvSpPr>
            <p:nvPr>
              <p:custDataLst>
                <p:tags r:id="rId176"/>
              </p:custDataLst>
            </p:nvPr>
          </p:nvSpPr>
          <p:spPr>
            <a:xfrm>
              <a:off x="4865917" y="4718552"/>
              <a:ext cx="267710" cy="228428"/>
            </a:xfrm>
            <a:custGeom>
              <a:avLst/>
              <a:gdLst/>
              <a:ahLst/>
              <a:cxnLst/>
              <a:rect l="0" t="0" r="0" b="0"/>
              <a:pathLst>
                <a:path w="267710" h="228428">
                  <a:moveTo>
                    <a:pt x="250944" y="23078"/>
                  </a:moveTo>
                  <a:lnTo>
                    <a:pt x="261839" y="33466"/>
                  </a:lnTo>
                  <a:lnTo>
                    <a:pt x="267709" y="53256"/>
                  </a:lnTo>
                  <a:lnTo>
                    <a:pt x="263776" y="59581"/>
                  </a:lnTo>
                  <a:lnTo>
                    <a:pt x="259136" y="78525"/>
                  </a:lnTo>
                  <a:lnTo>
                    <a:pt x="263571" y="97923"/>
                  </a:lnTo>
                  <a:lnTo>
                    <a:pt x="256308" y="106084"/>
                  </a:lnTo>
                  <a:lnTo>
                    <a:pt x="249300" y="127900"/>
                  </a:lnTo>
                  <a:lnTo>
                    <a:pt x="261438" y="133992"/>
                  </a:lnTo>
                  <a:lnTo>
                    <a:pt x="191393" y="153408"/>
                  </a:lnTo>
                  <a:lnTo>
                    <a:pt x="193580" y="170210"/>
                  </a:lnTo>
                  <a:lnTo>
                    <a:pt x="176097" y="173446"/>
                  </a:lnTo>
                  <a:lnTo>
                    <a:pt x="162954" y="182871"/>
                  </a:lnTo>
                  <a:lnTo>
                    <a:pt x="160148" y="191084"/>
                  </a:lnTo>
                  <a:lnTo>
                    <a:pt x="151885" y="192948"/>
                  </a:lnTo>
                  <a:lnTo>
                    <a:pt x="131811" y="212472"/>
                  </a:lnTo>
                  <a:lnTo>
                    <a:pt x="119027" y="227874"/>
                  </a:lnTo>
                  <a:lnTo>
                    <a:pt x="111233" y="228427"/>
                  </a:lnTo>
                  <a:lnTo>
                    <a:pt x="103735" y="225683"/>
                  </a:lnTo>
                  <a:lnTo>
                    <a:pt x="77935" y="223075"/>
                  </a:lnTo>
                  <a:lnTo>
                    <a:pt x="73785" y="221296"/>
                  </a:lnTo>
                  <a:lnTo>
                    <a:pt x="73613" y="219321"/>
                  </a:lnTo>
                  <a:lnTo>
                    <a:pt x="64504" y="213960"/>
                  </a:lnTo>
                  <a:lnTo>
                    <a:pt x="49535" y="212591"/>
                  </a:lnTo>
                  <a:lnTo>
                    <a:pt x="30635" y="217996"/>
                  </a:lnTo>
                  <a:lnTo>
                    <a:pt x="15572" y="203150"/>
                  </a:lnTo>
                  <a:lnTo>
                    <a:pt x="0" y="183754"/>
                  </a:lnTo>
                  <a:lnTo>
                    <a:pt x="1062" y="108772"/>
                  </a:lnTo>
                  <a:lnTo>
                    <a:pt x="49126" y="109068"/>
                  </a:lnTo>
                  <a:lnTo>
                    <a:pt x="47159" y="100972"/>
                  </a:lnTo>
                  <a:lnTo>
                    <a:pt x="50598" y="92195"/>
                  </a:lnTo>
                  <a:lnTo>
                    <a:pt x="46541" y="81217"/>
                  </a:lnTo>
                  <a:lnTo>
                    <a:pt x="49167" y="69876"/>
                  </a:lnTo>
                  <a:lnTo>
                    <a:pt x="46727" y="62623"/>
                  </a:lnTo>
                  <a:lnTo>
                    <a:pt x="54690" y="63211"/>
                  </a:lnTo>
                  <a:lnTo>
                    <a:pt x="56014" y="70473"/>
                  </a:lnTo>
                  <a:lnTo>
                    <a:pt x="66832" y="69909"/>
                  </a:lnTo>
                  <a:lnTo>
                    <a:pt x="81488" y="72065"/>
                  </a:lnTo>
                  <a:lnTo>
                    <a:pt x="89202" y="82683"/>
                  </a:lnTo>
                  <a:lnTo>
                    <a:pt x="107686" y="85947"/>
                  </a:lnTo>
                  <a:lnTo>
                    <a:pt x="121797" y="78561"/>
                  </a:lnTo>
                  <a:lnTo>
                    <a:pt x="126976" y="90824"/>
                  </a:lnTo>
                  <a:lnTo>
                    <a:pt x="144665" y="94097"/>
                  </a:lnTo>
                  <a:lnTo>
                    <a:pt x="153170" y="104084"/>
                  </a:lnTo>
                  <a:lnTo>
                    <a:pt x="162650" y="116999"/>
                  </a:lnTo>
                  <a:lnTo>
                    <a:pt x="180316" y="117194"/>
                  </a:lnTo>
                  <a:lnTo>
                    <a:pt x="178386" y="91905"/>
                  </a:lnTo>
                  <a:lnTo>
                    <a:pt x="172051" y="96165"/>
                  </a:lnTo>
                  <a:lnTo>
                    <a:pt x="155913" y="87050"/>
                  </a:lnTo>
                  <a:lnTo>
                    <a:pt x="149677" y="82886"/>
                  </a:lnTo>
                  <a:lnTo>
                    <a:pt x="152535" y="59425"/>
                  </a:lnTo>
                  <a:lnTo>
                    <a:pt x="156635" y="31817"/>
                  </a:lnTo>
                  <a:lnTo>
                    <a:pt x="151469" y="21549"/>
                  </a:lnTo>
                  <a:lnTo>
                    <a:pt x="158047" y="6701"/>
                  </a:lnTo>
                  <a:lnTo>
                    <a:pt x="164234" y="3923"/>
                  </a:lnTo>
                  <a:lnTo>
                    <a:pt x="195238" y="0"/>
                  </a:lnTo>
                  <a:lnTo>
                    <a:pt x="204331" y="2365"/>
                  </a:lnTo>
                  <a:lnTo>
                    <a:pt x="213974" y="8282"/>
                  </a:lnTo>
                  <a:lnTo>
                    <a:pt x="223174" y="12177"/>
                  </a:lnTo>
                  <a:lnTo>
                    <a:pt x="237844" y="1609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7" name="Freeform 171">
              <a:extLst>
                <a:ext uri="{FF2B5EF4-FFF2-40B4-BE49-F238E27FC236}">
                  <a16:creationId xmlns:a16="http://schemas.microsoft.com/office/drawing/2014/main" id="{A97789AC-C8CC-4208-928D-045D359A7E0A}"/>
                </a:ext>
              </a:extLst>
            </p:cNvPr>
            <p:cNvSpPr>
              <a:spLocks noChangeAspect="1"/>
            </p:cNvSpPr>
            <p:nvPr>
              <p:custDataLst>
                <p:tags r:id="rId177"/>
              </p:custDataLst>
            </p:nvPr>
          </p:nvSpPr>
          <p:spPr>
            <a:xfrm>
              <a:off x="4943852" y="4888762"/>
              <a:ext cx="175098" cy="161790"/>
            </a:xfrm>
            <a:custGeom>
              <a:avLst/>
              <a:gdLst/>
              <a:ahLst/>
              <a:cxnLst/>
              <a:rect l="0" t="0" r="0" b="0"/>
              <a:pathLst>
                <a:path w="175098" h="161790">
                  <a:moveTo>
                    <a:pt x="136816" y="161301"/>
                  </a:moveTo>
                  <a:lnTo>
                    <a:pt x="124546" y="158879"/>
                  </a:lnTo>
                  <a:lnTo>
                    <a:pt x="116768" y="161789"/>
                  </a:lnTo>
                  <a:lnTo>
                    <a:pt x="105599" y="157683"/>
                  </a:lnTo>
                  <a:lnTo>
                    <a:pt x="96208" y="157419"/>
                  </a:lnTo>
                  <a:lnTo>
                    <a:pt x="81492" y="146483"/>
                  </a:lnTo>
                  <a:lnTo>
                    <a:pt x="63643" y="142774"/>
                  </a:lnTo>
                  <a:lnTo>
                    <a:pt x="56853" y="127472"/>
                  </a:lnTo>
                  <a:lnTo>
                    <a:pt x="56796" y="118978"/>
                  </a:lnTo>
                  <a:lnTo>
                    <a:pt x="46911" y="116391"/>
                  </a:lnTo>
                  <a:lnTo>
                    <a:pt x="20788" y="90031"/>
                  </a:lnTo>
                  <a:lnTo>
                    <a:pt x="13531" y="76189"/>
                  </a:lnTo>
                  <a:lnTo>
                    <a:pt x="8886" y="71928"/>
                  </a:lnTo>
                  <a:lnTo>
                    <a:pt x="0" y="52865"/>
                  </a:lnTo>
                  <a:lnTo>
                    <a:pt x="25800" y="55473"/>
                  </a:lnTo>
                  <a:lnTo>
                    <a:pt x="33298" y="58217"/>
                  </a:lnTo>
                  <a:lnTo>
                    <a:pt x="41092" y="57664"/>
                  </a:lnTo>
                  <a:lnTo>
                    <a:pt x="53876" y="42262"/>
                  </a:lnTo>
                  <a:lnTo>
                    <a:pt x="73950" y="22738"/>
                  </a:lnTo>
                  <a:lnTo>
                    <a:pt x="82213" y="20874"/>
                  </a:lnTo>
                  <a:lnTo>
                    <a:pt x="85019" y="12661"/>
                  </a:lnTo>
                  <a:lnTo>
                    <a:pt x="98162" y="3236"/>
                  </a:lnTo>
                  <a:lnTo>
                    <a:pt x="115645" y="0"/>
                  </a:lnTo>
                  <a:lnTo>
                    <a:pt x="117139" y="8822"/>
                  </a:lnTo>
                  <a:lnTo>
                    <a:pt x="136392" y="8351"/>
                  </a:lnTo>
                  <a:lnTo>
                    <a:pt x="147090" y="13347"/>
                  </a:lnTo>
                  <a:lnTo>
                    <a:pt x="152065" y="19207"/>
                  </a:lnTo>
                  <a:lnTo>
                    <a:pt x="163057" y="20929"/>
                  </a:lnTo>
                  <a:lnTo>
                    <a:pt x="175046" y="28549"/>
                  </a:lnTo>
                  <a:lnTo>
                    <a:pt x="175097" y="58642"/>
                  </a:lnTo>
                  <a:lnTo>
                    <a:pt x="170597" y="75178"/>
                  </a:lnTo>
                  <a:lnTo>
                    <a:pt x="169606" y="93056"/>
                  </a:lnTo>
                  <a:lnTo>
                    <a:pt x="173316" y="100156"/>
                  </a:lnTo>
                  <a:lnTo>
                    <a:pt x="170709" y="114293"/>
                  </a:lnTo>
                  <a:lnTo>
                    <a:pt x="167222" y="116482"/>
                  </a:lnTo>
                  <a:lnTo>
                    <a:pt x="161135" y="1338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8" name="Freeform 172">
              <a:extLst>
                <a:ext uri="{FF2B5EF4-FFF2-40B4-BE49-F238E27FC236}">
                  <a16:creationId xmlns:a16="http://schemas.microsoft.com/office/drawing/2014/main" id="{968E46FE-2D66-4ECC-AA3C-AC7E972DD711}"/>
                </a:ext>
              </a:extLst>
            </p:cNvPr>
            <p:cNvSpPr>
              <a:spLocks noChangeAspect="1"/>
            </p:cNvSpPr>
            <p:nvPr>
              <p:custDataLst>
                <p:tags r:id="rId178"/>
              </p:custDataLst>
            </p:nvPr>
          </p:nvSpPr>
          <p:spPr>
            <a:xfrm>
              <a:off x="8452900" y="4900899"/>
              <a:ext cx="67439" cy="53871"/>
            </a:xfrm>
            <a:custGeom>
              <a:avLst/>
              <a:gdLst/>
              <a:ahLst/>
              <a:cxnLst/>
              <a:rect l="l" t="t" r="r" b="b"/>
              <a:pathLst>
                <a:path w="67439" h="53871">
                  <a:moveTo>
                    <a:pt x="25127" y="31292"/>
                  </a:moveTo>
                  <a:lnTo>
                    <a:pt x="33077" y="38156"/>
                  </a:lnTo>
                  <a:lnTo>
                    <a:pt x="29261" y="50594"/>
                  </a:lnTo>
                  <a:lnTo>
                    <a:pt x="14948" y="53871"/>
                  </a:lnTo>
                  <a:lnTo>
                    <a:pt x="2225" y="50921"/>
                  </a:lnTo>
                  <a:lnTo>
                    <a:pt x="0" y="40446"/>
                  </a:lnTo>
                  <a:lnTo>
                    <a:pt x="8905" y="32272"/>
                  </a:lnTo>
                  <a:lnTo>
                    <a:pt x="19401" y="35214"/>
                  </a:lnTo>
                  <a:close/>
                  <a:moveTo>
                    <a:pt x="67439" y="0"/>
                  </a:moveTo>
                  <a:lnTo>
                    <a:pt x="62669" y="12660"/>
                  </a:lnTo>
                  <a:lnTo>
                    <a:pt x="47991" y="18499"/>
                  </a:lnTo>
                  <a:lnTo>
                    <a:pt x="33239" y="23501"/>
                  </a:lnTo>
                  <a:lnTo>
                    <a:pt x="30279" y="14650"/>
                  </a:lnTo>
                  <a:lnTo>
                    <a:pt x="41816" y="9785"/>
                  </a:lnTo>
                  <a:lnTo>
                    <a:pt x="49131" y="8484"/>
                  </a:lnTo>
                  <a:lnTo>
                    <a:pt x="62669" y="10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9" name="Freeform 173">
              <a:extLst>
                <a:ext uri="{FF2B5EF4-FFF2-40B4-BE49-F238E27FC236}">
                  <a16:creationId xmlns:a16="http://schemas.microsoft.com/office/drawing/2014/main" id="{FA96DB3E-25A8-4E50-8363-2C2CBD857EBD}"/>
                </a:ext>
              </a:extLst>
            </p:cNvPr>
            <p:cNvSpPr>
              <a:spLocks noChangeAspect="1"/>
            </p:cNvSpPr>
            <p:nvPr>
              <p:custDataLst>
                <p:tags r:id="rId179"/>
              </p:custDataLst>
            </p:nvPr>
          </p:nvSpPr>
          <p:spPr>
            <a:xfrm>
              <a:off x="3102109" y="4394951"/>
              <a:ext cx="66177" cy="85615"/>
            </a:xfrm>
            <a:custGeom>
              <a:avLst/>
              <a:gdLst>
                <a:gd name="connsiteX0" fmla="*/ 13081 w 66177"/>
                <a:gd name="connsiteY0" fmla="*/ 0 h 85615"/>
                <a:gd name="connsiteX1" fmla="*/ 20920 w 66177"/>
                <a:gd name="connsiteY1" fmla="*/ 2547 h 85615"/>
                <a:gd name="connsiteX2" fmla="*/ 37916 w 66177"/>
                <a:gd name="connsiteY2" fmla="*/ 8027 h 85615"/>
                <a:gd name="connsiteX3" fmla="*/ 62356 w 66177"/>
                <a:gd name="connsiteY3" fmla="*/ 27558 h 85615"/>
                <a:gd name="connsiteX4" fmla="*/ 66177 w 66177"/>
                <a:gd name="connsiteY4" fmla="*/ 37029 h 85615"/>
                <a:gd name="connsiteX5" fmla="*/ 52523 w 66177"/>
                <a:gd name="connsiteY5" fmla="*/ 58181 h 85615"/>
                <a:gd name="connsiteX6" fmla="*/ 45435 w 66177"/>
                <a:gd name="connsiteY6" fmla="*/ 75192 h 85615"/>
                <a:gd name="connsiteX7" fmla="*/ 36589 w 66177"/>
                <a:gd name="connsiteY7" fmla="*/ 83965 h 85615"/>
                <a:gd name="connsiteX8" fmla="*/ 25536 w 66177"/>
                <a:gd name="connsiteY8" fmla="*/ 85615 h 85615"/>
                <a:gd name="connsiteX9" fmla="*/ 22388 w 66177"/>
                <a:gd name="connsiteY9" fmla="*/ 79114 h 85615"/>
                <a:gd name="connsiteX10" fmla="*/ 17225 w 66177"/>
                <a:gd name="connsiteY10" fmla="*/ 78149 h 85615"/>
                <a:gd name="connsiteX11" fmla="*/ 10080 w 66177"/>
                <a:gd name="connsiteY11" fmla="*/ 84411 h 85615"/>
                <a:gd name="connsiteX12" fmla="*/ 0 w 66177"/>
                <a:gd name="connsiteY12" fmla="*/ 79647 h 85615"/>
                <a:gd name="connsiteX13" fmla="*/ 5852 w 66177"/>
                <a:gd name="connsiteY13" fmla="*/ 69787 h 85615"/>
                <a:gd name="connsiteX14" fmla="*/ 7859 w 66177"/>
                <a:gd name="connsiteY14" fmla="*/ 59265 h 85615"/>
                <a:gd name="connsiteX15" fmla="*/ 11847 w 66177"/>
                <a:gd name="connsiteY15" fmla="*/ 49365 h 85615"/>
                <a:gd name="connsiteX16" fmla="*/ 2890 w 66177"/>
                <a:gd name="connsiteY16" fmla="*/ 35725 h 85615"/>
                <a:gd name="connsiteX17" fmla="*/ 1065 w 66177"/>
                <a:gd name="connsiteY17" fmla="*/ 19901 h 8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7" h="85615">
                  <a:moveTo>
                    <a:pt x="13081" y="0"/>
                  </a:moveTo>
                  <a:lnTo>
                    <a:pt x="20920" y="2547"/>
                  </a:lnTo>
                  <a:lnTo>
                    <a:pt x="37916" y="8027"/>
                  </a:lnTo>
                  <a:lnTo>
                    <a:pt x="62356" y="27558"/>
                  </a:lnTo>
                  <a:lnTo>
                    <a:pt x="66177" y="37029"/>
                  </a:lnTo>
                  <a:lnTo>
                    <a:pt x="52523" y="58181"/>
                  </a:lnTo>
                  <a:lnTo>
                    <a:pt x="45435" y="75192"/>
                  </a:lnTo>
                  <a:lnTo>
                    <a:pt x="36589" y="83965"/>
                  </a:lnTo>
                  <a:lnTo>
                    <a:pt x="25536" y="85615"/>
                  </a:lnTo>
                  <a:lnTo>
                    <a:pt x="22388" y="79114"/>
                  </a:lnTo>
                  <a:lnTo>
                    <a:pt x="17225" y="78149"/>
                  </a:lnTo>
                  <a:lnTo>
                    <a:pt x="10080" y="84411"/>
                  </a:lnTo>
                  <a:lnTo>
                    <a:pt x="0" y="79647"/>
                  </a:lnTo>
                  <a:lnTo>
                    <a:pt x="5852" y="69787"/>
                  </a:lnTo>
                  <a:lnTo>
                    <a:pt x="7859" y="59265"/>
                  </a:lnTo>
                  <a:lnTo>
                    <a:pt x="11847" y="49365"/>
                  </a:lnTo>
                  <a:lnTo>
                    <a:pt x="2890" y="35725"/>
                  </a:lnTo>
                  <a:lnTo>
                    <a:pt x="1065" y="1990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0" name="Freeform 174">
              <a:extLst>
                <a:ext uri="{FF2B5EF4-FFF2-40B4-BE49-F238E27FC236}">
                  <a16:creationId xmlns:a16="http://schemas.microsoft.com/office/drawing/2014/main" id="{86A0AC56-C010-4917-B833-354E786BBE33}"/>
                </a:ext>
              </a:extLst>
            </p:cNvPr>
            <p:cNvSpPr>
              <a:spLocks noChangeAspect="1"/>
            </p:cNvSpPr>
            <p:nvPr>
              <p:custDataLst>
                <p:tags r:id="rId180"/>
              </p:custDataLst>
            </p:nvPr>
          </p:nvSpPr>
          <p:spPr>
            <a:xfrm>
              <a:off x="2948028" y="5822557"/>
              <a:ext cx="79635" cy="36905"/>
            </a:xfrm>
            <a:custGeom>
              <a:avLst/>
              <a:gdLst>
                <a:gd name="connsiteX0" fmla="*/ 61169 w 79635"/>
                <a:gd name="connsiteY0" fmla="*/ 0 h 36905"/>
                <a:gd name="connsiteX1" fmla="*/ 79635 w 79635"/>
                <a:gd name="connsiteY1" fmla="*/ 13776 h 36905"/>
                <a:gd name="connsiteX2" fmla="*/ 72710 w 79635"/>
                <a:gd name="connsiteY2" fmla="*/ 24543 h 36905"/>
                <a:gd name="connsiteX3" fmla="*/ 41548 w 79635"/>
                <a:gd name="connsiteY3" fmla="*/ 33809 h 36905"/>
                <a:gd name="connsiteX4" fmla="*/ 31161 w 79635"/>
                <a:gd name="connsiteY4" fmla="*/ 23002 h 36905"/>
                <a:gd name="connsiteX5" fmla="*/ 11541 w 79635"/>
                <a:gd name="connsiteY5" fmla="*/ 36905 h 36905"/>
                <a:gd name="connsiteX6" fmla="*/ 0 w 79635"/>
                <a:gd name="connsiteY6" fmla="*/ 23002 h 36905"/>
                <a:gd name="connsiteX7" fmla="*/ 27699 w 79635"/>
                <a:gd name="connsiteY7" fmla="*/ 4584 h 36905"/>
                <a:gd name="connsiteX8" fmla="*/ 47319 w 79635"/>
                <a:gd name="connsiteY8" fmla="*/ 12241 h 3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35" h="36905">
                  <a:moveTo>
                    <a:pt x="61169" y="0"/>
                  </a:moveTo>
                  <a:lnTo>
                    <a:pt x="79635" y="13776"/>
                  </a:lnTo>
                  <a:lnTo>
                    <a:pt x="72710" y="24543"/>
                  </a:lnTo>
                  <a:lnTo>
                    <a:pt x="41548" y="33809"/>
                  </a:lnTo>
                  <a:lnTo>
                    <a:pt x="31161" y="23002"/>
                  </a:lnTo>
                  <a:lnTo>
                    <a:pt x="11541" y="36905"/>
                  </a:lnTo>
                  <a:lnTo>
                    <a:pt x="0" y="23002"/>
                  </a:lnTo>
                  <a:lnTo>
                    <a:pt x="27699" y="4584"/>
                  </a:lnTo>
                  <a:lnTo>
                    <a:pt x="47319" y="122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1" name="Freeform 175">
              <a:extLst>
                <a:ext uri="{FF2B5EF4-FFF2-40B4-BE49-F238E27FC236}">
                  <a16:creationId xmlns:a16="http://schemas.microsoft.com/office/drawing/2014/main" id="{C931ED15-B6F6-45DE-BA22-7406C4473672}"/>
                </a:ext>
              </a:extLst>
            </p:cNvPr>
            <p:cNvSpPr>
              <a:spLocks noChangeAspect="1"/>
            </p:cNvSpPr>
            <p:nvPr>
              <p:custDataLst>
                <p:tags r:id="rId181"/>
              </p:custDataLst>
            </p:nvPr>
          </p:nvSpPr>
          <p:spPr>
            <a:xfrm>
              <a:off x="2668795" y="1901766"/>
              <a:ext cx="1410084" cy="1042076"/>
            </a:xfrm>
            <a:custGeom>
              <a:avLst/>
              <a:gdLst>
                <a:gd name="connsiteX0" fmla="*/ 881969 w 1410084"/>
                <a:gd name="connsiteY0" fmla="*/ 0 h 1042076"/>
                <a:gd name="connsiteX1" fmla="*/ 1066339 w 1410084"/>
                <a:gd name="connsiteY1" fmla="*/ 7371 h 1042076"/>
                <a:gd name="connsiteX2" fmla="*/ 1210723 w 1410084"/>
                <a:gd name="connsiteY2" fmla="*/ 53274 h 1042076"/>
                <a:gd name="connsiteX3" fmla="*/ 1168102 w 1410084"/>
                <a:gd name="connsiteY3" fmla="*/ 75149 h 1042076"/>
                <a:gd name="connsiteX4" fmla="*/ 1079795 w 1410084"/>
                <a:gd name="connsiteY4" fmla="*/ 77632 h 1042076"/>
                <a:gd name="connsiteX5" fmla="*/ 955553 w 1410084"/>
                <a:gd name="connsiteY5" fmla="*/ 83131 h 1042076"/>
                <a:gd name="connsiteX6" fmla="*/ 967176 w 1410084"/>
                <a:gd name="connsiteY6" fmla="*/ 93137 h 1042076"/>
                <a:gd name="connsiteX7" fmla="*/ 1048884 w 1410084"/>
                <a:gd name="connsiteY7" fmla="*/ 86962 h 1042076"/>
                <a:gd name="connsiteX8" fmla="*/ 1118414 w 1410084"/>
                <a:gd name="connsiteY8" fmla="*/ 106205 h 1042076"/>
                <a:gd name="connsiteX9" fmla="*/ 1163222 w 1410084"/>
                <a:gd name="connsiteY9" fmla="*/ 89127 h 1042076"/>
                <a:gd name="connsiteX10" fmla="*/ 1182415 w 1410084"/>
                <a:gd name="connsiteY10" fmla="*/ 109116 h 1042076"/>
                <a:gd name="connsiteX11" fmla="*/ 1157074 w 1410084"/>
                <a:gd name="connsiteY11" fmla="*/ 141078 h 1042076"/>
                <a:gd name="connsiteX12" fmla="*/ 1215842 w 1410084"/>
                <a:gd name="connsiteY12" fmla="*/ 120711 h 1042076"/>
                <a:gd name="connsiteX13" fmla="*/ 1327919 w 1410084"/>
                <a:gd name="connsiteY13" fmla="*/ 99226 h 1042076"/>
                <a:gd name="connsiteX14" fmla="*/ 1397121 w 1410084"/>
                <a:gd name="connsiteY14" fmla="*/ 109983 h 1042076"/>
                <a:gd name="connsiteX15" fmla="*/ 1410084 w 1410084"/>
                <a:gd name="connsiteY15" fmla="*/ 133502 h 1042076"/>
                <a:gd name="connsiteX16" fmla="*/ 1315981 w 1410084"/>
                <a:gd name="connsiteY16" fmla="*/ 172003 h 1042076"/>
                <a:gd name="connsiteX17" fmla="*/ 1302947 w 1410084"/>
                <a:gd name="connsiteY17" fmla="*/ 184279 h 1042076"/>
                <a:gd name="connsiteX18" fmla="*/ 1229170 w 1410084"/>
                <a:gd name="connsiteY18" fmla="*/ 193454 h 1042076"/>
                <a:gd name="connsiteX19" fmla="*/ 1282626 w 1410084"/>
                <a:gd name="connsiteY19" fmla="*/ 195990 h 1042076"/>
                <a:gd name="connsiteX20" fmla="*/ 1255628 w 1410084"/>
                <a:gd name="connsiteY20" fmla="*/ 234127 h 1042076"/>
                <a:gd name="connsiteX21" fmla="*/ 1237047 w 1410084"/>
                <a:gd name="connsiteY21" fmla="*/ 267409 h 1042076"/>
                <a:gd name="connsiteX22" fmla="*/ 1237773 w 1410084"/>
                <a:gd name="connsiteY22" fmla="*/ 323141 h 1042076"/>
                <a:gd name="connsiteX23" fmla="*/ 1265487 w 1410084"/>
                <a:gd name="connsiteY23" fmla="*/ 355088 h 1042076"/>
                <a:gd name="connsiteX24" fmla="*/ 1229428 w 1410084"/>
                <a:gd name="connsiteY24" fmla="*/ 357091 h 1042076"/>
                <a:gd name="connsiteX25" fmla="*/ 1191471 w 1410084"/>
                <a:gd name="connsiteY25" fmla="*/ 372362 h 1042076"/>
                <a:gd name="connsiteX26" fmla="*/ 1234067 w 1410084"/>
                <a:gd name="connsiteY26" fmla="*/ 397662 h 1042076"/>
                <a:gd name="connsiteX27" fmla="*/ 1239494 w 1410084"/>
                <a:gd name="connsiteY27" fmla="*/ 437542 h 1042076"/>
                <a:gd name="connsiteX28" fmla="*/ 1214813 w 1410084"/>
                <a:gd name="connsiteY28" fmla="*/ 441834 h 1042076"/>
                <a:gd name="connsiteX29" fmla="*/ 1244714 w 1410084"/>
                <a:gd name="connsiteY29" fmla="*/ 481288 h 1042076"/>
                <a:gd name="connsiteX30" fmla="*/ 1193438 w 1410084"/>
                <a:gd name="connsiteY30" fmla="*/ 484544 h 1042076"/>
                <a:gd name="connsiteX31" fmla="*/ 1220207 w 1410084"/>
                <a:gd name="connsiteY31" fmla="*/ 502886 h 1042076"/>
                <a:gd name="connsiteX32" fmla="*/ 1212640 w 1410084"/>
                <a:gd name="connsiteY32" fmla="*/ 518656 h 1042076"/>
                <a:gd name="connsiteX33" fmla="*/ 1180097 w 1410084"/>
                <a:gd name="connsiteY33" fmla="*/ 525537 h 1042076"/>
                <a:gd name="connsiteX34" fmla="*/ 1147926 w 1410084"/>
                <a:gd name="connsiteY34" fmla="*/ 525666 h 1042076"/>
                <a:gd name="connsiteX35" fmla="*/ 1176844 w 1410084"/>
                <a:gd name="connsiteY35" fmla="*/ 555484 h 1042076"/>
                <a:gd name="connsiteX36" fmla="*/ 1177157 w 1410084"/>
                <a:gd name="connsiteY36" fmla="*/ 574836 h 1042076"/>
                <a:gd name="connsiteX37" fmla="*/ 1131481 w 1410084"/>
                <a:gd name="connsiteY37" fmla="*/ 556856 h 1042076"/>
                <a:gd name="connsiteX38" fmla="*/ 1119603 w 1410084"/>
                <a:gd name="connsiteY38" fmla="*/ 568506 h 1042076"/>
                <a:gd name="connsiteX39" fmla="*/ 1150764 w 1410084"/>
                <a:gd name="connsiteY39" fmla="*/ 579326 h 1042076"/>
                <a:gd name="connsiteX40" fmla="*/ 1181006 w 1410084"/>
                <a:gd name="connsiteY40" fmla="*/ 605526 h 1042076"/>
                <a:gd name="connsiteX41" fmla="*/ 1189760 w 1410084"/>
                <a:gd name="connsiteY41" fmla="*/ 639522 h 1042076"/>
                <a:gd name="connsiteX42" fmla="*/ 1148616 w 1410084"/>
                <a:gd name="connsiteY42" fmla="*/ 647571 h 1042076"/>
                <a:gd name="connsiteX43" fmla="*/ 1130819 w 1410084"/>
                <a:gd name="connsiteY43" fmla="*/ 631436 h 1042076"/>
                <a:gd name="connsiteX44" fmla="*/ 1102280 w 1410084"/>
                <a:gd name="connsiteY44" fmla="*/ 607145 h 1042076"/>
                <a:gd name="connsiteX45" fmla="*/ 1110176 w 1410084"/>
                <a:gd name="connsiteY45" fmla="*/ 635811 h 1042076"/>
                <a:gd name="connsiteX46" fmla="*/ 1083367 w 1410084"/>
                <a:gd name="connsiteY46" fmla="*/ 657738 h 1042076"/>
                <a:gd name="connsiteX47" fmla="*/ 1144198 w 1410084"/>
                <a:gd name="connsiteY47" fmla="*/ 659498 h 1042076"/>
                <a:gd name="connsiteX48" fmla="*/ 1176015 w 1410084"/>
                <a:gd name="connsiteY48" fmla="*/ 661757 h 1042076"/>
                <a:gd name="connsiteX49" fmla="*/ 1114148 w 1410084"/>
                <a:gd name="connsiteY49" fmla="*/ 697473 h 1042076"/>
                <a:gd name="connsiteX50" fmla="*/ 1051407 w 1410084"/>
                <a:gd name="connsiteY50" fmla="*/ 729271 h 1042076"/>
                <a:gd name="connsiteX51" fmla="*/ 983859 w 1410084"/>
                <a:gd name="connsiteY51" fmla="*/ 743049 h 1042076"/>
                <a:gd name="connsiteX52" fmla="*/ 958400 w 1410084"/>
                <a:gd name="connsiteY52" fmla="*/ 743218 h 1042076"/>
                <a:gd name="connsiteX53" fmla="*/ 934524 w 1410084"/>
                <a:gd name="connsiteY53" fmla="*/ 758475 h 1042076"/>
                <a:gd name="connsiteX54" fmla="*/ 902418 w 1410084"/>
                <a:gd name="connsiteY54" fmla="*/ 799705 h 1042076"/>
                <a:gd name="connsiteX55" fmla="*/ 852770 w 1410084"/>
                <a:gd name="connsiteY55" fmla="*/ 826626 h 1042076"/>
                <a:gd name="connsiteX56" fmla="*/ 836821 w 1410084"/>
                <a:gd name="connsiteY56" fmla="*/ 828198 h 1042076"/>
                <a:gd name="connsiteX57" fmla="*/ 806092 w 1410084"/>
                <a:gd name="connsiteY57" fmla="*/ 837541 h 1042076"/>
                <a:gd name="connsiteX58" fmla="*/ 772918 w 1410084"/>
                <a:gd name="connsiteY58" fmla="*/ 846392 h 1042076"/>
                <a:gd name="connsiteX59" fmla="*/ 753141 w 1410084"/>
                <a:gd name="connsiteY59" fmla="*/ 869644 h 1042076"/>
                <a:gd name="connsiteX60" fmla="*/ 752822 w 1410084"/>
                <a:gd name="connsiteY60" fmla="*/ 895688 h 1042076"/>
                <a:gd name="connsiteX61" fmla="*/ 741145 w 1410084"/>
                <a:gd name="connsiteY61" fmla="*/ 919795 h 1042076"/>
                <a:gd name="connsiteX62" fmla="*/ 703505 w 1410084"/>
                <a:gd name="connsiteY62" fmla="*/ 948811 h 1042076"/>
                <a:gd name="connsiteX63" fmla="*/ 712800 w 1410084"/>
                <a:gd name="connsiteY63" fmla="*/ 976775 h 1042076"/>
                <a:gd name="connsiteX64" fmla="*/ 702424 w 1410084"/>
                <a:gd name="connsiteY64" fmla="*/ 1005980 h 1042076"/>
                <a:gd name="connsiteX65" fmla="*/ 690601 w 1410084"/>
                <a:gd name="connsiteY65" fmla="*/ 1039971 h 1042076"/>
                <a:gd name="connsiteX66" fmla="*/ 658075 w 1410084"/>
                <a:gd name="connsiteY66" fmla="*/ 1042076 h 1042076"/>
                <a:gd name="connsiteX67" fmla="*/ 624002 w 1410084"/>
                <a:gd name="connsiteY67" fmla="*/ 1013712 h 1042076"/>
                <a:gd name="connsiteX68" fmla="*/ 577853 w 1410084"/>
                <a:gd name="connsiteY68" fmla="*/ 1013532 h 1042076"/>
                <a:gd name="connsiteX69" fmla="*/ 555459 w 1410084"/>
                <a:gd name="connsiteY69" fmla="*/ 994274 h 1042076"/>
                <a:gd name="connsiteX70" fmla="*/ 540056 w 1410084"/>
                <a:gd name="connsiteY70" fmla="*/ 959553 h 1042076"/>
                <a:gd name="connsiteX71" fmla="*/ 500057 w 1410084"/>
                <a:gd name="connsiteY71" fmla="*/ 914515 h 1042076"/>
                <a:gd name="connsiteX72" fmla="*/ 488356 w 1410084"/>
                <a:gd name="connsiteY72" fmla="*/ 890534 h 1042076"/>
                <a:gd name="connsiteX73" fmla="*/ 485207 w 1410084"/>
                <a:gd name="connsiteY73" fmla="*/ 857018 h 1042076"/>
                <a:gd name="connsiteX74" fmla="*/ 453236 w 1410084"/>
                <a:gd name="connsiteY74" fmla="*/ 822015 h 1042076"/>
                <a:gd name="connsiteX75" fmla="*/ 461547 w 1410084"/>
                <a:gd name="connsiteY75" fmla="*/ 793635 h 1042076"/>
                <a:gd name="connsiteX76" fmla="*/ 446139 w 1410084"/>
                <a:gd name="connsiteY76" fmla="*/ 779920 h 1042076"/>
                <a:gd name="connsiteX77" fmla="*/ 468961 w 1410084"/>
                <a:gd name="connsiteY77" fmla="*/ 733784 h 1042076"/>
                <a:gd name="connsiteX78" fmla="*/ 503701 w 1410084"/>
                <a:gd name="connsiteY78" fmla="*/ 718874 h 1042076"/>
                <a:gd name="connsiteX79" fmla="*/ 512818 w 1410084"/>
                <a:gd name="connsiteY79" fmla="*/ 701980 h 1042076"/>
                <a:gd name="connsiteX80" fmla="*/ 517647 w 1410084"/>
                <a:gd name="connsiteY80" fmla="*/ 670033 h 1042076"/>
                <a:gd name="connsiteX81" fmla="*/ 491278 w 1410084"/>
                <a:gd name="connsiteY81" fmla="*/ 684578 h 1042076"/>
                <a:gd name="connsiteX82" fmla="*/ 478713 w 1410084"/>
                <a:gd name="connsiteY82" fmla="*/ 690656 h 1042076"/>
                <a:gd name="connsiteX83" fmla="*/ 457976 w 1410084"/>
                <a:gd name="connsiteY83" fmla="*/ 696463 h 1042076"/>
                <a:gd name="connsiteX84" fmla="*/ 429652 w 1410084"/>
                <a:gd name="connsiteY84" fmla="*/ 683141 h 1042076"/>
                <a:gd name="connsiteX85" fmla="*/ 428114 w 1410084"/>
                <a:gd name="connsiteY85" fmla="*/ 655130 h 1042076"/>
                <a:gd name="connsiteX86" fmla="*/ 437143 w 1410084"/>
                <a:gd name="connsiteY86" fmla="*/ 632914 h 1042076"/>
                <a:gd name="connsiteX87" fmla="*/ 458553 w 1410084"/>
                <a:gd name="connsiteY87" fmla="*/ 632307 h 1042076"/>
                <a:gd name="connsiteX88" fmla="*/ 505669 w 1410084"/>
                <a:gd name="connsiteY88" fmla="*/ 643449 h 1042076"/>
                <a:gd name="connsiteX89" fmla="*/ 465984 w 1410084"/>
                <a:gd name="connsiteY89" fmla="*/ 616741 h 1042076"/>
                <a:gd name="connsiteX90" fmla="*/ 445329 w 1410084"/>
                <a:gd name="connsiteY90" fmla="*/ 602193 h 1042076"/>
                <a:gd name="connsiteX91" fmla="*/ 422343 w 1410084"/>
                <a:gd name="connsiteY91" fmla="*/ 608183 h 1042076"/>
                <a:gd name="connsiteX92" fmla="*/ 403077 w 1410084"/>
                <a:gd name="connsiteY92" fmla="*/ 597612 h 1042076"/>
                <a:gd name="connsiteX93" fmla="*/ 428848 w 1410084"/>
                <a:gd name="connsiteY93" fmla="*/ 557363 h 1042076"/>
                <a:gd name="connsiteX94" fmla="*/ 414811 w 1410084"/>
                <a:gd name="connsiteY94" fmla="*/ 541044 h 1042076"/>
                <a:gd name="connsiteX95" fmla="*/ 396490 w 1410084"/>
                <a:gd name="connsiteY95" fmla="*/ 510384 h 1042076"/>
                <a:gd name="connsiteX96" fmla="*/ 368708 w 1410084"/>
                <a:gd name="connsiteY96" fmla="*/ 462372 h 1042076"/>
                <a:gd name="connsiteX97" fmla="*/ 339320 w 1410084"/>
                <a:gd name="connsiteY97" fmla="*/ 444485 h 1042076"/>
                <a:gd name="connsiteX98" fmla="*/ 339588 w 1410084"/>
                <a:gd name="connsiteY98" fmla="*/ 425012 h 1042076"/>
                <a:gd name="connsiteX99" fmla="*/ 277647 w 1410084"/>
                <a:gd name="connsiteY99" fmla="*/ 397458 h 1042076"/>
                <a:gd name="connsiteX100" fmla="*/ 228642 w 1410084"/>
                <a:gd name="connsiteY100" fmla="*/ 394001 h 1042076"/>
                <a:gd name="connsiteX101" fmla="*/ 166950 w 1410084"/>
                <a:gd name="connsiteY101" fmla="*/ 395917 h 1042076"/>
                <a:gd name="connsiteX102" fmla="*/ 110626 w 1410084"/>
                <a:gd name="connsiteY102" fmla="*/ 399401 h 1042076"/>
                <a:gd name="connsiteX103" fmla="*/ 83839 w 1410084"/>
                <a:gd name="connsiteY103" fmla="*/ 384255 h 1042076"/>
                <a:gd name="connsiteX104" fmla="*/ 43728 w 1410084"/>
                <a:gd name="connsiteY104" fmla="*/ 353976 h 1042076"/>
                <a:gd name="connsiteX105" fmla="*/ 104340 w 1410084"/>
                <a:gd name="connsiteY105" fmla="*/ 338644 h 1042076"/>
                <a:gd name="connsiteX106" fmla="*/ 150799 w 1410084"/>
                <a:gd name="connsiteY106" fmla="*/ 336057 h 1042076"/>
                <a:gd name="connsiteX107" fmla="*/ 52030 w 1410084"/>
                <a:gd name="connsiteY107" fmla="*/ 323272 h 1042076"/>
                <a:gd name="connsiteX108" fmla="*/ 0 w 1410084"/>
                <a:gd name="connsiteY108" fmla="*/ 303018 h 1042076"/>
                <a:gd name="connsiteX109" fmla="*/ 3176 w 1410084"/>
                <a:gd name="connsiteY109" fmla="*/ 283537 h 1042076"/>
                <a:gd name="connsiteX110" fmla="*/ 90566 w 1410084"/>
                <a:gd name="connsiteY110" fmla="*/ 259123 h 1042076"/>
                <a:gd name="connsiteX111" fmla="*/ 175112 w 1410084"/>
                <a:gd name="connsiteY111" fmla="*/ 234419 h 1042076"/>
                <a:gd name="connsiteX112" fmla="*/ 184040 w 1410084"/>
                <a:gd name="connsiteY112" fmla="*/ 215493 h 1042076"/>
                <a:gd name="connsiteX113" fmla="*/ 121738 w 1410084"/>
                <a:gd name="connsiteY113" fmla="*/ 196620 h 1042076"/>
                <a:gd name="connsiteX114" fmla="*/ 141859 w 1410084"/>
                <a:gd name="connsiteY114" fmla="*/ 175438 h 1042076"/>
                <a:gd name="connsiteX115" fmla="*/ 221772 w 1410084"/>
                <a:gd name="connsiteY115" fmla="*/ 137740 h 1042076"/>
                <a:gd name="connsiteX116" fmla="*/ 255353 w 1410084"/>
                <a:gd name="connsiteY116" fmla="*/ 131885 h 1042076"/>
                <a:gd name="connsiteX117" fmla="*/ 245734 w 1410084"/>
                <a:gd name="connsiteY117" fmla="*/ 107124 h 1042076"/>
                <a:gd name="connsiteX118" fmla="*/ 300409 w 1410084"/>
                <a:gd name="connsiteY118" fmla="*/ 92461 h 1042076"/>
                <a:gd name="connsiteX119" fmla="*/ 371390 w 1410084"/>
                <a:gd name="connsiteY119" fmla="*/ 83651 h 1042076"/>
                <a:gd name="connsiteX120" fmla="*/ 442323 w 1410084"/>
                <a:gd name="connsiteY120" fmla="*/ 83152 h 1042076"/>
                <a:gd name="connsiteX121" fmla="*/ 467509 w 1410084"/>
                <a:gd name="connsiteY121" fmla="*/ 100570 h 1042076"/>
                <a:gd name="connsiteX122" fmla="*/ 528740 w 1410084"/>
                <a:gd name="connsiteY122" fmla="*/ 69654 h 1042076"/>
                <a:gd name="connsiteX123" fmla="*/ 583833 w 1410084"/>
                <a:gd name="connsiteY123" fmla="*/ 90716 h 1042076"/>
                <a:gd name="connsiteX124" fmla="*/ 616241 w 1410084"/>
                <a:gd name="connsiteY124" fmla="*/ 95126 h 1042076"/>
                <a:gd name="connsiteX125" fmla="*/ 664180 w 1410084"/>
                <a:gd name="connsiteY125" fmla="*/ 113202 h 1042076"/>
                <a:gd name="connsiteX126" fmla="*/ 609297 w 1410084"/>
                <a:gd name="connsiteY126" fmla="*/ 83143 h 1042076"/>
                <a:gd name="connsiteX127" fmla="*/ 612457 w 1410084"/>
                <a:gd name="connsiteY127" fmla="*/ 58909 h 1042076"/>
                <a:gd name="connsiteX128" fmla="*/ 689954 w 1410084"/>
                <a:gd name="connsiteY128" fmla="*/ 24556 h 1042076"/>
                <a:gd name="connsiteX129" fmla="*/ 770949 w 1410084"/>
                <a:gd name="connsiteY129" fmla="*/ 27166 h 1042076"/>
                <a:gd name="connsiteX130" fmla="*/ 800388 w 1410084"/>
                <a:gd name="connsiteY130" fmla="*/ 5647 h 104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410084" h="1042076">
                  <a:moveTo>
                    <a:pt x="881969" y="0"/>
                  </a:moveTo>
                  <a:lnTo>
                    <a:pt x="1066339" y="7371"/>
                  </a:lnTo>
                  <a:lnTo>
                    <a:pt x="1210723" y="53274"/>
                  </a:lnTo>
                  <a:lnTo>
                    <a:pt x="1168102" y="75149"/>
                  </a:lnTo>
                  <a:lnTo>
                    <a:pt x="1079795" y="77632"/>
                  </a:lnTo>
                  <a:lnTo>
                    <a:pt x="955553" y="83131"/>
                  </a:lnTo>
                  <a:lnTo>
                    <a:pt x="967176" y="93137"/>
                  </a:lnTo>
                  <a:lnTo>
                    <a:pt x="1048884" y="86962"/>
                  </a:lnTo>
                  <a:lnTo>
                    <a:pt x="1118414" y="106205"/>
                  </a:lnTo>
                  <a:lnTo>
                    <a:pt x="1163222" y="89127"/>
                  </a:lnTo>
                  <a:lnTo>
                    <a:pt x="1182415" y="109116"/>
                  </a:lnTo>
                  <a:lnTo>
                    <a:pt x="1157074" y="141078"/>
                  </a:lnTo>
                  <a:lnTo>
                    <a:pt x="1215842" y="120711"/>
                  </a:lnTo>
                  <a:lnTo>
                    <a:pt x="1327919" y="99226"/>
                  </a:lnTo>
                  <a:lnTo>
                    <a:pt x="1397121" y="109983"/>
                  </a:lnTo>
                  <a:lnTo>
                    <a:pt x="1410084" y="133502"/>
                  </a:lnTo>
                  <a:lnTo>
                    <a:pt x="1315981" y="172003"/>
                  </a:lnTo>
                  <a:lnTo>
                    <a:pt x="1302947" y="184279"/>
                  </a:lnTo>
                  <a:lnTo>
                    <a:pt x="1229170" y="193454"/>
                  </a:lnTo>
                  <a:lnTo>
                    <a:pt x="1282626" y="195990"/>
                  </a:lnTo>
                  <a:lnTo>
                    <a:pt x="1255628" y="234127"/>
                  </a:lnTo>
                  <a:lnTo>
                    <a:pt x="1237047" y="267409"/>
                  </a:lnTo>
                  <a:lnTo>
                    <a:pt x="1237773" y="323141"/>
                  </a:lnTo>
                  <a:lnTo>
                    <a:pt x="1265487" y="355088"/>
                  </a:lnTo>
                  <a:lnTo>
                    <a:pt x="1229428" y="357091"/>
                  </a:lnTo>
                  <a:lnTo>
                    <a:pt x="1191471" y="372362"/>
                  </a:lnTo>
                  <a:lnTo>
                    <a:pt x="1234067" y="397662"/>
                  </a:lnTo>
                  <a:lnTo>
                    <a:pt x="1239494" y="437542"/>
                  </a:lnTo>
                  <a:lnTo>
                    <a:pt x="1214813" y="441834"/>
                  </a:lnTo>
                  <a:lnTo>
                    <a:pt x="1244714" y="481288"/>
                  </a:lnTo>
                  <a:lnTo>
                    <a:pt x="1193438" y="484544"/>
                  </a:lnTo>
                  <a:lnTo>
                    <a:pt x="1220207" y="502886"/>
                  </a:lnTo>
                  <a:lnTo>
                    <a:pt x="1212640" y="518656"/>
                  </a:lnTo>
                  <a:lnTo>
                    <a:pt x="1180097" y="525537"/>
                  </a:lnTo>
                  <a:lnTo>
                    <a:pt x="1147926" y="525666"/>
                  </a:lnTo>
                  <a:lnTo>
                    <a:pt x="1176844" y="555484"/>
                  </a:lnTo>
                  <a:lnTo>
                    <a:pt x="1177157" y="574836"/>
                  </a:lnTo>
                  <a:lnTo>
                    <a:pt x="1131481" y="556856"/>
                  </a:lnTo>
                  <a:lnTo>
                    <a:pt x="1119603" y="568506"/>
                  </a:lnTo>
                  <a:lnTo>
                    <a:pt x="1150764" y="579326"/>
                  </a:lnTo>
                  <a:lnTo>
                    <a:pt x="1181006" y="605526"/>
                  </a:lnTo>
                  <a:lnTo>
                    <a:pt x="1189760" y="639522"/>
                  </a:lnTo>
                  <a:lnTo>
                    <a:pt x="1148616" y="647571"/>
                  </a:lnTo>
                  <a:lnTo>
                    <a:pt x="1130819" y="631436"/>
                  </a:lnTo>
                  <a:lnTo>
                    <a:pt x="1102280" y="607145"/>
                  </a:lnTo>
                  <a:lnTo>
                    <a:pt x="1110176" y="635811"/>
                  </a:lnTo>
                  <a:lnTo>
                    <a:pt x="1083367" y="657738"/>
                  </a:lnTo>
                  <a:lnTo>
                    <a:pt x="1144198" y="659498"/>
                  </a:lnTo>
                  <a:lnTo>
                    <a:pt x="1176015" y="661757"/>
                  </a:lnTo>
                  <a:lnTo>
                    <a:pt x="1114148" y="697473"/>
                  </a:lnTo>
                  <a:lnTo>
                    <a:pt x="1051407" y="729271"/>
                  </a:lnTo>
                  <a:lnTo>
                    <a:pt x="983859" y="743049"/>
                  </a:lnTo>
                  <a:lnTo>
                    <a:pt x="958400" y="743218"/>
                  </a:lnTo>
                  <a:lnTo>
                    <a:pt x="934524" y="758475"/>
                  </a:lnTo>
                  <a:lnTo>
                    <a:pt x="902418" y="799705"/>
                  </a:lnTo>
                  <a:lnTo>
                    <a:pt x="852770" y="826626"/>
                  </a:lnTo>
                  <a:lnTo>
                    <a:pt x="836821" y="828198"/>
                  </a:lnTo>
                  <a:lnTo>
                    <a:pt x="806092" y="837541"/>
                  </a:lnTo>
                  <a:lnTo>
                    <a:pt x="772918" y="846392"/>
                  </a:lnTo>
                  <a:lnTo>
                    <a:pt x="753141" y="869644"/>
                  </a:lnTo>
                  <a:lnTo>
                    <a:pt x="752822" y="895688"/>
                  </a:lnTo>
                  <a:lnTo>
                    <a:pt x="741145" y="919795"/>
                  </a:lnTo>
                  <a:lnTo>
                    <a:pt x="703505" y="948811"/>
                  </a:lnTo>
                  <a:lnTo>
                    <a:pt x="712800" y="976775"/>
                  </a:lnTo>
                  <a:lnTo>
                    <a:pt x="702424" y="1005980"/>
                  </a:lnTo>
                  <a:lnTo>
                    <a:pt x="690601" y="1039971"/>
                  </a:lnTo>
                  <a:lnTo>
                    <a:pt x="658075" y="1042076"/>
                  </a:lnTo>
                  <a:lnTo>
                    <a:pt x="624002" y="1013712"/>
                  </a:lnTo>
                  <a:lnTo>
                    <a:pt x="577853" y="1013532"/>
                  </a:lnTo>
                  <a:lnTo>
                    <a:pt x="555459" y="994274"/>
                  </a:lnTo>
                  <a:lnTo>
                    <a:pt x="540056" y="959553"/>
                  </a:lnTo>
                  <a:lnTo>
                    <a:pt x="500057" y="914515"/>
                  </a:lnTo>
                  <a:lnTo>
                    <a:pt x="488356" y="890534"/>
                  </a:lnTo>
                  <a:lnTo>
                    <a:pt x="485207" y="857018"/>
                  </a:lnTo>
                  <a:lnTo>
                    <a:pt x="453236" y="822015"/>
                  </a:lnTo>
                  <a:lnTo>
                    <a:pt x="461547" y="793635"/>
                  </a:lnTo>
                  <a:lnTo>
                    <a:pt x="446139" y="779920"/>
                  </a:lnTo>
                  <a:lnTo>
                    <a:pt x="468961" y="733784"/>
                  </a:lnTo>
                  <a:lnTo>
                    <a:pt x="503701" y="718874"/>
                  </a:lnTo>
                  <a:lnTo>
                    <a:pt x="512818" y="701980"/>
                  </a:lnTo>
                  <a:lnTo>
                    <a:pt x="517647" y="670033"/>
                  </a:lnTo>
                  <a:lnTo>
                    <a:pt x="491278" y="684578"/>
                  </a:lnTo>
                  <a:lnTo>
                    <a:pt x="478713" y="690656"/>
                  </a:lnTo>
                  <a:lnTo>
                    <a:pt x="457976" y="696463"/>
                  </a:lnTo>
                  <a:lnTo>
                    <a:pt x="429652" y="683141"/>
                  </a:lnTo>
                  <a:lnTo>
                    <a:pt x="428114" y="655130"/>
                  </a:lnTo>
                  <a:lnTo>
                    <a:pt x="437143" y="632914"/>
                  </a:lnTo>
                  <a:lnTo>
                    <a:pt x="458553" y="632307"/>
                  </a:lnTo>
                  <a:lnTo>
                    <a:pt x="505669" y="643449"/>
                  </a:lnTo>
                  <a:lnTo>
                    <a:pt x="465984" y="616741"/>
                  </a:lnTo>
                  <a:lnTo>
                    <a:pt x="445329" y="602193"/>
                  </a:lnTo>
                  <a:lnTo>
                    <a:pt x="422343" y="608183"/>
                  </a:lnTo>
                  <a:lnTo>
                    <a:pt x="403077" y="597612"/>
                  </a:lnTo>
                  <a:lnTo>
                    <a:pt x="428848" y="557363"/>
                  </a:lnTo>
                  <a:lnTo>
                    <a:pt x="414811" y="541044"/>
                  </a:lnTo>
                  <a:lnTo>
                    <a:pt x="396490" y="510384"/>
                  </a:lnTo>
                  <a:lnTo>
                    <a:pt x="368708" y="462372"/>
                  </a:lnTo>
                  <a:lnTo>
                    <a:pt x="339320" y="444485"/>
                  </a:lnTo>
                  <a:lnTo>
                    <a:pt x="339588" y="425012"/>
                  </a:lnTo>
                  <a:lnTo>
                    <a:pt x="277647" y="397458"/>
                  </a:lnTo>
                  <a:lnTo>
                    <a:pt x="228642" y="394001"/>
                  </a:lnTo>
                  <a:lnTo>
                    <a:pt x="166950" y="395917"/>
                  </a:lnTo>
                  <a:lnTo>
                    <a:pt x="110626" y="399401"/>
                  </a:lnTo>
                  <a:lnTo>
                    <a:pt x="83839" y="384255"/>
                  </a:lnTo>
                  <a:lnTo>
                    <a:pt x="43728" y="353976"/>
                  </a:lnTo>
                  <a:lnTo>
                    <a:pt x="104340" y="338644"/>
                  </a:lnTo>
                  <a:lnTo>
                    <a:pt x="150799" y="336057"/>
                  </a:lnTo>
                  <a:lnTo>
                    <a:pt x="52030" y="323272"/>
                  </a:lnTo>
                  <a:lnTo>
                    <a:pt x="0" y="303018"/>
                  </a:lnTo>
                  <a:lnTo>
                    <a:pt x="3176" y="283537"/>
                  </a:lnTo>
                  <a:lnTo>
                    <a:pt x="90566" y="259123"/>
                  </a:lnTo>
                  <a:lnTo>
                    <a:pt x="175112" y="234419"/>
                  </a:lnTo>
                  <a:lnTo>
                    <a:pt x="184040" y="215493"/>
                  </a:lnTo>
                  <a:lnTo>
                    <a:pt x="121738" y="196620"/>
                  </a:lnTo>
                  <a:lnTo>
                    <a:pt x="141859" y="175438"/>
                  </a:lnTo>
                  <a:lnTo>
                    <a:pt x="221772" y="137740"/>
                  </a:lnTo>
                  <a:lnTo>
                    <a:pt x="255353" y="131885"/>
                  </a:lnTo>
                  <a:lnTo>
                    <a:pt x="245734" y="107124"/>
                  </a:lnTo>
                  <a:lnTo>
                    <a:pt x="300409" y="92461"/>
                  </a:lnTo>
                  <a:lnTo>
                    <a:pt x="371390" y="83651"/>
                  </a:lnTo>
                  <a:lnTo>
                    <a:pt x="442323" y="83152"/>
                  </a:lnTo>
                  <a:lnTo>
                    <a:pt x="467509" y="100570"/>
                  </a:lnTo>
                  <a:lnTo>
                    <a:pt x="528740" y="69654"/>
                  </a:lnTo>
                  <a:lnTo>
                    <a:pt x="583833" y="90716"/>
                  </a:lnTo>
                  <a:lnTo>
                    <a:pt x="616241" y="95126"/>
                  </a:lnTo>
                  <a:lnTo>
                    <a:pt x="664180" y="113202"/>
                  </a:lnTo>
                  <a:lnTo>
                    <a:pt x="609297" y="83143"/>
                  </a:lnTo>
                  <a:lnTo>
                    <a:pt x="612457" y="58909"/>
                  </a:lnTo>
                  <a:lnTo>
                    <a:pt x="689954" y="24556"/>
                  </a:lnTo>
                  <a:lnTo>
                    <a:pt x="770949" y="27166"/>
                  </a:lnTo>
                  <a:lnTo>
                    <a:pt x="800388" y="56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grpSp>
      <p:sp>
        <p:nvSpPr>
          <p:cNvPr id="3" name="Symbol zastępczy stopki 2">
            <a:extLst>
              <a:ext uri="{FF2B5EF4-FFF2-40B4-BE49-F238E27FC236}">
                <a16:creationId xmlns:a16="http://schemas.microsoft.com/office/drawing/2014/main" id="{95618CDF-60C2-4399-B9DA-9C4DEB4EBBA7}"/>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231942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35C6EC49-48E0-AB85-CAB9-E93D742A137F}"/>
              </a:ext>
            </a:extLst>
          </p:cNvPr>
          <p:cNvSpPr>
            <a:spLocks noGrp="1"/>
          </p:cNvSpPr>
          <p:nvPr>
            <p:ph type="body" sz="quarter" idx="14"/>
            <p:custDataLst>
              <p:tags r:id="rId1"/>
            </p:custDataLst>
          </p:nvPr>
        </p:nvSpPr>
        <p:spPr/>
        <p:txBody>
          <a:bodyPr/>
          <a:lstStyle/>
          <a:p>
            <a:r>
              <a:rPr lang="pl-PL" noProof="0" dirty="0"/>
              <a:t>#KOMÓRKOMANIA</a:t>
            </a:r>
          </a:p>
        </p:txBody>
      </p:sp>
      <p:sp>
        <p:nvSpPr>
          <p:cNvPr id="20" name="Textplatzhalter 19">
            <a:extLst>
              <a:ext uri="{FF2B5EF4-FFF2-40B4-BE49-F238E27FC236}">
                <a16:creationId xmlns:a16="http://schemas.microsoft.com/office/drawing/2014/main" id="{75CC2DA9-918E-5B57-FCF5-29CB127C9CBB}"/>
              </a:ext>
            </a:extLst>
          </p:cNvPr>
          <p:cNvSpPr>
            <a:spLocks noGrp="1"/>
          </p:cNvSpPr>
          <p:nvPr>
            <p:ph type="body" sz="quarter" idx="17"/>
            <p:custDataLst>
              <p:tags r:id="rId2"/>
            </p:custDataLst>
          </p:nvPr>
        </p:nvSpPr>
        <p:spPr>
          <a:xfrm>
            <a:off x="1005632" y="1945232"/>
            <a:ext cx="3876676" cy="3217507"/>
          </a:xfrm>
        </p:spPr>
        <p:txBody>
          <a:bodyPr/>
          <a:lstStyle/>
          <a:p>
            <a:pPr marL="0" lvl="1" indent="0" algn="ctr">
              <a:buNone/>
            </a:pPr>
            <a:r>
              <a:rPr lang="pl-PL" sz="2800" b="1" dirty="0"/>
              <a:t>2 281 979</a:t>
            </a:r>
          </a:p>
          <a:p>
            <a:pPr marL="0" lvl="1" indent="0" algn="ctr">
              <a:buNone/>
            </a:pPr>
            <a:r>
              <a:rPr lang="pl-PL" dirty="0"/>
              <a:t> </a:t>
            </a:r>
            <a:r>
              <a:rPr lang="pl-PL" altLang="en-US" sz="1200" dirty="0"/>
              <a:t>Liczba zarejestrowanych potencjalnych Dawców</a:t>
            </a:r>
            <a:br>
              <a:rPr lang="pl-PL" altLang="en-US" sz="1200" dirty="0"/>
            </a:br>
            <a:r>
              <a:rPr lang="pl-PL" altLang="en-US" sz="1200" dirty="0"/>
              <a:t>we wszystkich Ośrodkach Dawców szpiku w Polsce*</a:t>
            </a:r>
            <a:r>
              <a:rPr lang="pl-PL" sz="1200" dirty="0"/>
              <a:t> </a:t>
            </a:r>
            <a:endParaRPr lang="pl-PL" dirty="0"/>
          </a:p>
          <a:p>
            <a:pPr marL="0" lvl="1" indent="0" algn="ctr">
              <a:buNone/>
            </a:pPr>
            <a:endParaRPr lang="pl-PL" noProof="0" dirty="0"/>
          </a:p>
          <a:p>
            <a:pPr marL="0" lvl="1" indent="0" algn="ctr">
              <a:buNone/>
            </a:pPr>
            <a:endParaRPr lang="pl-PL" noProof="0" dirty="0"/>
          </a:p>
          <a:p>
            <a:pPr marL="0" lvl="1" indent="0" algn="ctr">
              <a:buNone/>
            </a:pPr>
            <a:r>
              <a:rPr lang="pl-PL" sz="2800" b="1" dirty="0">
                <a:solidFill>
                  <a:schemeClr val="accent1"/>
                </a:solidFill>
              </a:rPr>
              <a:t>2 010 111</a:t>
            </a:r>
          </a:p>
          <a:p>
            <a:pPr marL="0" lvl="1" indent="0" algn="ctr">
              <a:buNone/>
            </a:pPr>
            <a:r>
              <a:rPr lang="pl-PL" altLang="en-US" sz="1200" dirty="0"/>
              <a:t>Potencjalni Dawcy zarejestrowani </a:t>
            </a:r>
            <a:br>
              <a:rPr lang="pl-PL" altLang="en-US" sz="1200" dirty="0"/>
            </a:br>
            <a:r>
              <a:rPr lang="pl-PL" altLang="en-US" sz="1200" dirty="0"/>
              <a:t>w Fundacji DKMS</a:t>
            </a:r>
            <a:endParaRPr lang="en-US" altLang="en-US" sz="1200" dirty="0"/>
          </a:p>
        </p:txBody>
      </p:sp>
      <p:sp>
        <p:nvSpPr>
          <p:cNvPr id="10" name="Titel 9">
            <a:extLst>
              <a:ext uri="{FF2B5EF4-FFF2-40B4-BE49-F238E27FC236}">
                <a16:creationId xmlns:a16="http://schemas.microsoft.com/office/drawing/2014/main" id="{F0C00009-ACA0-EB8E-745F-524CD8FAB75F}"/>
              </a:ext>
            </a:extLst>
          </p:cNvPr>
          <p:cNvSpPr>
            <a:spLocks noGrp="1"/>
          </p:cNvSpPr>
          <p:nvPr>
            <p:ph type="title"/>
            <p:custDataLst>
              <p:tags r:id="rId3"/>
            </p:custDataLst>
          </p:nvPr>
        </p:nvSpPr>
        <p:spPr/>
        <p:txBody>
          <a:bodyPr/>
          <a:lstStyle/>
          <a:p>
            <a:r>
              <a:rPr lang="pl-PL" noProof="0" dirty="0"/>
              <a:t>Potencjalni Dawcy szpiku w Polsce</a:t>
            </a:r>
          </a:p>
        </p:txBody>
      </p:sp>
      <p:sp>
        <p:nvSpPr>
          <p:cNvPr id="2" name="Datumsplatzhalter 1">
            <a:extLst>
              <a:ext uri="{FF2B5EF4-FFF2-40B4-BE49-F238E27FC236}">
                <a16:creationId xmlns:a16="http://schemas.microsoft.com/office/drawing/2014/main" id="{C96AE71A-14C1-06B4-91A2-E8545701D4EC}"/>
              </a:ext>
            </a:extLst>
          </p:cNvPr>
          <p:cNvSpPr>
            <a:spLocks noGrp="1"/>
          </p:cNvSpPr>
          <p:nvPr>
            <p:ph type="dt" sz="half" idx="18"/>
            <p:custDataLst>
              <p:tags r:id="rId4"/>
            </p:custDataLst>
          </p:nvPr>
        </p:nvSpPr>
        <p:spPr/>
        <p:txBody>
          <a:bodyPr/>
          <a:lstStyle/>
          <a:p>
            <a:r>
              <a:rPr lang="pl-PL"/>
              <a:t>06.11.2024</a:t>
            </a:r>
            <a:endParaRPr lang="pl-PL" dirty="0"/>
          </a:p>
        </p:txBody>
      </p:sp>
      <p:grpSp>
        <p:nvGrpSpPr>
          <p:cNvPr id="3" name="Group 4">
            <a:extLst>
              <a:ext uri="{FF2B5EF4-FFF2-40B4-BE49-F238E27FC236}">
                <a16:creationId xmlns:a16="http://schemas.microsoft.com/office/drawing/2014/main" id="{C4394C46-7199-0908-B487-204D0BEE8B0D}"/>
              </a:ext>
            </a:extLst>
          </p:cNvPr>
          <p:cNvGrpSpPr/>
          <p:nvPr>
            <p:custDataLst>
              <p:tags r:id="rId5"/>
            </p:custDataLst>
          </p:nvPr>
        </p:nvGrpSpPr>
        <p:grpSpPr>
          <a:xfrm>
            <a:off x="5482220" y="1052293"/>
            <a:ext cx="6709781" cy="5085850"/>
            <a:chOff x="1626234" y="1700213"/>
            <a:chExt cx="5891532" cy="4465637"/>
          </a:xfrm>
          <a:solidFill>
            <a:schemeClr val="bg2"/>
          </a:solidFill>
        </p:grpSpPr>
        <p:sp>
          <p:nvSpPr>
            <p:cNvPr id="13" name="ee4p_CY_1_15912">
              <a:extLst>
                <a:ext uri="{FF2B5EF4-FFF2-40B4-BE49-F238E27FC236}">
                  <a16:creationId xmlns:a16="http://schemas.microsoft.com/office/drawing/2014/main" id="{9A176D0D-DB82-2D5D-273E-0F0FF18154CA}"/>
                </a:ext>
              </a:extLst>
            </p:cNvPr>
            <p:cNvSpPr>
              <a:spLocks noChangeAspect="1"/>
            </p:cNvSpPr>
            <p:nvPr>
              <p:custDataLst>
                <p:tags r:id="rId6"/>
              </p:custDataLst>
            </p:nvPr>
          </p:nvSpPr>
          <p:spPr>
            <a:xfrm>
              <a:off x="6603135" y="6057298"/>
              <a:ext cx="197672" cy="108552"/>
            </a:xfrm>
            <a:custGeom>
              <a:avLst/>
              <a:gdLst>
                <a:gd name="connsiteX0" fmla="*/ 49864 w 49864"/>
                <a:gd name="connsiteY0" fmla="*/ 0 h 27383"/>
                <a:gd name="connsiteX1" fmla="*/ 47811 w 49864"/>
                <a:gd name="connsiteY1" fmla="*/ 1725 h 27383"/>
                <a:gd name="connsiteX2" fmla="*/ 36286 w 49864"/>
                <a:gd name="connsiteY2" fmla="*/ 9300 h 27383"/>
                <a:gd name="connsiteX3" fmla="*/ 35532 w 49864"/>
                <a:gd name="connsiteY3" fmla="*/ 11549 h 27383"/>
                <a:gd name="connsiteX4" fmla="*/ 36049 w 49864"/>
                <a:gd name="connsiteY4" fmla="*/ 13104 h 27383"/>
                <a:gd name="connsiteX5" fmla="*/ 37668 w 49864"/>
                <a:gd name="connsiteY5" fmla="*/ 14987 h 27383"/>
                <a:gd name="connsiteX6" fmla="*/ 38091 w 49864"/>
                <a:gd name="connsiteY6" fmla="*/ 15480 h 27383"/>
                <a:gd name="connsiteX7" fmla="*/ 38679 w 49864"/>
                <a:gd name="connsiteY7" fmla="*/ 16912 h 27383"/>
                <a:gd name="connsiteX8" fmla="*/ 36165 w 49864"/>
                <a:gd name="connsiteY8" fmla="*/ 17336 h 27383"/>
                <a:gd name="connsiteX9" fmla="*/ 33643 w 49864"/>
                <a:gd name="connsiteY9" fmla="*/ 17475 h 27383"/>
                <a:gd name="connsiteX10" fmla="*/ 32240 w 49864"/>
                <a:gd name="connsiteY10" fmla="*/ 17291 h 27383"/>
                <a:gd name="connsiteX11" fmla="*/ 30922 w 49864"/>
                <a:gd name="connsiteY11" fmla="*/ 17376 h 27383"/>
                <a:gd name="connsiteX12" fmla="*/ 26832 w 49864"/>
                <a:gd name="connsiteY12" fmla="*/ 21465 h 27383"/>
                <a:gd name="connsiteX13" fmla="*/ 24632 w 49864"/>
                <a:gd name="connsiteY13" fmla="*/ 22855 h 27383"/>
                <a:gd name="connsiteX14" fmla="*/ 22015 w 49864"/>
                <a:gd name="connsiteY14" fmla="*/ 23683 h 27383"/>
                <a:gd name="connsiteX15" fmla="*/ 19350 w 49864"/>
                <a:gd name="connsiteY15" fmla="*/ 24175 h 27383"/>
                <a:gd name="connsiteX16" fmla="*/ 18011 w 49864"/>
                <a:gd name="connsiteY16" fmla="*/ 24237 h 27383"/>
                <a:gd name="connsiteX17" fmla="*/ 16834 w 49864"/>
                <a:gd name="connsiteY17" fmla="*/ 24756 h 27383"/>
                <a:gd name="connsiteX18" fmla="*/ 16007 w 49864"/>
                <a:gd name="connsiteY18" fmla="*/ 25702 h 27383"/>
                <a:gd name="connsiteX19" fmla="*/ 15986 w 49864"/>
                <a:gd name="connsiteY19" fmla="*/ 26624 h 27383"/>
                <a:gd name="connsiteX20" fmla="*/ 15632 w 49864"/>
                <a:gd name="connsiteY20" fmla="*/ 27383 h 27383"/>
                <a:gd name="connsiteX21" fmla="*/ 14170 w 49864"/>
                <a:gd name="connsiteY21" fmla="*/ 27226 h 27383"/>
                <a:gd name="connsiteX22" fmla="*/ 13561 w 49864"/>
                <a:gd name="connsiteY22" fmla="*/ 25737 h 27383"/>
                <a:gd name="connsiteX23" fmla="*/ 12520 w 49864"/>
                <a:gd name="connsiteY23" fmla="*/ 25097 h 27383"/>
                <a:gd name="connsiteX24" fmla="*/ 9931 w 49864"/>
                <a:gd name="connsiteY24" fmla="*/ 25430 h 27383"/>
                <a:gd name="connsiteX25" fmla="*/ 8668 w 49864"/>
                <a:gd name="connsiteY25" fmla="*/ 25391 h 27383"/>
                <a:gd name="connsiteX26" fmla="*/ 4524 w 49864"/>
                <a:gd name="connsiteY26" fmla="*/ 23970 h 27383"/>
                <a:gd name="connsiteX27" fmla="*/ 3273 w 49864"/>
                <a:gd name="connsiteY27" fmla="*/ 23390 h 27383"/>
                <a:gd name="connsiteX28" fmla="*/ 2494 w 49864"/>
                <a:gd name="connsiteY28" fmla="*/ 22176 h 27383"/>
                <a:gd name="connsiteX29" fmla="*/ 358 w 49864"/>
                <a:gd name="connsiteY29" fmla="*/ 17790 h 27383"/>
                <a:gd name="connsiteX30" fmla="*/ 0 w 49864"/>
                <a:gd name="connsiteY30" fmla="*/ 14543 h 27383"/>
                <a:gd name="connsiteX31" fmla="*/ 1989 w 49864"/>
                <a:gd name="connsiteY31" fmla="*/ 15374 h 27383"/>
                <a:gd name="connsiteX32" fmla="*/ 3848 w 49864"/>
                <a:gd name="connsiteY32" fmla="*/ 14367 h 27383"/>
                <a:gd name="connsiteX33" fmla="*/ 5638 w 49864"/>
                <a:gd name="connsiteY33" fmla="*/ 12718 h 27383"/>
                <a:gd name="connsiteX34" fmla="*/ 7769 w 49864"/>
                <a:gd name="connsiteY34" fmla="*/ 12044 h 27383"/>
                <a:gd name="connsiteX35" fmla="*/ 9104 w 49864"/>
                <a:gd name="connsiteY35" fmla="*/ 12335 h 27383"/>
                <a:gd name="connsiteX36" fmla="*/ 10423 w 49864"/>
                <a:gd name="connsiteY36" fmla="*/ 12623 h 27383"/>
                <a:gd name="connsiteX37" fmla="*/ 12800 w 49864"/>
                <a:gd name="connsiteY37" fmla="*/ 12096 h 27383"/>
                <a:gd name="connsiteX38" fmla="*/ 13829 w 49864"/>
                <a:gd name="connsiteY38" fmla="*/ 9650 h 27383"/>
                <a:gd name="connsiteX39" fmla="*/ 14165 w 49864"/>
                <a:gd name="connsiteY39" fmla="*/ 6829 h 27383"/>
                <a:gd name="connsiteX40" fmla="*/ 18186 w 49864"/>
                <a:gd name="connsiteY40" fmla="*/ 7639 h 27383"/>
                <a:gd name="connsiteX41" fmla="*/ 22263 w 49864"/>
                <a:gd name="connsiteY41" fmla="*/ 8058 h 27383"/>
                <a:gd name="connsiteX42" fmla="*/ 25602 w 49864"/>
                <a:gd name="connsiteY42" fmla="*/ 8199 h 27383"/>
                <a:gd name="connsiteX43" fmla="*/ 28892 w 49864"/>
                <a:gd name="connsiteY43" fmla="*/ 7740 h 27383"/>
                <a:gd name="connsiteX44" fmla="*/ 38972 w 49864"/>
                <a:gd name="connsiteY44" fmla="*/ 4730 h 27383"/>
                <a:gd name="connsiteX45" fmla="*/ 41825 w 49864"/>
                <a:gd name="connsiteY45" fmla="*/ 2927 h 27383"/>
                <a:gd name="connsiteX46" fmla="*/ 43591 w 49864"/>
                <a:gd name="connsiteY46" fmla="*/ 2317 h 27383"/>
                <a:gd name="connsiteX47" fmla="*/ 46660 w 49864"/>
                <a:gd name="connsiteY47" fmla="*/ 825 h 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9864" h="27383">
                  <a:moveTo>
                    <a:pt x="49864" y="0"/>
                  </a:moveTo>
                  <a:lnTo>
                    <a:pt x="47811" y="1725"/>
                  </a:lnTo>
                  <a:lnTo>
                    <a:pt x="36286" y="9300"/>
                  </a:lnTo>
                  <a:lnTo>
                    <a:pt x="35532" y="11549"/>
                  </a:lnTo>
                  <a:lnTo>
                    <a:pt x="36049" y="13104"/>
                  </a:lnTo>
                  <a:lnTo>
                    <a:pt x="37668" y="14987"/>
                  </a:lnTo>
                  <a:lnTo>
                    <a:pt x="38091" y="15480"/>
                  </a:lnTo>
                  <a:lnTo>
                    <a:pt x="38679" y="16912"/>
                  </a:lnTo>
                  <a:lnTo>
                    <a:pt x="36165" y="17336"/>
                  </a:lnTo>
                  <a:lnTo>
                    <a:pt x="33643" y="17475"/>
                  </a:lnTo>
                  <a:lnTo>
                    <a:pt x="32240" y="17291"/>
                  </a:lnTo>
                  <a:lnTo>
                    <a:pt x="30922" y="17376"/>
                  </a:lnTo>
                  <a:lnTo>
                    <a:pt x="26832" y="21465"/>
                  </a:lnTo>
                  <a:lnTo>
                    <a:pt x="24632" y="22855"/>
                  </a:lnTo>
                  <a:lnTo>
                    <a:pt x="22015" y="23683"/>
                  </a:lnTo>
                  <a:lnTo>
                    <a:pt x="19350" y="24175"/>
                  </a:lnTo>
                  <a:lnTo>
                    <a:pt x="18011" y="24237"/>
                  </a:lnTo>
                  <a:lnTo>
                    <a:pt x="16834" y="24756"/>
                  </a:lnTo>
                  <a:lnTo>
                    <a:pt x="16007" y="25702"/>
                  </a:lnTo>
                  <a:lnTo>
                    <a:pt x="15986" y="26624"/>
                  </a:lnTo>
                  <a:lnTo>
                    <a:pt x="15632" y="27383"/>
                  </a:lnTo>
                  <a:lnTo>
                    <a:pt x="14170" y="27226"/>
                  </a:lnTo>
                  <a:lnTo>
                    <a:pt x="13561" y="25737"/>
                  </a:lnTo>
                  <a:lnTo>
                    <a:pt x="12520" y="25097"/>
                  </a:lnTo>
                  <a:lnTo>
                    <a:pt x="9931" y="25430"/>
                  </a:lnTo>
                  <a:lnTo>
                    <a:pt x="8668" y="25391"/>
                  </a:lnTo>
                  <a:lnTo>
                    <a:pt x="4524" y="23970"/>
                  </a:lnTo>
                  <a:lnTo>
                    <a:pt x="3273" y="23390"/>
                  </a:lnTo>
                  <a:lnTo>
                    <a:pt x="2494" y="22176"/>
                  </a:lnTo>
                  <a:lnTo>
                    <a:pt x="358" y="17790"/>
                  </a:lnTo>
                  <a:lnTo>
                    <a:pt x="0" y="14543"/>
                  </a:lnTo>
                  <a:lnTo>
                    <a:pt x="1989" y="15374"/>
                  </a:lnTo>
                  <a:lnTo>
                    <a:pt x="3848" y="14367"/>
                  </a:lnTo>
                  <a:lnTo>
                    <a:pt x="5638" y="12718"/>
                  </a:lnTo>
                  <a:lnTo>
                    <a:pt x="7769" y="12044"/>
                  </a:lnTo>
                  <a:lnTo>
                    <a:pt x="9104" y="12335"/>
                  </a:lnTo>
                  <a:lnTo>
                    <a:pt x="10423" y="12623"/>
                  </a:lnTo>
                  <a:lnTo>
                    <a:pt x="12800" y="12096"/>
                  </a:lnTo>
                  <a:lnTo>
                    <a:pt x="13829" y="9650"/>
                  </a:lnTo>
                  <a:lnTo>
                    <a:pt x="14165" y="6829"/>
                  </a:lnTo>
                  <a:lnTo>
                    <a:pt x="18186" y="7639"/>
                  </a:lnTo>
                  <a:lnTo>
                    <a:pt x="22263" y="8058"/>
                  </a:lnTo>
                  <a:lnTo>
                    <a:pt x="25602" y="8199"/>
                  </a:lnTo>
                  <a:lnTo>
                    <a:pt x="28892" y="7740"/>
                  </a:lnTo>
                  <a:lnTo>
                    <a:pt x="38972" y="4730"/>
                  </a:lnTo>
                  <a:lnTo>
                    <a:pt x="41825" y="2927"/>
                  </a:lnTo>
                  <a:lnTo>
                    <a:pt x="43591" y="2317"/>
                  </a:lnTo>
                  <a:lnTo>
                    <a:pt x="46660" y="82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23" name="ee4p_GE_1_15912">
              <a:extLst>
                <a:ext uri="{FF2B5EF4-FFF2-40B4-BE49-F238E27FC236}">
                  <a16:creationId xmlns:a16="http://schemas.microsoft.com/office/drawing/2014/main" id="{416ED9B2-1EAA-D613-7D97-F3A5F27C7C9C}"/>
                </a:ext>
              </a:extLst>
            </p:cNvPr>
            <p:cNvSpPr>
              <a:spLocks noChangeAspect="1"/>
            </p:cNvSpPr>
            <p:nvPr>
              <p:custDataLst>
                <p:tags r:id="rId7"/>
              </p:custDataLst>
            </p:nvPr>
          </p:nvSpPr>
          <p:spPr>
            <a:xfrm>
              <a:off x="7276110" y="5241915"/>
              <a:ext cx="241652" cy="226013"/>
            </a:xfrm>
            <a:custGeom>
              <a:avLst/>
              <a:gdLst>
                <a:gd name="connsiteX0" fmla="*/ 3801 w 60958"/>
                <a:gd name="connsiteY0" fmla="*/ 0 h 57013"/>
                <a:gd name="connsiteX1" fmla="*/ 8048 w 60958"/>
                <a:gd name="connsiteY1" fmla="*/ 728 h 57013"/>
                <a:gd name="connsiteX2" fmla="*/ 11954 w 60958"/>
                <a:gd name="connsiteY2" fmla="*/ 1556 h 57013"/>
                <a:gd name="connsiteX3" fmla="*/ 14809 w 60958"/>
                <a:gd name="connsiteY3" fmla="*/ 967 h 57013"/>
                <a:gd name="connsiteX4" fmla="*/ 18206 w 60958"/>
                <a:gd name="connsiteY4" fmla="*/ 2420 h 57013"/>
                <a:gd name="connsiteX5" fmla="*/ 21309 w 60958"/>
                <a:gd name="connsiteY5" fmla="*/ 4085 h 57013"/>
                <a:gd name="connsiteX6" fmla="*/ 24429 w 60958"/>
                <a:gd name="connsiteY6" fmla="*/ 5258 h 57013"/>
                <a:gd name="connsiteX7" fmla="*/ 30512 w 60958"/>
                <a:gd name="connsiteY7" fmla="*/ 6362 h 57013"/>
                <a:gd name="connsiteX8" fmla="*/ 32780 w 60958"/>
                <a:gd name="connsiteY8" fmla="*/ 7896 h 57013"/>
                <a:gd name="connsiteX9" fmla="*/ 35429 w 60958"/>
                <a:gd name="connsiteY9" fmla="*/ 9429 h 57013"/>
                <a:gd name="connsiteX10" fmla="*/ 45809 w 60958"/>
                <a:gd name="connsiteY10" fmla="*/ 10211 h 57013"/>
                <a:gd name="connsiteX11" fmla="*/ 46645 w 60958"/>
                <a:gd name="connsiteY11" fmla="*/ 9970 h 57013"/>
                <a:gd name="connsiteX12" fmla="*/ 47407 w 60958"/>
                <a:gd name="connsiteY12" fmla="*/ 9749 h 57013"/>
                <a:gd name="connsiteX13" fmla="*/ 50888 w 60958"/>
                <a:gd name="connsiteY13" fmla="*/ 9192 h 57013"/>
                <a:gd name="connsiteX14" fmla="*/ 53970 w 60958"/>
                <a:gd name="connsiteY14" fmla="*/ 9296 h 57013"/>
                <a:gd name="connsiteX15" fmla="*/ 57220 w 60958"/>
                <a:gd name="connsiteY15" fmla="*/ 11151 h 57013"/>
                <a:gd name="connsiteX16" fmla="*/ 59303 w 60958"/>
                <a:gd name="connsiteY16" fmla="*/ 11044 h 57013"/>
                <a:gd name="connsiteX17" fmla="*/ 60958 w 60958"/>
                <a:gd name="connsiteY17" fmla="*/ 10835 h 57013"/>
                <a:gd name="connsiteX18" fmla="*/ 60958 w 60958"/>
                <a:gd name="connsiteY18" fmla="*/ 53093 h 57013"/>
                <a:gd name="connsiteX19" fmla="*/ 59793 w 60958"/>
                <a:gd name="connsiteY19" fmla="*/ 52960 h 57013"/>
                <a:gd name="connsiteX20" fmla="*/ 58122 w 60958"/>
                <a:gd name="connsiteY20" fmla="*/ 53143 h 57013"/>
                <a:gd name="connsiteX21" fmla="*/ 57759 w 60958"/>
                <a:gd name="connsiteY21" fmla="*/ 53358 h 57013"/>
                <a:gd name="connsiteX22" fmla="*/ 57250 w 60958"/>
                <a:gd name="connsiteY22" fmla="*/ 53660 h 57013"/>
                <a:gd name="connsiteX23" fmla="*/ 55935 w 60958"/>
                <a:gd name="connsiteY23" fmla="*/ 56017 h 57013"/>
                <a:gd name="connsiteX24" fmla="*/ 55017 w 60958"/>
                <a:gd name="connsiteY24" fmla="*/ 56816 h 57013"/>
                <a:gd name="connsiteX25" fmla="*/ 52760 w 60958"/>
                <a:gd name="connsiteY25" fmla="*/ 56442 h 57013"/>
                <a:gd name="connsiteX26" fmla="*/ 50895 w 60958"/>
                <a:gd name="connsiteY26" fmla="*/ 55887 h 57013"/>
                <a:gd name="connsiteX27" fmla="*/ 49372 w 60958"/>
                <a:gd name="connsiteY27" fmla="*/ 55577 h 57013"/>
                <a:gd name="connsiteX28" fmla="*/ 46423 w 60958"/>
                <a:gd name="connsiteY28" fmla="*/ 55383 h 57013"/>
                <a:gd name="connsiteX29" fmla="*/ 43063 w 60958"/>
                <a:gd name="connsiteY29" fmla="*/ 55341 h 57013"/>
                <a:gd name="connsiteX30" fmla="*/ 40802 w 60958"/>
                <a:gd name="connsiteY30" fmla="*/ 57013 h 57013"/>
                <a:gd name="connsiteX31" fmla="*/ 39826 w 60958"/>
                <a:gd name="connsiteY31" fmla="*/ 56798 h 57013"/>
                <a:gd name="connsiteX32" fmla="*/ 38109 w 60958"/>
                <a:gd name="connsiteY32" fmla="*/ 55977 h 57013"/>
                <a:gd name="connsiteX33" fmla="*/ 35341 w 60958"/>
                <a:gd name="connsiteY33" fmla="*/ 55298 h 57013"/>
                <a:gd name="connsiteX34" fmla="*/ 33870 w 60958"/>
                <a:gd name="connsiteY34" fmla="*/ 54765 h 57013"/>
                <a:gd name="connsiteX35" fmla="*/ 38109 w 60958"/>
                <a:gd name="connsiteY35" fmla="*/ 49793 h 57013"/>
                <a:gd name="connsiteX36" fmla="*/ 39370 w 60958"/>
                <a:gd name="connsiteY36" fmla="*/ 46834 h 57013"/>
                <a:gd name="connsiteX37" fmla="*/ 39413 w 60958"/>
                <a:gd name="connsiteY37" fmla="*/ 45038 h 57013"/>
                <a:gd name="connsiteX38" fmla="*/ 39463 w 60958"/>
                <a:gd name="connsiteY38" fmla="*/ 42779 h 57013"/>
                <a:gd name="connsiteX39" fmla="*/ 37258 w 60958"/>
                <a:gd name="connsiteY39" fmla="*/ 38082 h 57013"/>
                <a:gd name="connsiteX40" fmla="*/ 35367 w 60958"/>
                <a:gd name="connsiteY40" fmla="*/ 31402 h 57013"/>
                <a:gd name="connsiteX41" fmla="*/ 33399 w 60958"/>
                <a:gd name="connsiteY41" fmla="*/ 24426 h 57013"/>
                <a:gd name="connsiteX42" fmla="*/ 31866 w 60958"/>
                <a:gd name="connsiteY42" fmla="*/ 22333 h 57013"/>
                <a:gd name="connsiteX43" fmla="*/ 25438 w 60958"/>
                <a:gd name="connsiteY43" fmla="*/ 19913 h 57013"/>
                <a:gd name="connsiteX44" fmla="*/ 23954 w 60958"/>
                <a:gd name="connsiteY44" fmla="*/ 17163 h 57013"/>
                <a:gd name="connsiteX45" fmla="*/ 18979 w 60958"/>
                <a:gd name="connsiteY45" fmla="*/ 13609 h 57013"/>
                <a:gd name="connsiteX46" fmla="*/ 12067 w 60958"/>
                <a:gd name="connsiteY46" fmla="*/ 12065 h 57013"/>
                <a:gd name="connsiteX47" fmla="*/ 10698 w 60958"/>
                <a:gd name="connsiteY47" fmla="*/ 11403 h 57013"/>
                <a:gd name="connsiteX48" fmla="*/ 4694 w 60958"/>
                <a:gd name="connsiteY48" fmla="*/ 6926 h 57013"/>
                <a:gd name="connsiteX49" fmla="*/ 0 w 60958"/>
                <a:gd name="connsiteY49" fmla="*/ 4037 h 57013"/>
                <a:gd name="connsiteX50" fmla="*/ 1004 w 60958"/>
                <a:gd name="connsiteY50" fmla="*/ 2287 h 57013"/>
                <a:gd name="connsiteX51" fmla="*/ 2350 w 60958"/>
                <a:gd name="connsiteY51" fmla="*/ 448 h 5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958" h="57013">
                  <a:moveTo>
                    <a:pt x="3801" y="0"/>
                  </a:moveTo>
                  <a:lnTo>
                    <a:pt x="8048" y="728"/>
                  </a:lnTo>
                  <a:lnTo>
                    <a:pt x="11954" y="1556"/>
                  </a:lnTo>
                  <a:lnTo>
                    <a:pt x="14809" y="967"/>
                  </a:lnTo>
                  <a:lnTo>
                    <a:pt x="18206" y="2420"/>
                  </a:lnTo>
                  <a:lnTo>
                    <a:pt x="21309" y="4085"/>
                  </a:lnTo>
                  <a:lnTo>
                    <a:pt x="24429" y="5258"/>
                  </a:lnTo>
                  <a:lnTo>
                    <a:pt x="30512" y="6362"/>
                  </a:lnTo>
                  <a:lnTo>
                    <a:pt x="32780" y="7896"/>
                  </a:lnTo>
                  <a:lnTo>
                    <a:pt x="35429" y="9429"/>
                  </a:lnTo>
                  <a:lnTo>
                    <a:pt x="45809" y="10211"/>
                  </a:lnTo>
                  <a:lnTo>
                    <a:pt x="46645" y="9970"/>
                  </a:lnTo>
                  <a:lnTo>
                    <a:pt x="47407" y="9749"/>
                  </a:lnTo>
                  <a:lnTo>
                    <a:pt x="50888" y="9192"/>
                  </a:lnTo>
                  <a:lnTo>
                    <a:pt x="53970" y="9296"/>
                  </a:lnTo>
                  <a:lnTo>
                    <a:pt x="57220" y="11151"/>
                  </a:lnTo>
                  <a:lnTo>
                    <a:pt x="59303" y="11044"/>
                  </a:lnTo>
                  <a:lnTo>
                    <a:pt x="60958" y="10835"/>
                  </a:lnTo>
                  <a:lnTo>
                    <a:pt x="60958" y="53093"/>
                  </a:lnTo>
                  <a:lnTo>
                    <a:pt x="59793" y="52960"/>
                  </a:lnTo>
                  <a:lnTo>
                    <a:pt x="58122" y="53143"/>
                  </a:lnTo>
                  <a:lnTo>
                    <a:pt x="57759" y="53358"/>
                  </a:lnTo>
                  <a:lnTo>
                    <a:pt x="57250" y="53660"/>
                  </a:lnTo>
                  <a:lnTo>
                    <a:pt x="55935" y="56017"/>
                  </a:lnTo>
                  <a:lnTo>
                    <a:pt x="55017" y="56816"/>
                  </a:lnTo>
                  <a:lnTo>
                    <a:pt x="52760" y="56442"/>
                  </a:lnTo>
                  <a:lnTo>
                    <a:pt x="50895" y="55887"/>
                  </a:lnTo>
                  <a:lnTo>
                    <a:pt x="49372" y="55577"/>
                  </a:lnTo>
                  <a:lnTo>
                    <a:pt x="46423" y="55383"/>
                  </a:lnTo>
                  <a:lnTo>
                    <a:pt x="43063" y="55341"/>
                  </a:lnTo>
                  <a:lnTo>
                    <a:pt x="40802" y="57013"/>
                  </a:lnTo>
                  <a:lnTo>
                    <a:pt x="39826" y="56798"/>
                  </a:lnTo>
                  <a:lnTo>
                    <a:pt x="38109" y="55977"/>
                  </a:lnTo>
                  <a:lnTo>
                    <a:pt x="35341" y="55298"/>
                  </a:lnTo>
                  <a:lnTo>
                    <a:pt x="33870" y="54765"/>
                  </a:lnTo>
                  <a:lnTo>
                    <a:pt x="38109" y="49793"/>
                  </a:lnTo>
                  <a:lnTo>
                    <a:pt x="39370" y="46834"/>
                  </a:lnTo>
                  <a:lnTo>
                    <a:pt x="39413" y="45038"/>
                  </a:lnTo>
                  <a:lnTo>
                    <a:pt x="39463" y="42779"/>
                  </a:lnTo>
                  <a:lnTo>
                    <a:pt x="37258" y="38082"/>
                  </a:lnTo>
                  <a:lnTo>
                    <a:pt x="35367" y="31402"/>
                  </a:lnTo>
                  <a:lnTo>
                    <a:pt x="33399" y="24426"/>
                  </a:lnTo>
                  <a:lnTo>
                    <a:pt x="31866" y="22333"/>
                  </a:lnTo>
                  <a:lnTo>
                    <a:pt x="25438" y="19913"/>
                  </a:lnTo>
                  <a:lnTo>
                    <a:pt x="23954" y="17163"/>
                  </a:lnTo>
                  <a:lnTo>
                    <a:pt x="18979" y="13609"/>
                  </a:lnTo>
                  <a:lnTo>
                    <a:pt x="12067" y="12065"/>
                  </a:lnTo>
                  <a:lnTo>
                    <a:pt x="10698" y="11403"/>
                  </a:lnTo>
                  <a:lnTo>
                    <a:pt x="4694" y="6926"/>
                  </a:lnTo>
                  <a:lnTo>
                    <a:pt x="0" y="4037"/>
                  </a:lnTo>
                  <a:lnTo>
                    <a:pt x="1004" y="2287"/>
                  </a:lnTo>
                  <a:lnTo>
                    <a:pt x="2350" y="4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6" name="ee4p_IQ_1_15912">
              <a:extLst>
                <a:ext uri="{FF2B5EF4-FFF2-40B4-BE49-F238E27FC236}">
                  <a16:creationId xmlns:a16="http://schemas.microsoft.com/office/drawing/2014/main" id="{C48C953F-E3D3-95B1-C098-043F401B244F}"/>
                </a:ext>
              </a:extLst>
            </p:cNvPr>
            <p:cNvSpPr>
              <a:spLocks noChangeAspect="1"/>
            </p:cNvSpPr>
            <p:nvPr>
              <p:custDataLst>
                <p:tags r:id="rId8"/>
              </p:custDataLst>
            </p:nvPr>
          </p:nvSpPr>
          <p:spPr>
            <a:xfrm>
              <a:off x="7372065" y="5887232"/>
              <a:ext cx="145701" cy="278618"/>
            </a:xfrm>
            <a:custGeom>
              <a:avLst/>
              <a:gdLst>
                <a:gd name="connsiteX0" fmla="*/ 36754 w 36754"/>
                <a:gd name="connsiteY0" fmla="*/ 0 h 70283"/>
                <a:gd name="connsiteX1" fmla="*/ 36754 w 36754"/>
                <a:gd name="connsiteY1" fmla="*/ 70283 h 70283"/>
                <a:gd name="connsiteX2" fmla="*/ 0 w 36754"/>
                <a:gd name="connsiteY2" fmla="*/ 70283 h 70283"/>
                <a:gd name="connsiteX3" fmla="*/ 577 w 36754"/>
                <a:gd name="connsiteY3" fmla="*/ 69218 h 70283"/>
                <a:gd name="connsiteX4" fmla="*/ 2693 w 36754"/>
                <a:gd name="connsiteY4" fmla="*/ 65303 h 70283"/>
                <a:gd name="connsiteX5" fmla="*/ 2793 w 36754"/>
                <a:gd name="connsiteY5" fmla="*/ 64394 h 70283"/>
                <a:gd name="connsiteX6" fmla="*/ 2801 w 36754"/>
                <a:gd name="connsiteY6" fmla="*/ 58836 h 70283"/>
                <a:gd name="connsiteX7" fmla="*/ 3173 w 36754"/>
                <a:gd name="connsiteY7" fmla="*/ 52298 h 70283"/>
                <a:gd name="connsiteX8" fmla="*/ 3879 w 36754"/>
                <a:gd name="connsiteY8" fmla="*/ 48799 h 70283"/>
                <a:gd name="connsiteX9" fmla="*/ 5095 w 36754"/>
                <a:gd name="connsiteY9" fmla="*/ 45704 h 70283"/>
                <a:gd name="connsiteX10" fmla="*/ 6218 w 36754"/>
                <a:gd name="connsiteY10" fmla="*/ 43445 h 70283"/>
                <a:gd name="connsiteX11" fmla="*/ 6334 w 36754"/>
                <a:gd name="connsiteY11" fmla="*/ 41327 h 70283"/>
                <a:gd name="connsiteX12" fmla="*/ 6185 w 36754"/>
                <a:gd name="connsiteY12" fmla="*/ 39177 h 70283"/>
                <a:gd name="connsiteX13" fmla="*/ 5025 w 36754"/>
                <a:gd name="connsiteY13" fmla="*/ 35925 h 70283"/>
                <a:gd name="connsiteX14" fmla="*/ 3818 w 36754"/>
                <a:gd name="connsiteY14" fmla="*/ 32532 h 70283"/>
                <a:gd name="connsiteX15" fmla="*/ 3954 w 36754"/>
                <a:gd name="connsiteY15" fmla="*/ 29257 h 70283"/>
                <a:gd name="connsiteX16" fmla="*/ 4177 w 36754"/>
                <a:gd name="connsiteY16" fmla="*/ 27503 h 70283"/>
                <a:gd name="connsiteX17" fmla="*/ 4933 w 36754"/>
                <a:gd name="connsiteY17" fmla="*/ 24697 h 70283"/>
                <a:gd name="connsiteX18" fmla="*/ 6219 w 36754"/>
                <a:gd name="connsiteY18" fmla="*/ 22645 h 70283"/>
                <a:gd name="connsiteX19" fmla="*/ 7604 w 36754"/>
                <a:gd name="connsiteY19" fmla="*/ 21373 h 70283"/>
                <a:gd name="connsiteX20" fmla="*/ 12765 w 36754"/>
                <a:gd name="connsiteY20" fmla="*/ 20061 h 70283"/>
                <a:gd name="connsiteX21" fmla="*/ 15825 w 36754"/>
                <a:gd name="connsiteY21" fmla="*/ 19281 h 70283"/>
                <a:gd name="connsiteX22" fmla="*/ 19925 w 36754"/>
                <a:gd name="connsiteY22" fmla="*/ 15638 h 70283"/>
                <a:gd name="connsiteX23" fmla="*/ 22357 w 36754"/>
                <a:gd name="connsiteY23" fmla="*/ 13474 h 70283"/>
                <a:gd name="connsiteX24" fmla="*/ 25747 w 36754"/>
                <a:gd name="connsiteY24" fmla="*/ 10042 h 70283"/>
                <a:gd name="connsiteX25" fmla="*/ 28241 w 36754"/>
                <a:gd name="connsiteY25" fmla="*/ 7512 h 70283"/>
                <a:gd name="connsiteX26" fmla="*/ 28440 w 36754"/>
                <a:gd name="connsiteY26" fmla="*/ 6636 h 70283"/>
                <a:gd name="connsiteX27" fmla="*/ 28438 w 36754"/>
                <a:gd name="connsiteY27" fmla="*/ 6290 h 70283"/>
                <a:gd name="connsiteX28" fmla="*/ 30580 w 36754"/>
                <a:gd name="connsiteY28" fmla="*/ 5778 h 70283"/>
                <a:gd name="connsiteX29" fmla="*/ 34551 w 36754"/>
                <a:gd name="connsiteY29" fmla="*/ 2708 h 7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754" h="70283">
                  <a:moveTo>
                    <a:pt x="36754" y="0"/>
                  </a:moveTo>
                  <a:lnTo>
                    <a:pt x="36754" y="70283"/>
                  </a:lnTo>
                  <a:lnTo>
                    <a:pt x="0" y="70283"/>
                  </a:lnTo>
                  <a:lnTo>
                    <a:pt x="577" y="69218"/>
                  </a:lnTo>
                  <a:lnTo>
                    <a:pt x="2693" y="65303"/>
                  </a:lnTo>
                  <a:lnTo>
                    <a:pt x="2793" y="64394"/>
                  </a:lnTo>
                  <a:lnTo>
                    <a:pt x="2801" y="58836"/>
                  </a:lnTo>
                  <a:lnTo>
                    <a:pt x="3173" y="52298"/>
                  </a:lnTo>
                  <a:lnTo>
                    <a:pt x="3879" y="48799"/>
                  </a:lnTo>
                  <a:lnTo>
                    <a:pt x="5095" y="45704"/>
                  </a:lnTo>
                  <a:lnTo>
                    <a:pt x="6218" y="43445"/>
                  </a:lnTo>
                  <a:lnTo>
                    <a:pt x="6334" y="41327"/>
                  </a:lnTo>
                  <a:lnTo>
                    <a:pt x="6185" y="39177"/>
                  </a:lnTo>
                  <a:lnTo>
                    <a:pt x="5025" y="35925"/>
                  </a:lnTo>
                  <a:lnTo>
                    <a:pt x="3818" y="32532"/>
                  </a:lnTo>
                  <a:lnTo>
                    <a:pt x="3954" y="29257"/>
                  </a:lnTo>
                  <a:lnTo>
                    <a:pt x="4177" y="27503"/>
                  </a:lnTo>
                  <a:lnTo>
                    <a:pt x="4933" y="24697"/>
                  </a:lnTo>
                  <a:lnTo>
                    <a:pt x="6219" y="22645"/>
                  </a:lnTo>
                  <a:lnTo>
                    <a:pt x="7604" y="21373"/>
                  </a:lnTo>
                  <a:lnTo>
                    <a:pt x="12765" y="20061"/>
                  </a:lnTo>
                  <a:lnTo>
                    <a:pt x="15825" y="19281"/>
                  </a:lnTo>
                  <a:lnTo>
                    <a:pt x="19925" y="15638"/>
                  </a:lnTo>
                  <a:lnTo>
                    <a:pt x="22357" y="13474"/>
                  </a:lnTo>
                  <a:lnTo>
                    <a:pt x="25747" y="10042"/>
                  </a:lnTo>
                  <a:lnTo>
                    <a:pt x="28241" y="7512"/>
                  </a:lnTo>
                  <a:lnTo>
                    <a:pt x="28440" y="6636"/>
                  </a:lnTo>
                  <a:lnTo>
                    <a:pt x="28438" y="6290"/>
                  </a:lnTo>
                  <a:lnTo>
                    <a:pt x="30580" y="5778"/>
                  </a:lnTo>
                  <a:lnTo>
                    <a:pt x="34551" y="270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9" name="ee4p_SY_1_15912">
              <a:extLst>
                <a:ext uri="{FF2B5EF4-FFF2-40B4-BE49-F238E27FC236}">
                  <a16:creationId xmlns:a16="http://schemas.microsoft.com/office/drawing/2014/main" id="{4B84CC01-09E6-37D5-84B9-2F15AD088370}"/>
                </a:ext>
              </a:extLst>
            </p:cNvPr>
            <p:cNvSpPr>
              <a:spLocks noChangeAspect="1"/>
            </p:cNvSpPr>
            <p:nvPr>
              <p:custDataLst>
                <p:tags r:id="rId9"/>
              </p:custDataLst>
            </p:nvPr>
          </p:nvSpPr>
          <p:spPr>
            <a:xfrm>
              <a:off x="6906731" y="5893115"/>
              <a:ext cx="578072" cy="272735"/>
            </a:xfrm>
            <a:custGeom>
              <a:avLst/>
              <a:gdLst>
                <a:gd name="connsiteX0" fmla="*/ 142365 w 145822"/>
                <a:gd name="connsiteY0" fmla="*/ 0 h 68799"/>
                <a:gd name="connsiteX1" fmla="*/ 143356 w 145822"/>
                <a:gd name="connsiteY1" fmla="*/ 384 h 68799"/>
                <a:gd name="connsiteX2" fmla="*/ 143820 w 145822"/>
                <a:gd name="connsiteY2" fmla="*/ 528 h 68799"/>
                <a:gd name="connsiteX3" fmla="*/ 144800 w 145822"/>
                <a:gd name="connsiteY3" fmla="*/ 1725 h 68799"/>
                <a:gd name="connsiteX4" fmla="*/ 145820 w 145822"/>
                <a:gd name="connsiteY4" fmla="*/ 4806 h 68799"/>
                <a:gd name="connsiteX5" fmla="*/ 145822 w 145822"/>
                <a:gd name="connsiteY5" fmla="*/ 5152 h 68799"/>
                <a:gd name="connsiteX6" fmla="*/ 145623 w 145822"/>
                <a:gd name="connsiteY6" fmla="*/ 6028 h 68799"/>
                <a:gd name="connsiteX7" fmla="*/ 143129 w 145822"/>
                <a:gd name="connsiteY7" fmla="*/ 8558 h 68799"/>
                <a:gd name="connsiteX8" fmla="*/ 139739 w 145822"/>
                <a:gd name="connsiteY8" fmla="*/ 11990 h 68799"/>
                <a:gd name="connsiteX9" fmla="*/ 137307 w 145822"/>
                <a:gd name="connsiteY9" fmla="*/ 14154 h 68799"/>
                <a:gd name="connsiteX10" fmla="*/ 133207 w 145822"/>
                <a:gd name="connsiteY10" fmla="*/ 17797 h 68799"/>
                <a:gd name="connsiteX11" fmla="*/ 130147 w 145822"/>
                <a:gd name="connsiteY11" fmla="*/ 18577 h 68799"/>
                <a:gd name="connsiteX12" fmla="*/ 124986 w 145822"/>
                <a:gd name="connsiteY12" fmla="*/ 19889 h 68799"/>
                <a:gd name="connsiteX13" fmla="*/ 123601 w 145822"/>
                <a:gd name="connsiteY13" fmla="*/ 21161 h 68799"/>
                <a:gd name="connsiteX14" fmla="*/ 122315 w 145822"/>
                <a:gd name="connsiteY14" fmla="*/ 23213 h 68799"/>
                <a:gd name="connsiteX15" fmla="*/ 121559 w 145822"/>
                <a:gd name="connsiteY15" fmla="*/ 26019 h 68799"/>
                <a:gd name="connsiteX16" fmla="*/ 121336 w 145822"/>
                <a:gd name="connsiteY16" fmla="*/ 27773 h 68799"/>
                <a:gd name="connsiteX17" fmla="*/ 121200 w 145822"/>
                <a:gd name="connsiteY17" fmla="*/ 31048 h 68799"/>
                <a:gd name="connsiteX18" fmla="*/ 122407 w 145822"/>
                <a:gd name="connsiteY18" fmla="*/ 34441 h 68799"/>
                <a:gd name="connsiteX19" fmla="*/ 123567 w 145822"/>
                <a:gd name="connsiteY19" fmla="*/ 37693 h 68799"/>
                <a:gd name="connsiteX20" fmla="*/ 123716 w 145822"/>
                <a:gd name="connsiteY20" fmla="*/ 39843 h 68799"/>
                <a:gd name="connsiteX21" fmla="*/ 123600 w 145822"/>
                <a:gd name="connsiteY21" fmla="*/ 41961 h 68799"/>
                <a:gd name="connsiteX22" fmla="*/ 122477 w 145822"/>
                <a:gd name="connsiteY22" fmla="*/ 44220 h 68799"/>
                <a:gd name="connsiteX23" fmla="*/ 121261 w 145822"/>
                <a:gd name="connsiteY23" fmla="*/ 47315 h 68799"/>
                <a:gd name="connsiteX24" fmla="*/ 120555 w 145822"/>
                <a:gd name="connsiteY24" fmla="*/ 50814 h 68799"/>
                <a:gd name="connsiteX25" fmla="*/ 120183 w 145822"/>
                <a:gd name="connsiteY25" fmla="*/ 57352 h 68799"/>
                <a:gd name="connsiteX26" fmla="*/ 120175 w 145822"/>
                <a:gd name="connsiteY26" fmla="*/ 62910 h 68799"/>
                <a:gd name="connsiteX27" fmla="*/ 120075 w 145822"/>
                <a:gd name="connsiteY27" fmla="*/ 63819 h 68799"/>
                <a:gd name="connsiteX28" fmla="*/ 117959 w 145822"/>
                <a:gd name="connsiteY28" fmla="*/ 67734 h 68799"/>
                <a:gd name="connsiteX29" fmla="*/ 117382 w 145822"/>
                <a:gd name="connsiteY29" fmla="*/ 68799 h 68799"/>
                <a:gd name="connsiteX30" fmla="*/ 13862 w 145822"/>
                <a:gd name="connsiteY30" fmla="*/ 68799 h 68799"/>
                <a:gd name="connsiteX31" fmla="*/ 14784 w 145822"/>
                <a:gd name="connsiteY31" fmla="*/ 67704 h 68799"/>
                <a:gd name="connsiteX32" fmla="*/ 13698 w 145822"/>
                <a:gd name="connsiteY32" fmla="*/ 66595 h 68799"/>
                <a:gd name="connsiteX33" fmla="*/ 11761 w 145822"/>
                <a:gd name="connsiteY33" fmla="*/ 66075 h 68799"/>
                <a:gd name="connsiteX34" fmla="*/ 11037 w 145822"/>
                <a:gd name="connsiteY34" fmla="*/ 67220 h 68799"/>
                <a:gd name="connsiteX35" fmla="*/ 8550 w 145822"/>
                <a:gd name="connsiteY35" fmla="*/ 67327 h 68799"/>
                <a:gd name="connsiteX36" fmla="*/ 4684 w 145822"/>
                <a:gd name="connsiteY36" fmla="*/ 67312 h 68799"/>
                <a:gd name="connsiteX37" fmla="*/ 2982 w 145822"/>
                <a:gd name="connsiteY37" fmla="*/ 61740 h 68799"/>
                <a:gd name="connsiteX38" fmla="*/ 2730 w 145822"/>
                <a:gd name="connsiteY38" fmla="*/ 59325 h 68799"/>
                <a:gd name="connsiteX39" fmla="*/ 2776 w 145822"/>
                <a:gd name="connsiteY39" fmla="*/ 56528 h 68799"/>
                <a:gd name="connsiteX40" fmla="*/ 3950 w 145822"/>
                <a:gd name="connsiteY40" fmla="*/ 52428 h 68799"/>
                <a:gd name="connsiteX41" fmla="*/ 3397 w 145822"/>
                <a:gd name="connsiteY41" fmla="*/ 50529 h 68799"/>
                <a:gd name="connsiteX42" fmla="*/ 3352 w 145822"/>
                <a:gd name="connsiteY42" fmla="*/ 49248 h 68799"/>
                <a:gd name="connsiteX43" fmla="*/ 3052 w 145822"/>
                <a:gd name="connsiteY43" fmla="*/ 47486 h 68799"/>
                <a:gd name="connsiteX44" fmla="*/ 0 w 145822"/>
                <a:gd name="connsiteY44" fmla="*/ 43693 h 68799"/>
                <a:gd name="connsiteX45" fmla="*/ 1663 w 145822"/>
                <a:gd name="connsiteY45" fmla="*/ 36703 h 68799"/>
                <a:gd name="connsiteX46" fmla="*/ 2836 w 145822"/>
                <a:gd name="connsiteY46" fmla="*/ 35006 h 68799"/>
                <a:gd name="connsiteX47" fmla="*/ 4492 w 145822"/>
                <a:gd name="connsiteY47" fmla="*/ 35170 h 68799"/>
                <a:gd name="connsiteX48" fmla="*/ 8025 w 145822"/>
                <a:gd name="connsiteY48" fmla="*/ 37151 h 68799"/>
                <a:gd name="connsiteX49" fmla="*/ 8606 w 145822"/>
                <a:gd name="connsiteY49" fmla="*/ 37090 h 68799"/>
                <a:gd name="connsiteX50" fmla="*/ 9675 w 145822"/>
                <a:gd name="connsiteY50" fmla="*/ 34476 h 68799"/>
                <a:gd name="connsiteX51" fmla="*/ 10711 w 145822"/>
                <a:gd name="connsiteY51" fmla="*/ 33589 h 68799"/>
                <a:gd name="connsiteX52" fmla="*/ 12894 w 145822"/>
                <a:gd name="connsiteY52" fmla="*/ 32812 h 68799"/>
                <a:gd name="connsiteX53" fmla="*/ 13510 w 145822"/>
                <a:gd name="connsiteY53" fmla="*/ 28577 h 68799"/>
                <a:gd name="connsiteX54" fmla="*/ 14529 w 145822"/>
                <a:gd name="connsiteY54" fmla="*/ 27763 h 68799"/>
                <a:gd name="connsiteX55" fmla="*/ 15758 w 145822"/>
                <a:gd name="connsiteY55" fmla="*/ 27327 h 68799"/>
                <a:gd name="connsiteX56" fmla="*/ 17645 w 145822"/>
                <a:gd name="connsiteY56" fmla="*/ 27245 h 68799"/>
                <a:gd name="connsiteX57" fmla="*/ 19288 w 145822"/>
                <a:gd name="connsiteY57" fmla="*/ 26991 h 68799"/>
                <a:gd name="connsiteX58" fmla="*/ 19392 w 145822"/>
                <a:gd name="connsiteY58" fmla="*/ 26244 h 68799"/>
                <a:gd name="connsiteX59" fmla="*/ 17094 w 145822"/>
                <a:gd name="connsiteY59" fmla="*/ 21338 h 68799"/>
                <a:gd name="connsiteX60" fmla="*/ 17297 w 145822"/>
                <a:gd name="connsiteY60" fmla="*/ 20099 h 68799"/>
                <a:gd name="connsiteX61" fmla="*/ 18407 w 145822"/>
                <a:gd name="connsiteY61" fmla="*/ 15155 h 68799"/>
                <a:gd name="connsiteX62" fmla="*/ 19105 w 145822"/>
                <a:gd name="connsiteY62" fmla="*/ 13218 h 68799"/>
                <a:gd name="connsiteX63" fmla="*/ 19772 w 145822"/>
                <a:gd name="connsiteY63" fmla="*/ 12587 h 68799"/>
                <a:gd name="connsiteX64" fmla="*/ 22381 w 145822"/>
                <a:gd name="connsiteY64" fmla="*/ 12837 h 68799"/>
                <a:gd name="connsiteX65" fmla="*/ 26034 w 145822"/>
                <a:gd name="connsiteY65" fmla="*/ 13707 h 68799"/>
                <a:gd name="connsiteX66" fmla="*/ 26997 w 145822"/>
                <a:gd name="connsiteY66" fmla="*/ 15129 h 68799"/>
                <a:gd name="connsiteX67" fmla="*/ 28785 w 145822"/>
                <a:gd name="connsiteY67" fmla="*/ 16391 h 68799"/>
                <a:gd name="connsiteX68" fmla="*/ 31465 w 145822"/>
                <a:gd name="connsiteY68" fmla="*/ 16308 h 68799"/>
                <a:gd name="connsiteX69" fmla="*/ 34553 w 145822"/>
                <a:gd name="connsiteY69" fmla="*/ 16544 h 68799"/>
                <a:gd name="connsiteX70" fmla="*/ 36969 w 145822"/>
                <a:gd name="connsiteY70" fmla="*/ 16627 h 68799"/>
                <a:gd name="connsiteX71" fmla="*/ 38898 w 145822"/>
                <a:gd name="connsiteY71" fmla="*/ 15739 h 68799"/>
                <a:gd name="connsiteX72" fmla="*/ 43249 w 145822"/>
                <a:gd name="connsiteY72" fmla="*/ 14081 h 68799"/>
                <a:gd name="connsiteX73" fmla="*/ 45408 w 145822"/>
                <a:gd name="connsiteY73" fmla="*/ 13525 h 68799"/>
                <a:gd name="connsiteX74" fmla="*/ 47369 w 145822"/>
                <a:gd name="connsiteY74" fmla="*/ 12788 h 68799"/>
                <a:gd name="connsiteX75" fmla="*/ 53672 w 145822"/>
                <a:gd name="connsiteY75" fmla="*/ 10071 h 68799"/>
                <a:gd name="connsiteX76" fmla="*/ 56196 w 145822"/>
                <a:gd name="connsiteY76" fmla="*/ 10280 h 68799"/>
                <a:gd name="connsiteX77" fmla="*/ 57924 w 145822"/>
                <a:gd name="connsiteY77" fmla="*/ 10638 h 68799"/>
                <a:gd name="connsiteX78" fmla="*/ 59245 w 145822"/>
                <a:gd name="connsiteY78" fmla="*/ 11070 h 68799"/>
                <a:gd name="connsiteX79" fmla="*/ 62215 w 145822"/>
                <a:gd name="connsiteY79" fmla="*/ 12928 h 68799"/>
                <a:gd name="connsiteX80" fmla="*/ 64666 w 145822"/>
                <a:gd name="connsiteY80" fmla="*/ 14806 h 68799"/>
                <a:gd name="connsiteX81" fmla="*/ 66384 w 145822"/>
                <a:gd name="connsiteY81" fmla="*/ 15364 h 68799"/>
                <a:gd name="connsiteX82" fmla="*/ 69476 w 145822"/>
                <a:gd name="connsiteY82" fmla="*/ 15324 h 68799"/>
                <a:gd name="connsiteX83" fmla="*/ 73942 w 145822"/>
                <a:gd name="connsiteY83" fmla="*/ 15682 h 68799"/>
                <a:gd name="connsiteX84" fmla="*/ 79431 w 145822"/>
                <a:gd name="connsiteY84" fmla="*/ 15656 h 68799"/>
                <a:gd name="connsiteX85" fmla="*/ 82634 w 145822"/>
                <a:gd name="connsiteY85" fmla="*/ 15132 h 68799"/>
                <a:gd name="connsiteX86" fmla="*/ 86726 w 145822"/>
                <a:gd name="connsiteY86" fmla="*/ 14209 h 68799"/>
                <a:gd name="connsiteX87" fmla="*/ 94020 w 145822"/>
                <a:gd name="connsiteY87" fmla="*/ 11989 h 68799"/>
                <a:gd name="connsiteX88" fmla="*/ 103616 w 145822"/>
                <a:gd name="connsiteY88" fmla="*/ 7343 h 68799"/>
                <a:gd name="connsiteX89" fmla="*/ 109261 w 145822"/>
                <a:gd name="connsiteY89" fmla="*/ 5083 h 68799"/>
                <a:gd name="connsiteX90" fmla="*/ 111693 w 145822"/>
                <a:gd name="connsiteY90" fmla="*/ 4818 h 68799"/>
                <a:gd name="connsiteX91" fmla="*/ 114861 w 145822"/>
                <a:gd name="connsiteY91" fmla="*/ 4792 h 68799"/>
                <a:gd name="connsiteX92" fmla="*/ 118028 w 145822"/>
                <a:gd name="connsiteY92" fmla="*/ 5384 h 68799"/>
                <a:gd name="connsiteX93" fmla="*/ 121621 w 145822"/>
                <a:gd name="connsiteY93" fmla="*/ 5805 h 68799"/>
                <a:gd name="connsiteX94" fmla="*/ 123278 w 145822"/>
                <a:gd name="connsiteY94" fmla="*/ 5768 h 68799"/>
                <a:gd name="connsiteX95" fmla="*/ 127169 w 145822"/>
                <a:gd name="connsiteY95" fmla="*/ 5301 h 68799"/>
                <a:gd name="connsiteX96" fmla="*/ 132211 w 145822"/>
                <a:gd name="connsiteY96" fmla="*/ 4360 h 68799"/>
                <a:gd name="connsiteX97" fmla="*/ 135379 w 145822"/>
                <a:gd name="connsiteY97" fmla="*/ 3589 h 68799"/>
                <a:gd name="connsiteX98" fmla="*/ 139205 w 145822"/>
                <a:gd name="connsiteY98" fmla="*/ 2325 h 68799"/>
                <a:gd name="connsiteX99" fmla="*/ 141594 w 145822"/>
                <a:gd name="connsiteY99" fmla="*/ 221 h 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45822" h="68799">
                  <a:moveTo>
                    <a:pt x="142365" y="0"/>
                  </a:moveTo>
                  <a:lnTo>
                    <a:pt x="143356" y="384"/>
                  </a:lnTo>
                  <a:lnTo>
                    <a:pt x="143820" y="528"/>
                  </a:lnTo>
                  <a:lnTo>
                    <a:pt x="144800" y="1725"/>
                  </a:lnTo>
                  <a:lnTo>
                    <a:pt x="145820" y="4806"/>
                  </a:lnTo>
                  <a:lnTo>
                    <a:pt x="145822" y="5152"/>
                  </a:lnTo>
                  <a:lnTo>
                    <a:pt x="145623" y="6028"/>
                  </a:lnTo>
                  <a:lnTo>
                    <a:pt x="143129" y="8558"/>
                  </a:lnTo>
                  <a:lnTo>
                    <a:pt x="139739" y="11990"/>
                  </a:lnTo>
                  <a:lnTo>
                    <a:pt x="137307" y="14154"/>
                  </a:lnTo>
                  <a:lnTo>
                    <a:pt x="133207" y="17797"/>
                  </a:lnTo>
                  <a:lnTo>
                    <a:pt x="130147" y="18577"/>
                  </a:lnTo>
                  <a:lnTo>
                    <a:pt x="124986" y="19889"/>
                  </a:lnTo>
                  <a:lnTo>
                    <a:pt x="123601" y="21161"/>
                  </a:lnTo>
                  <a:lnTo>
                    <a:pt x="122315" y="23213"/>
                  </a:lnTo>
                  <a:lnTo>
                    <a:pt x="121559" y="26019"/>
                  </a:lnTo>
                  <a:lnTo>
                    <a:pt x="121336" y="27773"/>
                  </a:lnTo>
                  <a:lnTo>
                    <a:pt x="121200" y="31048"/>
                  </a:lnTo>
                  <a:lnTo>
                    <a:pt x="122407" y="34441"/>
                  </a:lnTo>
                  <a:lnTo>
                    <a:pt x="123567" y="37693"/>
                  </a:lnTo>
                  <a:lnTo>
                    <a:pt x="123716" y="39843"/>
                  </a:lnTo>
                  <a:lnTo>
                    <a:pt x="123600" y="41961"/>
                  </a:lnTo>
                  <a:lnTo>
                    <a:pt x="122477" y="44220"/>
                  </a:lnTo>
                  <a:lnTo>
                    <a:pt x="121261" y="47315"/>
                  </a:lnTo>
                  <a:lnTo>
                    <a:pt x="120555" y="50814"/>
                  </a:lnTo>
                  <a:lnTo>
                    <a:pt x="120183" y="57352"/>
                  </a:lnTo>
                  <a:lnTo>
                    <a:pt x="120175" y="62910"/>
                  </a:lnTo>
                  <a:lnTo>
                    <a:pt x="120075" y="63819"/>
                  </a:lnTo>
                  <a:lnTo>
                    <a:pt x="117959" y="67734"/>
                  </a:lnTo>
                  <a:lnTo>
                    <a:pt x="117382" y="68799"/>
                  </a:lnTo>
                  <a:lnTo>
                    <a:pt x="13862" y="68799"/>
                  </a:lnTo>
                  <a:lnTo>
                    <a:pt x="14784" y="67704"/>
                  </a:lnTo>
                  <a:lnTo>
                    <a:pt x="13698" y="66595"/>
                  </a:lnTo>
                  <a:lnTo>
                    <a:pt x="11761" y="66075"/>
                  </a:lnTo>
                  <a:lnTo>
                    <a:pt x="11037" y="67220"/>
                  </a:lnTo>
                  <a:lnTo>
                    <a:pt x="8550" y="67327"/>
                  </a:lnTo>
                  <a:lnTo>
                    <a:pt x="4684" y="67312"/>
                  </a:lnTo>
                  <a:lnTo>
                    <a:pt x="2982" y="61740"/>
                  </a:lnTo>
                  <a:lnTo>
                    <a:pt x="2730" y="59325"/>
                  </a:lnTo>
                  <a:lnTo>
                    <a:pt x="2776" y="56528"/>
                  </a:lnTo>
                  <a:lnTo>
                    <a:pt x="3950" y="52428"/>
                  </a:lnTo>
                  <a:lnTo>
                    <a:pt x="3397" y="50529"/>
                  </a:lnTo>
                  <a:lnTo>
                    <a:pt x="3352" y="49248"/>
                  </a:lnTo>
                  <a:lnTo>
                    <a:pt x="3052" y="47486"/>
                  </a:lnTo>
                  <a:lnTo>
                    <a:pt x="0" y="43693"/>
                  </a:lnTo>
                  <a:lnTo>
                    <a:pt x="1663" y="36703"/>
                  </a:lnTo>
                  <a:lnTo>
                    <a:pt x="2836" y="35006"/>
                  </a:lnTo>
                  <a:lnTo>
                    <a:pt x="4492" y="35170"/>
                  </a:lnTo>
                  <a:lnTo>
                    <a:pt x="8025" y="37151"/>
                  </a:lnTo>
                  <a:lnTo>
                    <a:pt x="8606" y="37090"/>
                  </a:lnTo>
                  <a:lnTo>
                    <a:pt x="9675" y="34476"/>
                  </a:lnTo>
                  <a:lnTo>
                    <a:pt x="10711" y="33589"/>
                  </a:lnTo>
                  <a:lnTo>
                    <a:pt x="12894" y="32812"/>
                  </a:lnTo>
                  <a:lnTo>
                    <a:pt x="13510" y="28577"/>
                  </a:lnTo>
                  <a:lnTo>
                    <a:pt x="14529" y="27763"/>
                  </a:lnTo>
                  <a:lnTo>
                    <a:pt x="15758" y="27327"/>
                  </a:lnTo>
                  <a:lnTo>
                    <a:pt x="17645" y="27245"/>
                  </a:lnTo>
                  <a:lnTo>
                    <a:pt x="19288" y="26991"/>
                  </a:lnTo>
                  <a:lnTo>
                    <a:pt x="19392" y="26244"/>
                  </a:lnTo>
                  <a:lnTo>
                    <a:pt x="17094" y="21338"/>
                  </a:lnTo>
                  <a:lnTo>
                    <a:pt x="17297" y="20099"/>
                  </a:lnTo>
                  <a:lnTo>
                    <a:pt x="18407" y="15155"/>
                  </a:lnTo>
                  <a:lnTo>
                    <a:pt x="19105" y="13218"/>
                  </a:lnTo>
                  <a:lnTo>
                    <a:pt x="19772" y="12587"/>
                  </a:lnTo>
                  <a:lnTo>
                    <a:pt x="22381" y="12837"/>
                  </a:lnTo>
                  <a:lnTo>
                    <a:pt x="26034" y="13707"/>
                  </a:lnTo>
                  <a:lnTo>
                    <a:pt x="26997" y="15129"/>
                  </a:lnTo>
                  <a:lnTo>
                    <a:pt x="28785" y="16391"/>
                  </a:lnTo>
                  <a:lnTo>
                    <a:pt x="31465" y="16308"/>
                  </a:lnTo>
                  <a:lnTo>
                    <a:pt x="34553" y="16544"/>
                  </a:lnTo>
                  <a:lnTo>
                    <a:pt x="36969" y="16627"/>
                  </a:lnTo>
                  <a:lnTo>
                    <a:pt x="38898" y="15739"/>
                  </a:lnTo>
                  <a:lnTo>
                    <a:pt x="43249" y="14081"/>
                  </a:lnTo>
                  <a:lnTo>
                    <a:pt x="45408" y="13525"/>
                  </a:lnTo>
                  <a:lnTo>
                    <a:pt x="47369" y="12788"/>
                  </a:lnTo>
                  <a:lnTo>
                    <a:pt x="53672" y="10071"/>
                  </a:lnTo>
                  <a:lnTo>
                    <a:pt x="56196" y="10280"/>
                  </a:lnTo>
                  <a:lnTo>
                    <a:pt x="57924" y="10638"/>
                  </a:lnTo>
                  <a:lnTo>
                    <a:pt x="59245" y="11070"/>
                  </a:lnTo>
                  <a:lnTo>
                    <a:pt x="62215" y="12928"/>
                  </a:lnTo>
                  <a:lnTo>
                    <a:pt x="64666" y="14806"/>
                  </a:lnTo>
                  <a:lnTo>
                    <a:pt x="66384" y="15364"/>
                  </a:lnTo>
                  <a:lnTo>
                    <a:pt x="69476" y="15324"/>
                  </a:lnTo>
                  <a:lnTo>
                    <a:pt x="73942" y="15682"/>
                  </a:lnTo>
                  <a:lnTo>
                    <a:pt x="79431" y="15656"/>
                  </a:lnTo>
                  <a:lnTo>
                    <a:pt x="82634" y="15132"/>
                  </a:lnTo>
                  <a:lnTo>
                    <a:pt x="86726" y="14209"/>
                  </a:lnTo>
                  <a:lnTo>
                    <a:pt x="94020" y="11989"/>
                  </a:lnTo>
                  <a:lnTo>
                    <a:pt x="103616" y="7343"/>
                  </a:lnTo>
                  <a:lnTo>
                    <a:pt x="109261" y="5083"/>
                  </a:lnTo>
                  <a:lnTo>
                    <a:pt x="111693" y="4818"/>
                  </a:lnTo>
                  <a:lnTo>
                    <a:pt x="114861" y="4792"/>
                  </a:lnTo>
                  <a:lnTo>
                    <a:pt x="118028" y="5384"/>
                  </a:lnTo>
                  <a:lnTo>
                    <a:pt x="121621" y="5805"/>
                  </a:lnTo>
                  <a:lnTo>
                    <a:pt x="123278" y="5768"/>
                  </a:lnTo>
                  <a:lnTo>
                    <a:pt x="127169" y="5301"/>
                  </a:lnTo>
                  <a:lnTo>
                    <a:pt x="132211" y="4360"/>
                  </a:lnTo>
                  <a:lnTo>
                    <a:pt x="135379" y="3589"/>
                  </a:lnTo>
                  <a:lnTo>
                    <a:pt x="139205" y="2325"/>
                  </a:lnTo>
                  <a:lnTo>
                    <a:pt x="141594" y="22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0" name="ee4p_TR_1_15912">
              <a:extLst>
                <a:ext uri="{FF2B5EF4-FFF2-40B4-BE49-F238E27FC236}">
                  <a16:creationId xmlns:a16="http://schemas.microsoft.com/office/drawing/2014/main" id="{0D586ECE-6CA6-9B7F-18AF-1D4C142118AA}"/>
                </a:ext>
              </a:extLst>
            </p:cNvPr>
            <p:cNvSpPr>
              <a:spLocks noChangeAspect="1"/>
            </p:cNvSpPr>
            <p:nvPr>
              <p:custDataLst>
                <p:tags r:id="rId10"/>
              </p:custDataLst>
            </p:nvPr>
          </p:nvSpPr>
          <p:spPr>
            <a:xfrm>
              <a:off x="6021788" y="5398526"/>
              <a:ext cx="1495974" cy="641860"/>
            </a:xfrm>
            <a:custGeom>
              <a:avLst/>
              <a:gdLst>
                <a:gd name="connsiteX0" fmla="*/ 5515 w 377368"/>
                <a:gd name="connsiteY0" fmla="*/ 48881 h 161913"/>
                <a:gd name="connsiteX1" fmla="*/ 6812 w 377368"/>
                <a:gd name="connsiteY1" fmla="*/ 50453 h 161913"/>
                <a:gd name="connsiteX2" fmla="*/ 6657 w 377368"/>
                <a:gd name="connsiteY2" fmla="*/ 51536 h 161913"/>
                <a:gd name="connsiteX3" fmla="*/ 1576 w 377368"/>
                <a:gd name="connsiteY3" fmla="*/ 52342 h 161913"/>
                <a:gd name="connsiteX4" fmla="*/ 0 w 377368"/>
                <a:gd name="connsiteY4" fmla="*/ 51547 h 161913"/>
                <a:gd name="connsiteX5" fmla="*/ 1591 w 377368"/>
                <a:gd name="connsiteY5" fmla="*/ 49970 h 161913"/>
                <a:gd name="connsiteX6" fmla="*/ 4552 w 377368"/>
                <a:gd name="connsiteY6" fmla="*/ 48993 h 161913"/>
                <a:gd name="connsiteX7" fmla="*/ 206472 w 377368"/>
                <a:gd name="connsiteY7" fmla="*/ 797 h 161913"/>
                <a:gd name="connsiteX8" fmla="*/ 209754 w 377368"/>
                <a:gd name="connsiteY8" fmla="*/ 1746 h 161913"/>
                <a:gd name="connsiteX9" fmla="*/ 209447 w 377368"/>
                <a:gd name="connsiteY9" fmla="*/ 2756 h 161913"/>
                <a:gd name="connsiteX10" fmla="*/ 208851 w 377368"/>
                <a:gd name="connsiteY10" fmla="*/ 3619 h 161913"/>
                <a:gd name="connsiteX11" fmla="*/ 209028 w 377368"/>
                <a:gd name="connsiteY11" fmla="*/ 5367 h 161913"/>
                <a:gd name="connsiteX12" fmla="*/ 210954 w 377368"/>
                <a:gd name="connsiteY12" fmla="*/ 7931 h 161913"/>
                <a:gd name="connsiteX13" fmla="*/ 212913 w 377368"/>
                <a:gd name="connsiteY13" fmla="*/ 9676 h 161913"/>
                <a:gd name="connsiteX14" fmla="*/ 218668 w 377368"/>
                <a:gd name="connsiteY14" fmla="*/ 12177 h 161913"/>
                <a:gd name="connsiteX15" fmla="*/ 226668 w 377368"/>
                <a:gd name="connsiteY15" fmla="*/ 10067 h 161913"/>
                <a:gd name="connsiteX16" fmla="*/ 227957 w 377368"/>
                <a:gd name="connsiteY16" fmla="*/ 10303 h 161913"/>
                <a:gd name="connsiteX17" fmla="*/ 229586 w 377368"/>
                <a:gd name="connsiteY17" fmla="*/ 10892 h 161913"/>
                <a:gd name="connsiteX18" fmla="*/ 232403 w 377368"/>
                <a:gd name="connsiteY18" fmla="*/ 17660 h 161913"/>
                <a:gd name="connsiteX19" fmla="*/ 234597 w 377368"/>
                <a:gd name="connsiteY19" fmla="*/ 20048 h 161913"/>
                <a:gd name="connsiteX20" fmla="*/ 237404 w 377368"/>
                <a:gd name="connsiteY20" fmla="*/ 21671 h 161913"/>
                <a:gd name="connsiteX21" fmla="*/ 239711 w 377368"/>
                <a:gd name="connsiteY21" fmla="*/ 21990 h 161913"/>
                <a:gd name="connsiteX22" fmla="*/ 241423 w 377368"/>
                <a:gd name="connsiteY22" fmla="*/ 20297 h 161913"/>
                <a:gd name="connsiteX23" fmla="*/ 242749 w 377368"/>
                <a:gd name="connsiteY23" fmla="*/ 19615 h 161913"/>
                <a:gd name="connsiteX24" fmla="*/ 245638 w 377368"/>
                <a:gd name="connsiteY24" fmla="*/ 19326 h 161913"/>
                <a:gd name="connsiteX25" fmla="*/ 250376 w 377368"/>
                <a:gd name="connsiteY25" fmla="*/ 21650 h 161913"/>
                <a:gd name="connsiteX26" fmla="*/ 252017 w 377368"/>
                <a:gd name="connsiteY26" fmla="*/ 24048 h 161913"/>
                <a:gd name="connsiteX27" fmla="*/ 260083 w 377368"/>
                <a:gd name="connsiteY27" fmla="*/ 25900 h 161913"/>
                <a:gd name="connsiteX28" fmla="*/ 267483 w 377368"/>
                <a:gd name="connsiteY28" fmla="*/ 26827 h 161913"/>
                <a:gd name="connsiteX29" fmla="*/ 270676 w 377368"/>
                <a:gd name="connsiteY29" fmla="*/ 28854 h 161913"/>
                <a:gd name="connsiteX30" fmla="*/ 281091 w 377368"/>
                <a:gd name="connsiteY30" fmla="*/ 30889 h 161913"/>
                <a:gd name="connsiteX31" fmla="*/ 284980 w 377368"/>
                <a:gd name="connsiteY31" fmla="*/ 30573 h 161913"/>
                <a:gd name="connsiteX32" fmla="*/ 291508 w 377368"/>
                <a:gd name="connsiteY32" fmla="*/ 28438 h 161913"/>
                <a:gd name="connsiteX33" fmla="*/ 304205 w 377368"/>
                <a:gd name="connsiteY33" fmla="*/ 26102 h 161913"/>
                <a:gd name="connsiteX34" fmla="*/ 312642 w 377368"/>
                <a:gd name="connsiteY34" fmla="*/ 29363 h 161913"/>
                <a:gd name="connsiteX35" fmla="*/ 314924 w 377368"/>
                <a:gd name="connsiteY35" fmla="*/ 29786 h 161913"/>
                <a:gd name="connsiteX36" fmla="*/ 316894 w 377368"/>
                <a:gd name="connsiteY36" fmla="*/ 29505 h 161913"/>
                <a:gd name="connsiteX37" fmla="*/ 319729 w 377368"/>
                <a:gd name="connsiteY37" fmla="*/ 30402 h 161913"/>
                <a:gd name="connsiteX38" fmla="*/ 322754 w 377368"/>
                <a:gd name="connsiteY38" fmla="*/ 29920 h 161913"/>
                <a:gd name="connsiteX39" fmla="*/ 332091 w 377368"/>
                <a:gd name="connsiteY39" fmla="*/ 26076 h 161913"/>
                <a:gd name="connsiteX40" fmla="*/ 335011 w 377368"/>
                <a:gd name="connsiteY40" fmla="*/ 23895 h 161913"/>
                <a:gd name="connsiteX41" fmla="*/ 338105 w 377368"/>
                <a:gd name="connsiteY41" fmla="*/ 23331 h 161913"/>
                <a:gd name="connsiteX42" fmla="*/ 340850 w 377368"/>
                <a:gd name="connsiteY42" fmla="*/ 22024 h 161913"/>
                <a:gd name="connsiteX43" fmla="*/ 348164 w 377368"/>
                <a:gd name="connsiteY43" fmla="*/ 17738 h 161913"/>
                <a:gd name="connsiteX44" fmla="*/ 350280 w 377368"/>
                <a:gd name="connsiteY44" fmla="*/ 15259 h 161913"/>
                <a:gd name="connsiteX45" fmla="*/ 351751 w 377368"/>
                <a:gd name="connsiteY45" fmla="*/ 15792 h 161913"/>
                <a:gd name="connsiteX46" fmla="*/ 354519 w 377368"/>
                <a:gd name="connsiteY46" fmla="*/ 16471 h 161913"/>
                <a:gd name="connsiteX47" fmla="*/ 356236 w 377368"/>
                <a:gd name="connsiteY47" fmla="*/ 17292 h 161913"/>
                <a:gd name="connsiteX48" fmla="*/ 357212 w 377368"/>
                <a:gd name="connsiteY48" fmla="*/ 17507 h 161913"/>
                <a:gd name="connsiteX49" fmla="*/ 359473 w 377368"/>
                <a:gd name="connsiteY49" fmla="*/ 15835 h 161913"/>
                <a:gd name="connsiteX50" fmla="*/ 362833 w 377368"/>
                <a:gd name="connsiteY50" fmla="*/ 15877 h 161913"/>
                <a:gd name="connsiteX51" fmla="*/ 365782 w 377368"/>
                <a:gd name="connsiteY51" fmla="*/ 16071 h 161913"/>
                <a:gd name="connsiteX52" fmla="*/ 367305 w 377368"/>
                <a:gd name="connsiteY52" fmla="*/ 16381 h 161913"/>
                <a:gd name="connsiteX53" fmla="*/ 369170 w 377368"/>
                <a:gd name="connsiteY53" fmla="*/ 16936 h 161913"/>
                <a:gd name="connsiteX54" fmla="*/ 371427 w 377368"/>
                <a:gd name="connsiteY54" fmla="*/ 17310 h 161913"/>
                <a:gd name="connsiteX55" fmla="*/ 372345 w 377368"/>
                <a:gd name="connsiteY55" fmla="*/ 16511 h 161913"/>
                <a:gd name="connsiteX56" fmla="*/ 373660 w 377368"/>
                <a:gd name="connsiteY56" fmla="*/ 14154 h 161913"/>
                <a:gd name="connsiteX57" fmla="*/ 374169 w 377368"/>
                <a:gd name="connsiteY57" fmla="*/ 13852 h 161913"/>
                <a:gd name="connsiteX58" fmla="*/ 374532 w 377368"/>
                <a:gd name="connsiteY58" fmla="*/ 13637 h 161913"/>
                <a:gd name="connsiteX59" fmla="*/ 376203 w 377368"/>
                <a:gd name="connsiteY59" fmla="*/ 13454 h 161913"/>
                <a:gd name="connsiteX60" fmla="*/ 377368 w 377368"/>
                <a:gd name="connsiteY60" fmla="*/ 13587 h 161913"/>
                <a:gd name="connsiteX61" fmla="*/ 377368 w 377368"/>
                <a:gd name="connsiteY61" fmla="*/ 123278 h 161913"/>
                <a:gd name="connsiteX62" fmla="*/ 375165 w 377368"/>
                <a:gd name="connsiteY62" fmla="*/ 125986 h 161913"/>
                <a:gd name="connsiteX63" fmla="*/ 371194 w 377368"/>
                <a:gd name="connsiteY63" fmla="*/ 129056 h 161913"/>
                <a:gd name="connsiteX64" fmla="*/ 369052 w 377368"/>
                <a:gd name="connsiteY64" fmla="*/ 129568 h 161913"/>
                <a:gd name="connsiteX65" fmla="*/ 368032 w 377368"/>
                <a:gd name="connsiteY65" fmla="*/ 126487 h 161913"/>
                <a:gd name="connsiteX66" fmla="*/ 367052 w 377368"/>
                <a:gd name="connsiteY66" fmla="*/ 125290 h 161913"/>
                <a:gd name="connsiteX67" fmla="*/ 366588 w 377368"/>
                <a:gd name="connsiteY67" fmla="*/ 125146 h 161913"/>
                <a:gd name="connsiteX68" fmla="*/ 365597 w 377368"/>
                <a:gd name="connsiteY68" fmla="*/ 124762 h 161913"/>
                <a:gd name="connsiteX69" fmla="*/ 364826 w 377368"/>
                <a:gd name="connsiteY69" fmla="*/ 124983 h 161913"/>
                <a:gd name="connsiteX70" fmla="*/ 362437 w 377368"/>
                <a:gd name="connsiteY70" fmla="*/ 127087 h 161913"/>
                <a:gd name="connsiteX71" fmla="*/ 358611 w 377368"/>
                <a:gd name="connsiteY71" fmla="*/ 128351 h 161913"/>
                <a:gd name="connsiteX72" fmla="*/ 355443 w 377368"/>
                <a:gd name="connsiteY72" fmla="*/ 129122 h 161913"/>
                <a:gd name="connsiteX73" fmla="*/ 350401 w 377368"/>
                <a:gd name="connsiteY73" fmla="*/ 130063 h 161913"/>
                <a:gd name="connsiteX74" fmla="*/ 346510 w 377368"/>
                <a:gd name="connsiteY74" fmla="*/ 130530 h 161913"/>
                <a:gd name="connsiteX75" fmla="*/ 344853 w 377368"/>
                <a:gd name="connsiteY75" fmla="*/ 130567 h 161913"/>
                <a:gd name="connsiteX76" fmla="*/ 341260 w 377368"/>
                <a:gd name="connsiteY76" fmla="*/ 130146 h 161913"/>
                <a:gd name="connsiteX77" fmla="*/ 338093 w 377368"/>
                <a:gd name="connsiteY77" fmla="*/ 129554 h 161913"/>
                <a:gd name="connsiteX78" fmla="*/ 334925 w 377368"/>
                <a:gd name="connsiteY78" fmla="*/ 129580 h 161913"/>
                <a:gd name="connsiteX79" fmla="*/ 332493 w 377368"/>
                <a:gd name="connsiteY79" fmla="*/ 129845 h 161913"/>
                <a:gd name="connsiteX80" fmla="*/ 326848 w 377368"/>
                <a:gd name="connsiteY80" fmla="*/ 132105 h 161913"/>
                <a:gd name="connsiteX81" fmla="*/ 317252 w 377368"/>
                <a:gd name="connsiteY81" fmla="*/ 136751 h 161913"/>
                <a:gd name="connsiteX82" fmla="*/ 309958 w 377368"/>
                <a:gd name="connsiteY82" fmla="*/ 138971 h 161913"/>
                <a:gd name="connsiteX83" fmla="*/ 305866 w 377368"/>
                <a:gd name="connsiteY83" fmla="*/ 139894 h 161913"/>
                <a:gd name="connsiteX84" fmla="*/ 302663 w 377368"/>
                <a:gd name="connsiteY84" fmla="*/ 140418 h 161913"/>
                <a:gd name="connsiteX85" fmla="*/ 297174 w 377368"/>
                <a:gd name="connsiteY85" fmla="*/ 140444 h 161913"/>
                <a:gd name="connsiteX86" fmla="*/ 292708 w 377368"/>
                <a:gd name="connsiteY86" fmla="*/ 140086 h 161913"/>
                <a:gd name="connsiteX87" fmla="*/ 289616 w 377368"/>
                <a:gd name="connsiteY87" fmla="*/ 140126 h 161913"/>
                <a:gd name="connsiteX88" fmla="*/ 287898 w 377368"/>
                <a:gd name="connsiteY88" fmla="*/ 139568 h 161913"/>
                <a:gd name="connsiteX89" fmla="*/ 285447 w 377368"/>
                <a:gd name="connsiteY89" fmla="*/ 137690 h 161913"/>
                <a:gd name="connsiteX90" fmla="*/ 282477 w 377368"/>
                <a:gd name="connsiteY90" fmla="*/ 135832 h 161913"/>
                <a:gd name="connsiteX91" fmla="*/ 281156 w 377368"/>
                <a:gd name="connsiteY91" fmla="*/ 135400 h 161913"/>
                <a:gd name="connsiteX92" fmla="*/ 279428 w 377368"/>
                <a:gd name="connsiteY92" fmla="*/ 135042 h 161913"/>
                <a:gd name="connsiteX93" fmla="*/ 276904 w 377368"/>
                <a:gd name="connsiteY93" fmla="*/ 134833 h 161913"/>
                <a:gd name="connsiteX94" fmla="*/ 270601 w 377368"/>
                <a:gd name="connsiteY94" fmla="*/ 137550 h 161913"/>
                <a:gd name="connsiteX95" fmla="*/ 268640 w 377368"/>
                <a:gd name="connsiteY95" fmla="*/ 138287 h 161913"/>
                <a:gd name="connsiteX96" fmla="*/ 266481 w 377368"/>
                <a:gd name="connsiteY96" fmla="*/ 138843 h 161913"/>
                <a:gd name="connsiteX97" fmla="*/ 262130 w 377368"/>
                <a:gd name="connsiteY97" fmla="*/ 140501 h 161913"/>
                <a:gd name="connsiteX98" fmla="*/ 260201 w 377368"/>
                <a:gd name="connsiteY98" fmla="*/ 141389 h 161913"/>
                <a:gd name="connsiteX99" fmla="*/ 257785 w 377368"/>
                <a:gd name="connsiteY99" fmla="*/ 141306 h 161913"/>
                <a:gd name="connsiteX100" fmla="*/ 254697 w 377368"/>
                <a:gd name="connsiteY100" fmla="*/ 141070 h 161913"/>
                <a:gd name="connsiteX101" fmla="*/ 252017 w 377368"/>
                <a:gd name="connsiteY101" fmla="*/ 141153 h 161913"/>
                <a:gd name="connsiteX102" fmla="*/ 250229 w 377368"/>
                <a:gd name="connsiteY102" fmla="*/ 139891 h 161913"/>
                <a:gd name="connsiteX103" fmla="*/ 249266 w 377368"/>
                <a:gd name="connsiteY103" fmla="*/ 138469 h 161913"/>
                <a:gd name="connsiteX104" fmla="*/ 245613 w 377368"/>
                <a:gd name="connsiteY104" fmla="*/ 137599 h 161913"/>
                <a:gd name="connsiteX105" fmla="*/ 243004 w 377368"/>
                <a:gd name="connsiteY105" fmla="*/ 137349 h 161913"/>
                <a:gd name="connsiteX106" fmla="*/ 242337 w 377368"/>
                <a:gd name="connsiteY106" fmla="*/ 137980 h 161913"/>
                <a:gd name="connsiteX107" fmla="*/ 241639 w 377368"/>
                <a:gd name="connsiteY107" fmla="*/ 139917 h 161913"/>
                <a:gd name="connsiteX108" fmla="*/ 240529 w 377368"/>
                <a:gd name="connsiteY108" fmla="*/ 144861 h 161913"/>
                <a:gd name="connsiteX109" fmla="*/ 240326 w 377368"/>
                <a:gd name="connsiteY109" fmla="*/ 146100 h 161913"/>
                <a:gd name="connsiteX110" fmla="*/ 242624 w 377368"/>
                <a:gd name="connsiteY110" fmla="*/ 151006 h 161913"/>
                <a:gd name="connsiteX111" fmla="*/ 242520 w 377368"/>
                <a:gd name="connsiteY111" fmla="*/ 151753 h 161913"/>
                <a:gd name="connsiteX112" fmla="*/ 240877 w 377368"/>
                <a:gd name="connsiteY112" fmla="*/ 152007 h 161913"/>
                <a:gd name="connsiteX113" fmla="*/ 238990 w 377368"/>
                <a:gd name="connsiteY113" fmla="*/ 152089 h 161913"/>
                <a:gd name="connsiteX114" fmla="*/ 237761 w 377368"/>
                <a:gd name="connsiteY114" fmla="*/ 152525 h 161913"/>
                <a:gd name="connsiteX115" fmla="*/ 236742 w 377368"/>
                <a:gd name="connsiteY115" fmla="*/ 153339 h 161913"/>
                <a:gd name="connsiteX116" fmla="*/ 236126 w 377368"/>
                <a:gd name="connsiteY116" fmla="*/ 157574 h 161913"/>
                <a:gd name="connsiteX117" fmla="*/ 233943 w 377368"/>
                <a:gd name="connsiteY117" fmla="*/ 158351 h 161913"/>
                <a:gd name="connsiteX118" fmla="*/ 232907 w 377368"/>
                <a:gd name="connsiteY118" fmla="*/ 159238 h 161913"/>
                <a:gd name="connsiteX119" fmla="*/ 231838 w 377368"/>
                <a:gd name="connsiteY119" fmla="*/ 161852 h 161913"/>
                <a:gd name="connsiteX120" fmla="*/ 231257 w 377368"/>
                <a:gd name="connsiteY120" fmla="*/ 161913 h 161913"/>
                <a:gd name="connsiteX121" fmla="*/ 227724 w 377368"/>
                <a:gd name="connsiteY121" fmla="*/ 159932 h 161913"/>
                <a:gd name="connsiteX122" fmla="*/ 226068 w 377368"/>
                <a:gd name="connsiteY122" fmla="*/ 159768 h 161913"/>
                <a:gd name="connsiteX123" fmla="*/ 227489 w 377368"/>
                <a:gd name="connsiteY123" fmla="*/ 157709 h 161913"/>
                <a:gd name="connsiteX124" fmla="*/ 225945 w 377368"/>
                <a:gd name="connsiteY124" fmla="*/ 153646 h 161913"/>
                <a:gd name="connsiteX125" fmla="*/ 224260 w 377368"/>
                <a:gd name="connsiteY125" fmla="*/ 149834 h 161913"/>
                <a:gd name="connsiteX126" fmla="*/ 225850 w 377368"/>
                <a:gd name="connsiteY126" fmla="*/ 147393 h 161913"/>
                <a:gd name="connsiteX127" fmla="*/ 229143 w 377368"/>
                <a:gd name="connsiteY127" fmla="*/ 144446 h 161913"/>
                <a:gd name="connsiteX128" fmla="*/ 232609 w 377368"/>
                <a:gd name="connsiteY128" fmla="*/ 140992 h 161913"/>
                <a:gd name="connsiteX129" fmla="*/ 232602 w 377368"/>
                <a:gd name="connsiteY129" fmla="*/ 138859 h 161913"/>
                <a:gd name="connsiteX130" fmla="*/ 232423 w 377368"/>
                <a:gd name="connsiteY130" fmla="*/ 137230 h 161913"/>
                <a:gd name="connsiteX131" fmla="*/ 231430 w 377368"/>
                <a:gd name="connsiteY131" fmla="*/ 136103 h 161913"/>
                <a:gd name="connsiteX132" fmla="*/ 229523 w 377368"/>
                <a:gd name="connsiteY132" fmla="*/ 134604 h 161913"/>
                <a:gd name="connsiteX133" fmla="*/ 226331 w 377368"/>
                <a:gd name="connsiteY133" fmla="*/ 136204 h 161913"/>
                <a:gd name="connsiteX134" fmla="*/ 224053 w 377368"/>
                <a:gd name="connsiteY134" fmla="*/ 137970 h 161913"/>
                <a:gd name="connsiteX135" fmla="*/ 222565 w 377368"/>
                <a:gd name="connsiteY135" fmla="*/ 138328 h 161913"/>
                <a:gd name="connsiteX136" fmla="*/ 220948 w 377368"/>
                <a:gd name="connsiteY136" fmla="*/ 139334 h 161913"/>
                <a:gd name="connsiteX137" fmla="*/ 220162 w 377368"/>
                <a:gd name="connsiteY137" fmla="*/ 141149 h 161913"/>
                <a:gd name="connsiteX138" fmla="*/ 218212 w 377368"/>
                <a:gd name="connsiteY138" fmla="*/ 142563 h 161913"/>
                <a:gd name="connsiteX139" fmla="*/ 215023 w 377368"/>
                <a:gd name="connsiteY139" fmla="*/ 143116 h 161913"/>
                <a:gd name="connsiteX140" fmla="*/ 210224 w 377368"/>
                <a:gd name="connsiteY140" fmla="*/ 141604 h 161913"/>
                <a:gd name="connsiteX141" fmla="*/ 205072 w 377368"/>
                <a:gd name="connsiteY141" fmla="*/ 139300 h 161913"/>
                <a:gd name="connsiteX142" fmla="*/ 202155 w 377368"/>
                <a:gd name="connsiteY142" fmla="*/ 137432 h 161913"/>
                <a:gd name="connsiteX143" fmla="*/ 199775 w 377368"/>
                <a:gd name="connsiteY143" fmla="*/ 136987 h 161913"/>
                <a:gd name="connsiteX144" fmla="*/ 197514 w 377368"/>
                <a:gd name="connsiteY144" fmla="*/ 137808 h 161913"/>
                <a:gd name="connsiteX145" fmla="*/ 190842 w 377368"/>
                <a:gd name="connsiteY145" fmla="*/ 142381 h 161913"/>
                <a:gd name="connsiteX146" fmla="*/ 184735 w 377368"/>
                <a:gd name="connsiteY146" fmla="*/ 149053 h 161913"/>
                <a:gd name="connsiteX147" fmla="*/ 183219 w 377368"/>
                <a:gd name="connsiteY147" fmla="*/ 150205 h 161913"/>
                <a:gd name="connsiteX148" fmla="*/ 177466 w 377368"/>
                <a:gd name="connsiteY148" fmla="*/ 153067 h 161913"/>
                <a:gd name="connsiteX149" fmla="*/ 173664 w 377368"/>
                <a:gd name="connsiteY149" fmla="*/ 154027 h 161913"/>
                <a:gd name="connsiteX150" fmla="*/ 171874 w 377368"/>
                <a:gd name="connsiteY150" fmla="*/ 153804 h 161913"/>
                <a:gd name="connsiteX151" fmla="*/ 164305 w 377368"/>
                <a:gd name="connsiteY151" fmla="*/ 155063 h 161913"/>
                <a:gd name="connsiteX152" fmla="*/ 160546 w 377368"/>
                <a:gd name="connsiteY152" fmla="*/ 155247 h 161913"/>
                <a:gd name="connsiteX153" fmla="*/ 157568 w 377368"/>
                <a:gd name="connsiteY153" fmla="*/ 156757 h 161913"/>
                <a:gd name="connsiteX154" fmla="*/ 151796 w 377368"/>
                <a:gd name="connsiteY154" fmla="*/ 155120 h 161913"/>
                <a:gd name="connsiteX155" fmla="*/ 148345 w 377368"/>
                <a:gd name="connsiteY155" fmla="*/ 153025 h 161913"/>
                <a:gd name="connsiteX156" fmla="*/ 146268 w 377368"/>
                <a:gd name="connsiteY156" fmla="*/ 150896 h 161913"/>
                <a:gd name="connsiteX157" fmla="*/ 142880 w 377368"/>
                <a:gd name="connsiteY157" fmla="*/ 146310 h 161913"/>
                <a:gd name="connsiteX158" fmla="*/ 140478 w 377368"/>
                <a:gd name="connsiteY158" fmla="*/ 144127 h 161913"/>
                <a:gd name="connsiteX159" fmla="*/ 135082 w 377368"/>
                <a:gd name="connsiteY159" fmla="*/ 142163 h 161913"/>
                <a:gd name="connsiteX160" fmla="*/ 125676 w 377368"/>
                <a:gd name="connsiteY160" fmla="*/ 137386 h 161913"/>
                <a:gd name="connsiteX161" fmla="*/ 123201 w 377368"/>
                <a:gd name="connsiteY161" fmla="*/ 136862 h 161913"/>
                <a:gd name="connsiteX162" fmla="*/ 116781 w 377368"/>
                <a:gd name="connsiteY162" fmla="*/ 136177 h 161913"/>
                <a:gd name="connsiteX163" fmla="*/ 110010 w 377368"/>
                <a:gd name="connsiteY163" fmla="*/ 135745 h 161913"/>
                <a:gd name="connsiteX164" fmla="*/ 108638 w 377368"/>
                <a:gd name="connsiteY164" fmla="*/ 137485 h 161913"/>
                <a:gd name="connsiteX165" fmla="*/ 108118 w 377368"/>
                <a:gd name="connsiteY165" fmla="*/ 144367 h 161913"/>
                <a:gd name="connsiteX166" fmla="*/ 106958 w 377368"/>
                <a:gd name="connsiteY166" fmla="*/ 146260 h 161913"/>
                <a:gd name="connsiteX167" fmla="*/ 106462 w 377368"/>
                <a:gd name="connsiteY167" fmla="*/ 149821 h 161913"/>
                <a:gd name="connsiteX168" fmla="*/ 105632 w 377368"/>
                <a:gd name="connsiteY168" fmla="*/ 150846 h 161913"/>
                <a:gd name="connsiteX169" fmla="*/ 104332 w 377368"/>
                <a:gd name="connsiteY169" fmla="*/ 151519 h 161913"/>
                <a:gd name="connsiteX170" fmla="*/ 102300 w 377368"/>
                <a:gd name="connsiteY170" fmla="*/ 150395 h 161913"/>
                <a:gd name="connsiteX171" fmla="*/ 100890 w 377368"/>
                <a:gd name="connsiteY171" fmla="*/ 149899 h 161913"/>
                <a:gd name="connsiteX172" fmla="*/ 97608 w 377368"/>
                <a:gd name="connsiteY172" fmla="*/ 151364 h 161913"/>
                <a:gd name="connsiteX173" fmla="*/ 91108 w 377368"/>
                <a:gd name="connsiteY173" fmla="*/ 153419 h 161913"/>
                <a:gd name="connsiteX174" fmla="*/ 88893 w 377368"/>
                <a:gd name="connsiteY174" fmla="*/ 153706 h 161913"/>
                <a:gd name="connsiteX175" fmla="*/ 81359 w 377368"/>
                <a:gd name="connsiteY175" fmla="*/ 151125 h 161913"/>
                <a:gd name="connsiteX176" fmla="*/ 78601 w 377368"/>
                <a:gd name="connsiteY176" fmla="*/ 149465 h 161913"/>
                <a:gd name="connsiteX177" fmla="*/ 76824 w 377368"/>
                <a:gd name="connsiteY177" fmla="*/ 147624 h 161913"/>
                <a:gd name="connsiteX178" fmla="*/ 76224 w 377368"/>
                <a:gd name="connsiteY178" fmla="*/ 144512 h 161913"/>
                <a:gd name="connsiteX179" fmla="*/ 75105 w 377368"/>
                <a:gd name="connsiteY179" fmla="*/ 142739 h 161913"/>
                <a:gd name="connsiteX180" fmla="*/ 74941 w 377368"/>
                <a:gd name="connsiteY180" fmla="*/ 141521 h 161913"/>
                <a:gd name="connsiteX181" fmla="*/ 74503 w 377368"/>
                <a:gd name="connsiteY181" fmla="*/ 140117 h 161913"/>
                <a:gd name="connsiteX182" fmla="*/ 72985 w 377368"/>
                <a:gd name="connsiteY182" fmla="*/ 139562 h 161913"/>
                <a:gd name="connsiteX183" fmla="*/ 71354 w 377368"/>
                <a:gd name="connsiteY183" fmla="*/ 140621 h 161913"/>
                <a:gd name="connsiteX184" fmla="*/ 69607 w 377368"/>
                <a:gd name="connsiteY184" fmla="*/ 140578 h 161913"/>
                <a:gd name="connsiteX185" fmla="*/ 67413 w 377368"/>
                <a:gd name="connsiteY185" fmla="*/ 139929 h 161913"/>
                <a:gd name="connsiteX186" fmla="*/ 62237 w 377368"/>
                <a:gd name="connsiteY186" fmla="*/ 137317 h 161913"/>
                <a:gd name="connsiteX187" fmla="*/ 58260 w 377368"/>
                <a:gd name="connsiteY187" fmla="*/ 137110 h 161913"/>
                <a:gd name="connsiteX188" fmla="*/ 55869 w 377368"/>
                <a:gd name="connsiteY188" fmla="*/ 140298 h 161913"/>
                <a:gd name="connsiteX189" fmla="*/ 54010 w 377368"/>
                <a:gd name="connsiteY189" fmla="*/ 141311 h 161913"/>
                <a:gd name="connsiteX190" fmla="*/ 51974 w 377368"/>
                <a:gd name="connsiteY190" fmla="*/ 141614 h 161913"/>
                <a:gd name="connsiteX191" fmla="*/ 51857 w 377368"/>
                <a:gd name="connsiteY191" fmla="*/ 140707 h 161913"/>
                <a:gd name="connsiteX192" fmla="*/ 53401 w 377368"/>
                <a:gd name="connsiteY192" fmla="*/ 138645 h 161913"/>
                <a:gd name="connsiteX193" fmla="*/ 47206 w 377368"/>
                <a:gd name="connsiteY193" fmla="*/ 139026 h 161913"/>
                <a:gd name="connsiteX194" fmla="*/ 43935 w 377368"/>
                <a:gd name="connsiteY194" fmla="*/ 140596 h 161913"/>
                <a:gd name="connsiteX195" fmla="*/ 41382 w 377368"/>
                <a:gd name="connsiteY195" fmla="*/ 140352 h 161913"/>
                <a:gd name="connsiteX196" fmla="*/ 39469 w 377368"/>
                <a:gd name="connsiteY196" fmla="*/ 139643 h 161913"/>
                <a:gd name="connsiteX197" fmla="*/ 39756 w 377368"/>
                <a:gd name="connsiteY197" fmla="*/ 138775 h 161913"/>
                <a:gd name="connsiteX198" fmla="*/ 41697 w 377368"/>
                <a:gd name="connsiteY198" fmla="*/ 138457 h 161913"/>
                <a:gd name="connsiteX199" fmla="*/ 43381 w 377368"/>
                <a:gd name="connsiteY199" fmla="*/ 137752 h 161913"/>
                <a:gd name="connsiteX200" fmla="*/ 50095 w 377368"/>
                <a:gd name="connsiteY200" fmla="*/ 137178 h 161913"/>
                <a:gd name="connsiteX201" fmla="*/ 51663 w 377368"/>
                <a:gd name="connsiteY201" fmla="*/ 136601 h 161913"/>
                <a:gd name="connsiteX202" fmla="*/ 53380 w 377368"/>
                <a:gd name="connsiteY202" fmla="*/ 134358 h 161913"/>
                <a:gd name="connsiteX203" fmla="*/ 56506 w 377368"/>
                <a:gd name="connsiteY203" fmla="*/ 132423 h 161913"/>
                <a:gd name="connsiteX204" fmla="*/ 56903 w 377368"/>
                <a:gd name="connsiteY204" fmla="*/ 131592 h 161913"/>
                <a:gd name="connsiteX205" fmla="*/ 54500 w 377368"/>
                <a:gd name="connsiteY205" fmla="*/ 131581 h 161913"/>
                <a:gd name="connsiteX206" fmla="*/ 44211 w 377368"/>
                <a:gd name="connsiteY206" fmla="*/ 132143 h 161913"/>
                <a:gd name="connsiteX207" fmla="*/ 37147 w 377368"/>
                <a:gd name="connsiteY207" fmla="*/ 131833 h 161913"/>
                <a:gd name="connsiteX208" fmla="*/ 36310 w 377368"/>
                <a:gd name="connsiteY208" fmla="*/ 132792 h 161913"/>
                <a:gd name="connsiteX209" fmla="*/ 35247 w 377368"/>
                <a:gd name="connsiteY209" fmla="*/ 132927 h 161913"/>
                <a:gd name="connsiteX210" fmla="*/ 34954 w 377368"/>
                <a:gd name="connsiteY210" fmla="*/ 130317 h 161913"/>
                <a:gd name="connsiteX211" fmla="*/ 36070 w 377368"/>
                <a:gd name="connsiteY211" fmla="*/ 129104 h 161913"/>
                <a:gd name="connsiteX212" fmla="*/ 37573 w 377368"/>
                <a:gd name="connsiteY212" fmla="*/ 129216 h 161913"/>
                <a:gd name="connsiteX213" fmla="*/ 41263 w 377368"/>
                <a:gd name="connsiteY213" fmla="*/ 128161 h 161913"/>
                <a:gd name="connsiteX214" fmla="*/ 40933 w 377368"/>
                <a:gd name="connsiteY214" fmla="*/ 125989 h 161913"/>
                <a:gd name="connsiteX215" fmla="*/ 38290 w 377368"/>
                <a:gd name="connsiteY215" fmla="*/ 124521 h 161913"/>
                <a:gd name="connsiteX216" fmla="*/ 37752 w 377368"/>
                <a:gd name="connsiteY216" fmla="*/ 123655 h 161913"/>
                <a:gd name="connsiteX217" fmla="*/ 35835 w 377368"/>
                <a:gd name="connsiteY217" fmla="*/ 123452 h 161913"/>
                <a:gd name="connsiteX218" fmla="*/ 34280 w 377368"/>
                <a:gd name="connsiteY218" fmla="*/ 122419 h 161913"/>
                <a:gd name="connsiteX219" fmla="*/ 33941 w 377368"/>
                <a:gd name="connsiteY219" fmla="*/ 119810 h 161913"/>
                <a:gd name="connsiteX220" fmla="*/ 32703 w 377368"/>
                <a:gd name="connsiteY220" fmla="*/ 116943 h 161913"/>
                <a:gd name="connsiteX221" fmla="*/ 30935 w 377368"/>
                <a:gd name="connsiteY221" fmla="*/ 115556 h 161913"/>
                <a:gd name="connsiteX222" fmla="*/ 31153 w 377368"/>
                <a:gd name="connsiteY222" fmla="*/ 114794 h 161913"/>
                <a:gd name="connsiteX223" fmla="*/ 34394 w 377368"/>
                <a:gd name="connsiteY223" fmla="*/ 113829 h 161913"/>
                <a:gd name="connsiteX224" fmla="*/ 35066 w 377368"/>
                <a:gd name="connsiteY224" fmla="*/ 109813 h 161913"/>
                <a:gd name="connsiteX225" fmla="*/ 34571 w 377368"/>
                <a:gd name="connsiteY225" fmla="*/ 107345 h 161913"/>
                <a:gd name="connsiteX226" fmla="*/ 32941 w 377368"/>
                <a:gd name="connsiteY226" fmla="*/ 107135 h 161913"/>
                <a:gd name="connsiteX227" fmla="*/ 28191 w 377368"/>
                <a:gd name="connsiteY227" fmla="*/ 105185 h 161913"/>
                <a:gd name="connsiteX228" fmla="*/ 26748 w 377368"/>
                <a:gd name="connsiteY228" fmla="*/ 105393 h 161913"/>
                <a:gd name="connsiteX229" fmla="*/ 25174 w 377368"/>
                <a:gd name="connsiteY229" fmla="*/ 103250 h 161913"/>
                <a:gd name="connsiteX230" fmla="*/ 22418 w 377368"/>
                <a:gd name="connsiteY230" fmla="*/ 101709 h 161913"/>
                <a:gd name="connsiteX231" fmla="*/ 21054 w 377368"/>
                <a:gd name="connsiteY231" fmla="*/ 102273 h 161913"/>
                <a:gd name="connsiteX232" fmla="*/ 20198 w 377368"/>
                <a:gd name="connsiteY232" fmla="*/ 102969 h 161913"/>
                <a:gd name="connsiteX233" fmla="*/ 18922 w 377368"/>
                <a:gd name="connsiteY233" fmla="*/ 102635 h 161913"/>
                <a:gd name="connsiteX234" fmla="*/ 16782 w 377368"/>
                <a:gd name="connsiteY234" fmla="*/ 101298 h 161913"/>
                <a:gd name="connsiteX235" fmla="*/ 14681 w 377368"/>
                <a:gd name="connsiteY235" fmla="*/ 100575 h 161913"/>
                <a:gd name="connsiteX236" fmla="*/ 13748 w 377368"/>
                <a:gd name="connsiteY236" fmla="*/ 99683 h 161913"/>
                <a:gd name="connsiteX237" fmla="*/ 14919 w 377368"/>
                <a:gd name="connsiteY237" fmla="*/ 97296 h 161913"/>
                <a:gd name="connsiteX238" fmla="*/ 16528 w 377368"/>
                <a:gd name="connsiteY238" fmla="*/ 97353 h 161913"/>
                <a:gd name="connsiteX239" fmla="*/ 16821 w 377368"/>
                <a:gd name="connsiteY239" fmla="*/ 95481 h 161913"/>
                <a:gd name="connsiteX240" fmla="*/ 15551 w 377368"/>
                <a:gd name="connsiteY240" fmla="*/ 92359 h 161913"/>
                <a:gd name="connsiteX241" fmla="*/ 15675 w 377368"/>
                <a:gd name="connsiteY241" fmla="*/ 90755 h 161913"/>
                <a:gd name="connsiteX242" fmla="*/ 17078 w 377368"/>
                <a:gd name="connsiteY242" fmla="*/ 90316 h 161913"/>
                <a:gd name="connsiteX243" fmla="*/ 18676 w 377368"/>
                <a:gd name="connsiteY243" fmla="*/ 90618 h 161913"/>
                <a:gd name="connsiteX244" fmla="*/ 20289 w 377368"/>
                <a:gd name="connsiteY244" fmla="*/ 92485 h 161913"/>
                <a:gd name="connsiteX245" fmla="*/ 20816 w 377368"/>
                <a:gd name="connsiteY245" fmla="*/ 94290 h 161913"/>
                <a:gd name="connsiteX246" fmla="*/ 20477 w 377368"/>
                <a:gd name="connsiteY246" fmla="*/ 96048 h 161913"/>
                <a:gd name="connsiteX247" fmla="*/ 21501 w 377368"/>
                <a:gd name="connsiteY247" fmla="*/ 97749 h 161913"/>
                <a:gd name="connsiteX248" fmla="*/ 22228 w 377368"/>
                <a:gd name="connsiteY248" fmla="*/ 98179 h 161913"/>
                <a:gd name="connsiteX249" fmla="*/ 22718 w 377368"/>
                <a:gd name="connsiteY249" fmla="*/ 96388 h 161913"/>
                <a:gd name="connsiteX250" fmla="*/ 23403 w 377368"/>
                <a:gd name="connsiteY250" fmla="*/ 96048 h 161913"/>
                <a:gd name="connsiteX251" fmla="*/ 24345 w 377368"/>
                <a:gd name="connsiteY251" fmla="*/ 96830 h 161913"/>
                <a:gd name="connsiteX252" fmla="*/ 26368 w 377368"/>
                <a:gd name="connsiteY252" fmla="*/ 97222 h 161913"/>
                <a:gd name="connsiteX253" fmla="*/ 31613 w 377368"/>
                <a:gd name="connsiteY253" fmla="*/ 96122 h 161913"/>
                <a:gd name="connsiteX254" fmla="*/ 32621 w 377368"/>
                <a:gd name="connsiteY254" fmla="*/ 95190 h 161913"/>
                <a:gd name="connsiteX255" fmla="*/ 28778 w 377368"/>
                <a:gd name="connsiteY255" fmla="*/ 95295 h 161913"/>
                <a:gd name="connsiteX256" fmla="*/ 27372 w 377368"/>
                <a:gd name="connsiteY256" fmla="*/ 94423 h 161913"/>
                <a:gd name="connsiteX257" fmla="*/ 25845 w 377368"/>
                <a:gd name="connsiteY257" fmla="*/ 92471 h 161913"/>
                <a:gd name="connsiteX258" fmla="*/ 24906 w 377368"/>
                <a:gd name="connsiteY258" fmla="*/ 90697 h 161913"/>
                <a:gd name="connsiteX259" fmla="*/ 24738 w 377368"/>
                <a:gd name="connsiteY259" fmla="*/ 89826 h 161913"/>
                <a:gd name="connsiteX260" fmla="*/ 24206 w 377368"/>
                <a:gd name="connsiteY260" fmla="*/ 88552 h 161913"/>
                <a:gd name="connsiteX261" fmla="*/ 24792 w 377368"/>
                <a:gd name="connsiteY261" fmla="*/ 87870 h 161913"/>
                <a:gd name="connsiteX262" fmla="*/ 27424 w 377368"/>
                <a:gd name="connsiteY262" fmla="*/ 86846 h 161913"/>
                <a:gd name="connsiteX263" fmla="*/ 29734 w 377368"/>
                <a:gd name="connsiteY263" fmla="*/ 83978 h 161913"/>
                <a:gd name="connsiteX264" fmla="*/ 28771 w 377368"/>
                <a:gd name="connsiteY264" fmla="*/ 83147 h 161913"/>
                <a:gd name="connsiteX265" fmla="*/ 27670 w 377368"/>
                <a:gd name="connsiteY265" fmla="*/ 82754 h 161913"/>
                <a:gd name="connsiteX266" fmla="*/ 26474 w 377368"/>
                <a:gd name="connsiteY266" fmla="*/ 83046 h 161913"/>
                <a:gd name="connsiteX267" fmla="*/ 25340 w 377368"/>
                <a:gd name="connsiteY267" fmla="*/ 82063 h 161913"/>
                <a:gd name="connsiteX268" fmla="*/ 25193 w 377368"/>
                <a:gd name="connsiteY268" fmla="*/ 80695 h 161913"/>
                <a:gd name="connsiteX269" fmla="*/ 26100 w 377368"/>
                <a:gd name="connsiteY269" fmla="*/ 79588 h 161913"/>
                <a:gd name="connsiteX270" fmla="*/ 26195 w 377368"/>
                <a:gd name="connsiteY270" fmla="*/ 78064 h 161913"/>
                <a:gd name="connsiteX271" fmla="*/ 23226 w 377368"/>
                <a:gd name="connsiteY271" fmla="*/ 74309 h 161913"/>
                <a:gd name="connsiteX272" fmla="*/ 22397 w 377368"/>
                <a:gd name="connsiteY272" fmla="*/ 73491 h 161913"/>
                <a:gd name="connsiteX273" fmla="*/ 23036 w 377368"/>
                <a:gd name="connsiteY273" fmla="*/ 72262 h 161913"/>
                <a:gd name="connsiteX274" fmla="*/ 25303 w 377368"/>
                <a:gd name="connsiteY274" fmla="*/ 70203 h 161913"/>
                <a:gd name="connsiteX275" fmla="*/ 27463 w 377368"/>
                <a:gd name="connsiteY275" fmla="*/ 67652 h 161913"/>
                <a:gd name="connsiteX276" fmla="*/ 27203 w 377368"/>
                <a:gd name="connsiteY276" fmla="*/ 66812 h 161913"/>
                <a:gd name="connsiteX277" fmla="*/ 25608 w 377368"/>
                <a:gd name="connsiteY277" fmla="*/ 66469 h 161913"/>
                <a:gd name="connsiteX278" fmla="*/ 18024 w 377368"/>
                <a:gd name="connsiteY278" fmla="*/ 67564 h 161913"/>
                <a:gd name="connsiteX279" fmla="*/ 15076 w 377368"/>
                <a:gd name="connsiteY279" fmla="*/ 68515 h 161913"/>
                <a:gd name="connsiteX280" fmla="*/ 9820 w 377368"/>
                <a:gd name="connsiteY280" fmla="*/ 68948 h 161913"/>
                <a:gd name="connsiteX281" fmla="*/ 9442 w 377368"/>
                <a:gd name="connsiteY281" fmla="*/ 67562 h 161913"/>
                <a:gd name="connsiteX282" fmla="*/ 9561 w 377368"/>
                <a:gd name="connsiteY282" fmla="*/ 66311 h 161913"/>
                <a:gd name="connsiteX283" fmla="*/ 10740 w 377368"/>
                <a:gd name="connsiteY283" fmla="*/ 64032 h 161913"/>
                <a:gd name="connsiteX284" fmla="*/ 10632 w 377368"/>
                <a:gd name="connsiteY284" fmla="*/ 58406 h 161913"/>
                <a:gd name="connsiteX285" fmla="*/ 11330 w 377368"/>
                <a:gd name="connsiteY285" fmla="*/ 55351 h 161913"/>
                <a:gd name="connsiteX286" fmla="*/ 14250 w 377368"/>
                <a:gd name="connsiteY286" fmla="*/ 54441 h 161913"/>
                <a:gd name="connsiteX287" fmla="*/ 17832 w 377368"/>
                <a:gd name="connsiteY287" fmla="*/ 49945 h 161913"/>
                <a:gd name="connsiteX288" fmla="*/ 23640 w 377368"/>
                <a:gd name="connsiteY288" fmla="*/ 44639 h 161913"/>
                <a:gd name="connsiteX289" fmla="*/ 29700 w 377368"/>
                <a:gd name="connsiteY289" fmla="*/ 44741 h 161913"/>
                <a:gd name="connsiteX290" fmla="*/ 32122 w 377368"/>
                <a:gd name="connsiteY290" fmla="*/ 43275 h 161913"/>
                <a:gd name="connsiteX291" fmla="*/ 35725 w 377368"/>
                <a:gd name="connsiteY291" fmla="*/ 43189 h 161913"/>
                <a:gd name="connsiteX292" fmla="*/ 36379 w 377368"/>
                <a:gd name="connsiteY292" fmla="*/ 44255 h 161913"/>
                <a:gd name="connsiteX293" fmla="*/ 36787 w 377368"/>
                <a:gd name="connsiteY293" fmla="*/ 45275 h 161913"/>
                <a:gd name="connsiteX294" fmla="*/ 39948 w 377368"/>
                <a:gd name="connsiteY294" fmla="*/ 46739 h 161913"/>
                <a:gd name="connsiteX295" fmla="*/ 45530 w 377368"/>
                <a:gd name="connsiteY295" fmla="*/ 46507 h 161913"/>
                <a:gd name="connsiteX296" fmla="*/ 46886 w 377368"/>
                <a:gd name="connsiteY296" fmla="*/ 45930 h 161913"/>
                <a:gd name="connsiteX297" fmla="*/ 48195 w 377368"/>
                <a:gd name="connsiteY297" fmla="*/ 45123 h 161913"/>
                <a:gd name="connsiteX298" fmla="*/ 45614 w 377368"/>
                <a:gd name="connsiteY298" fmla="*/ 42512 h 161913"/>
                <a:gd name="connsiteX299" fmla="*/ 46439 w 377368"/>
                <a:gd name="connsiteY299" fmla="*/ 41775 h 161913"/>
                <a:gd name="connsiteX300" fmla="*/ 48778 w 377368"/>
                <a:gd name="connsiteY300" fmla="*/ 41688 h 161913"/>
                <a:gd name="connsiteX301" fmla="*/ 51313 w 377368"/>
                <a:gd name="connsiteY301" fmla="*/ 42303 h 161913"/>
                <a:gd name="connsiteX302" fmla="*/ 51430 w 377368"/>
                <a:gd name="connsiteY302" fmla="*/ 42901 h 161913"/>
                <a:gd name="connsiteX303" fmla="*/ 50756 w 377368"/>
                <a:gd name="connsiteY303" fmla="*/ 43721 h 161913"/>
                <a:gd name="connsiteX304" fmla="*/ 49972 w 377368"/>
                <a:gd name="connsiteY304" fmla="*/ 45157 h 161913"/>
                <a:gd name="connsiteX305" fmla="*/ 50717 w 377368"/>
                <a:gd name="connsiteY305" fmla="*/ 45433 h 161913"/>
                <a:gd name="connsiteX306" fmla="*/ 57936 w 377368"/>
                <a:gd name="connsiteY306" fmla="*/ 44566 h 161913"/>
                <a:gd name="connsiteX307" fmla="*/ 65481 w 377368"/>
                <a:gd name="connsiteY307" fmla="*/ 45261 h 161913"/>
                <a:gd name="connsiteX308" fmla="*/ 67882 w 377368"/>
                <a:gd name="connsiteY308" fmla="*/ 44884 h 161913"/>
                <a:gd name="connsiteX309" fmla="*/ 73814 w 377368"/>
                <a:gd name="connsiteY309" fmla="*/ 44913 h 161913"/>
                <a:gd name="connsiteX310" fmla="*/ 74876 w 377368"/>
                <a:gd name="connsiteY310" fmla="*/ 44012 h 161913"/>
                <a:gd name="connsiteX311" fmla="*/ 73082 w 377368"/>
                <a:gd name="connsiteY311" fmla="*/ 42881 h 161913"/>
                <a:gd name="connsiteX312" fmla="*/ 71326 w 377368"/>
                <a:gd name="connsiteY312" fmla="*/ 42488 h 161913"/>
                <a:gd name="connsiteX313" fmla="*/ 70145 w 377368"/>
                <a:gd name="connsiteY313" fmla="*/ 41936 h 161913"/>
                <a:gd name="connsiteX314" fmla="*/ 68966 w 377368"/>
                <a:gd name="connsiteY314" fmla="*/ 41136 h 161913"/>
                <a:gd name="connsiteX315" fmla="*/ 72728 w 377368"/>
                <a:gd name="connsiteY315" fmla="*/ 38606 h 161913"/>
                <a:gd name="connsiteX316" fmla="*/ 74852 w 377368"/>
                <a:gd name="connsiteY316" fmla="*/ 38119 h 161913"/>
                <a:gd name="connsiteX317" fmla="*/ 84881 w 377368"/>
                <a:gd name="connsiteY317" fmla="*/ 36564 h 161913"/>
                <a:gd name="connsiteX318" fmla="*/ 92339 w 377368"/>
                <a:gd name="connsiteY318" fmla="*/ 35785 h 161913"/>
                <a:gd name="connsiteX319" fmla="*/ 92434 w 377368"/>
                <a:gd name="connsiteY319" fmla="*/ 35207 h 161913"/>
                <a:gd name="connsiteX320" fmla="*/ 91359 w 377368"/>
                <a:gd name="connsiteY320" fmla="*/ 35206 h 161913"/>
                <a:gd name="connsiteX321" fmla="*/ 81721 w 377368"/>
                <a:gd name="connsiteY321" fmla="*/ 33916 h 161913"/>
                <a:gd name="connsiteX322" fmla="*/ 79400 w 377368"/>
                <a:gd name="connsiteY322" fmla="*/ 32917 h 161913"/>
                <a:gd name="connsiteX323" fmla="*/ 76174 w 377368"/>
                <a:gd name="connsiteY323" fmla="*/ 30538 h 161913"/>
                <a:gd name="connsiteX324" fmla="*/ 75474 w 377368"/>
                <a:gd name="connsiteY324" fmla="*/ 29865 h 161913"/>
                <a:gd name="connsiteX325" fmla="*/ 74662 w 377368"/>
                <a:gd name="connsiteY325" fmla="*/ 28704 h 161913"/>
                <a:gd name="connsiteX326" fmla="*/ 75146 w 377368"/>
                <a:gd name="connsiteY326" fmla="*/ 26228 h 161913"/>
                <a:gd name="connsiteX327" fmla="*/ 75742 w 377368"/>
                <a:gd name="connsiteY327" fmla="*/ 24237 h 161913"/>
                <a:gd name="connsiteX328" fmla="*/ 76932 w 377368"/>
                <a:gd name="connsiteY328" fmla="*/ 23083 h 161913"/>
                <a:gd name="connsiteX329" fmla="*/ 80782 w 377368"/>
                <a:gd name="connsiteY329" fmla="*/ 22907 h 161913"/>
                <a:gd name="connsiteX330" fmla="*/ 93985 w 377368"/>
                <a:gd name="connsiteY330" fmla="*/ 24933 h 161913"/>
                <a:gd name="connsiteX331" fmla="*/ 103395 w 377368"/>
                <a:gd name="connsiteY331" fmla="*/ 23719 h 161913"/>
                <a:gd name="connsiteX332" fmla="*/ 113680 w 377368"/>
                <a:gd name="connsiteY332" fmla="*/ 26670 h 161913"/>
                <a:gd name="connsiteX333" fmla="*/ 123516 w 377368"/>
                <a:gd name="connsiteY333" fmla="*/ 26071 h 161913"/>
                <a:gd name="connsiteX334" fmla="*/ 125546 w 377368"/>
                <a:gd name="connsiteY334" fmla="*/ 24746 h 161913"/>
                <a:gd name="connsiteX335" fmla="*/ 128008 w 377368"/>
                <a:gd name="connsiteY335" fmla="*/ 20473 h 161913"/>
                <a:gd name="connsiteX336" fmla="*/ 141904 w 377368"/>
                <a:gd name="connsiteY336" fmla="*/ 13362 h 161913"/>
                <a:gd name="connsiteX337" fmla="*/ 146769 w 377368"/>
                <a:gd name="connsiteY337" fmla="*/ 9647 h 161913"/>
                <a:gd name="connsiteX338" fmla="*/ 151981 w 377368"/>
                <a:gd name="connsiteY338" fmla="*/ 7613 h 161913"/>
                <a:gd name="connsiteX339" fmla="*/ 160925 w 377368"/>
                <a:gd name="connsiteY339" fmla="*/ 5350 h 161913"/>
                <a:gd name="connsiteX340" fmla="*/ 168401 w 377368"/>
                <a:gd name="connsiteY340" fmla="*/ 2356 h 161913"/>
                <a:gd name="connsiteX341" fmla="*/ 170537 w 377368"/>
                <a:gd name="connsiteY341" fmla="*/ 2011 h 161913"/>
                <a:gd name="connsiteX342" fmla="*/ 188484 w 377368"/>
                <a:gd name="connsiteY342" fmla="*/ 3441 h 161913"/>
                <a:gd name="connsiteX343" fmla="*/ 200812 w 377368"/>
                <a:gd name="connsiteY343" fmla="*/ 3623 h 161913"/>
                <a:gd name="connsiteX344" fmla="*/ 34835 w 377368"/>
                <a:gd name="connsiteY344" fmla="*/ 0 h 161913"/>
                <a:gd name="connsiteX345" fmla="*/ 35953 w 377368"/>
                <a:gd name="connsiteY345" fmla="*/ 365 h 161913"/>
                <a:gd name="connsiteX346" fmla="*/ 37456 w 377368"/>
                <a:gd name="connsiteY346" fmla="*/ 1812 h 161913"/>
                <a:gd name="connsiteX347" fmla="*/ 39931 w 377368"/>
                <a:gd name="connsiteY347" fmla="*/ 3887 h 161913"/>
                <a:gd name="connsiteX348" fmla="*/ 41259 w 377368"/>
                <a:gd name="connsiteY348" fmla="*/ 4579 h 161913"/>
                <a:gd name="connsiteX349" fmla="*/ 42254 w 377368"/>
                <a:gd name="connsiteY349" fmla="*/ 4258 h 161913"/>
                <a:gd name="connsiteX350" fmla="*/ 44051 w 377368"/>
                <a:gd name="connsiteY350" fmla="*/ 3504 h 161913"/>
                <a:gd name="connsiteX351" fmla="*/ 45770 w 377368"/>
                <a:gd name="connsiteY351" fmla="*/ 3498 h 161913"/>
                <a:gd name="connsiteX352" fmla="*/ 47158 w 377368"/>
                <a:gd name="connsiteY352" fmla="*/ 3631 h 161913"/>
                <a:gd name="connsiteX353" fmla="*/ 47828 w 377368"/>
                <a:gd name="connsiteY353" fmla="*/ 2974 h 161913"/>
                <a:gd name="connsiteX354" fmla="*/ 48873 w 377368"/>
                <a:gd name="connsiteY354" fmla="*/ 2833 h 161913"/>
                <a:gd name="connsiteX355" fmla="*/ 51864 w 377368"/>
                <a:gd name="connsiteY355" fmla="*/ 3299 h 161913"/>
                <a:gd name="connsiteX356" fmla="*/ 51264 w 377368"/>
                <a:gd name="connsiteY356" fmla="*/ 6327 h 161913"/>
                <a:gd name="connsiteX357" fmla="*/ 52656 w 377368"/>
                <a:gd name="connsiteY357" fmla="*/ 9659 h 161913"/>
                <a:gd name="connsiteX358" fmla="*/ 55919 w 377368"/>
                <a:gd name="connsiteY358" fmla="*/ 14280 h 161913"/>
                <a:gd name="connsiteX359" fmla="*/ 59203 w 377368"/>
                <a:gd name="connsiteY359" fmla="*/ 16609 h 161913"/>
                <a:gd name="connsiteX360" fmla="*/ 72479 w 377368"/>
                <a:gd name="connsiteY360" fmla="*/ 22362 h 161913"/>
                <a:gd name="connsiteX361" fmla="*/ 74922 w 377368"/>
                <a:gd name="connsiteY361" fmla="*/ 22853 h 161913"/>
                <a:gd name="connsiteX362" fmla="*/ 74367 w 377368"/>
                <a:gd name="connsiteY362" fmla="*/ 25206 h 161913"/>
                <a:gd name="connsiteX363" fmla="*/ 73568 w 377368"/>
                <a:gd name="connsiteY363" fmla="*/ 27295 h 161913"/>
                <a:gd name="connsiteX364" fmla="*/ 72689 w 377368"/>
                <a:gd name="connsiteY364" fmla="*/ 28688 h 161913"/>
                <a:gd name="connsiteX365" fmla="*/ 68800 w 377368"/>
                <a:gd name="connsiteY365" fmla="*/ 29583 h 161913"/>
                <a:gd name="connsiteX366" fmla="*/ 58065 w 377368"/>
                <a:gd name="connsiteY366" fmla="*/ 27022 h 161913"/>
                <a:gd name="connsiteX367" fmla="*/ 55351 w 377368"/>
                <a:gd name="connsiteY367" fmla="*/ 26780 h 161913"/>
                <a:gd name="connsiteX368" fmla="*/ 53436 w 377368"/>
                <a:gd name="connsiteY368" fmla="*/ 27290 h 161913"/>
                <a:gd name="connsiteX369" fmla="*/ 49890 w 377368"/>
                <a:gd name="connsiteY369" fmla="*/ 29151 h 161913"/>
                <a:gd name="connsiteX370" fmla="*/ 45958 w 377368"/>
                <a:gd name="connsiteY370" fmla="*/ 28554 h 161913"/>
                <a:gd name="connsiteX371" fmla="*/ 40475 w 377368"/>
                <a:gd name="connsiteY371" fmla="*/ 29610 h 161913"/>
                <a:gd name="connsiteX372" fmla="*/ 38944 w 377368"/>
                <a:gd name="connsiteY372" fmla="*/ 33111 h 161913"/>
                <a:gd name="connsiteX373" fmla="*/ 35137 w 377368"/>
                <a:gd name="connsiteY373" fmla="*/ 37117 h 161913"/>
                <a:gd name="connsiteX374" fmla="*/ 28871 w 377368"/>
                <a:gd name="connsiteY374" fmla="*/ 40350 h 161913"/>
                <a:gd name="connsiteX375" fmla="*/ 24392 w 377368"/>
                <a:gd name="connsiteY375" fmla="*/ 42078 h 161913"/>
                <a:gd name="connsiteX376" fmla="*/ 17668 w 377368"/>
                <a:gd name="connsiteY376" fmla="*/ 48267 h 161913"/>
                <a:gd name="connsiteX377" fmla="*/ 14617 w 377368"/>
                <a:gd name="connsiteY377" fmla="*/ 51874 h 161913"/>
                <a:gd name="connsiteX378" fmla="*/ 13329 w 377368"/>
                <a:gd name="connsiteY378" fmla="*/ 52573 h 161913"/>
                <a:gd name="connsiteX379" fmla="*/ 11803 w 377368"/>
                <a:gd name="connsiteY379" fmla="*/ 53126 h 161913"/>
                <a:gd name="connsiteX380" fmla="*/ 12317 w 377368"/>
                <a:gd name="connsiteY380" fmla="*/ 51396 h 161913"/>
                <a:gd name="connsiteX381" fmla="*/ 13072 w 377368"/>
                <a:gd name="connsiteY381" fmla="*/ 49811 h 161913"/>
                <a:gd name="connsiteX382" fmla="*/ 12900 w 377368"/>
                <a:gd name="connsiteY382" fmla="*/ 48615 h 161913"/>
                <a:gd name="connsiteX383" fmla="*/ 12932 w 377368"/>
                <a:gd name="connsiteY383" fmla="*/ 46876 h 161913"/>
                <a:gd name="connsiteX384" fmla="*/ 15176 w 377368"/>
                <a:gd name="connsiteY384" fmla="*/ 44900 h 161913"/>
                <a:gd name="connsiteX385" fmla="*/ 17214 w 377368"/>
                <a:gd name="connsiteY385" fmla="*/ 43467 h 161913"/>
                <a:gd name="connsiteX386" fmla="*/ 23247 w 377368"/>
                <a:gd name="connsiteY386" fmla="*/ 40868 h 161913"/>
                <a:gd name="connsiteX387" fmla="*/ 24835 w 377368"/>
                <a:gd name="connsiteY387" fmla="*/ 38709 h 161913"/>
                <a:gd name="connsiteX388" fmla="*/ 20103 w 377368"/>
                <a:gd name="connsiteY388" fmla="*/ 38761 h 161913"/>
                <a:gd name="connsiteX389" fmla="*/ 15301 w 377368"/>
                <a:gd name="connsiteY389" fmla="*/ 39241 h 161913"/>
                <a:gd name="connsiteX390" fmla="*/ 12278 w 377368"/>
                <a:gd name="connsiteY390" fmla="*/ 38934 h 161913"/>
                <a:gd name="connsiteX391" fmla="*/ 9652 w 377368"/>
                <a:gd name="connsiteY391" fmla="*/ 39110 h 161913"/>
                <a:gd name="connsiteX392" fmla="*/ 8818 w 377368"/>
                <a:gd name="connsiteY392" fmla="*/ 37220 h 161913"/>
                <a:gd name="connsiteX393" fmla="*/ 8182 w 377368"/>
                <a:gd name="connsiteY393" fmla="*/ 36083 h 161913"/>
                <a:gd name="connsiteX394" fmla="*/ 8862 w 377368"/>
                <a:gd name="connsiteY394" fmla="*/ 35728 h 161913"/>
                <a:gd name="connsiteX395" fmla="*/ 9734 w 377368"/>
                <a:gd name="connsiteY395" fmla="*/ 35482 h 161913"/>
                <a:gd name="connsiteX396" fmla="*/ 11276 w 377368"/>
                <a:gd name="connsiteY396" fmla="*/ 33464 h 161913"/>
                <a:gd name="connsiteX397" fmla="*/ 12653 w 377368"/>
                <a:gd name="connsiteY397" fmla="*/ 31974 h 161913"/>
                <a:gd name="connsiteX398" fmla="*/ 14640 w 377368"/>
                <a:gd name="connsiteY398" fmla="*/ 30100 h 161913"/>
                <a:gd name="connsiteX399" fmla="*/ 15150 w 377368"/>
                <a:gd name="connsiteY399" fmla="*/ 28981 h 161913"/>
                <a:gd name="connsiteX400" fmla="*/ 15150 w 377368"/>
                <a:gd name="connsiteY400" fmla="*/ 27936 h 161913"/>
                <a:gd name="connsiteX401" fmla="*/ 14675 w 377368"/>
                <a:gd name="connsiteY401" fmla="*/ 27211 h 161913"/>
                <a:gd name="connsiteX402" fmla="*/ 14582 w 377368"/>
                <a:gd name="connsiteY402" fmla="*/ 26350 h 161913"/>
                <a:gd name="connsiteX403" fmla="*/ 14522 w 377368"/>
                <a:gd name="connsiteY403" fmla="*/ 25132 h 161913"/>
                <a:gd name="connsiteX404" fmla="*/ 14632 w 377368"/>
                <a:gd name="connsiteY404" fmla="*/ 22616 h 161913"/>
                <a:gd name="connsiteX405" fmla="*/ 19181 w 377368"/>
                <a:gd name="connsiteY405" fmla="*/ 19863 h 161913"/>
                <a:gd name="connsiteX406" fmla="*/ 20639 w 377368"/>
                <a:gd name="connsiteY406" fmla="*/ 19572 h 161913"/>
                <a:gd name="connsiteX407" fmla="*/ 21138 w 377368"/>
                <a:gd name="connsiteY407" fmla="*/ 18316 h 161913"/>
                <a:gd name="connsiteX408" fmla="*/ 20803 w 377368"/>
                <a:gd name="connsiteY408" fmla="*/ 15399 h 161913"/>
                <a:gd name="connsiteX409" fmla="*/ 20175 w 377368"/>
                <a:gd name="connsiteY409" fmla="*/ 13043 h 161913"/>
                <a:gd name="connsiteX410" fmla="*/ 19360 w 377368"/>
                <a:gd name="connsiteY410" fmla="*/ 12885 h 161913"/>
                <a:gd name="connsiteX411" fmla="*/ 18266 w 377368"/>
                <a:gd name="connsiteY411" fmla="*/ 12197 h 161913"/>
                <a:gd name="connsiteX412" fmla="*/ 17547 w 377368"/>
                <a:gd name="connsiteY412" fmla="*/ 11400 h 161913"/>
                <a:gd name="connsiteX413" fmla="*/ 16398 w 377368"/>
                <a:gd name="connsiteY413" fmla="*/ 10527 h 161913"/>
                <a:gd name="connsiteX414" fmla="*/ 14415 w 377368"/>
                <a:gd name="connsiteY414" fmla="*/ 9992 h 161913"/>
                <a:gd name="connsiteX415" fmla="*/ 14351 w 377368"/>
                <a:gd name="connsiteY415" fmla="*/ 9247 h 161913"/>
                <a:gd name="connsiteX416" fmla="*/ 14556 w 377368"/>
                <a:gd name="connsiteY416" fmla="*/ 8502 h 161913"/>
                <a:gd name="connsiteX417" fmla="*/ 15288 w 377368"/>
                <a:gd name="connsiteY417" fmla="*/ 7740 h 161913"/>
                <a:gd name="connsiteX418" fmla="*/ 18629 w 377368"/>
                <a:gd name="connsiteY418" fmla="*/ 7083 h 161913"/>
                <a:gd name="connsiteX419" fmla="*/ 19024 w 377368"/>
                <a:gd name="connsiteY419" fmla="*/ 6545 h 161913"/>
                <a:gd name="connsiteX420" fmla="*/ 19475 w 377368"/>
                <a:gd name="connsiteY420" fmla="*/ 5218 h 161913"/>
                <a:gd name="connsiteX421" fmla="*/ 20138 w 377368"/>
                <a:gd name="connsiteY421" fmla="*/ 3859 h 161913"/>
                <a:gd name="connsiteX422" fmla="*/ 20926 w 377368"/>
                <a:gd name="connsiteY422" fmla="*/ 3409 h 161913"/>
                <a:gd name="connsiteX423" fmla="*/ 22339 w 377368"/>
                <a:gd name="connsiteY423" fmla="*/ 3451 h 161913"/>
                <a:gd name="connsiteX424" fmla="*/ 25018 w 377368"/>
                <a:gd name="connsiteY424" fmla="*/ 3137 h 161913"/>
                <a:gd name="connsiteX425" fmla="*/ 26886 w 377368"/>
                <a:gd name="connsiteY425" fmla="*/ 2694 h 161913"/>
                <a:gd name="connsiteX426" fmla="*/ 28741 w 377368"/>
                <a:gd name="connsiteY426" fmla="*/ 1764 h 161913"/>
                <a:gd name="connsiteX427" fmla="*/ 29691 w 377368"/>
                <a:gd name="connsiteY427" fmla="*/ 920 h 161913"/>
                <a:gd name="connsiteX428" fmla="*/ 33708 w 377368"/>
                <a:gd name="connsiteY428" fmla="*/ 430 h 1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Lst>
              <a:rect l="l" t="t" r="r" b="b"/>
              <a:pathLst>
                <a:path w="377368" h="161913">
                  <a:moveTo>
                    <a:pt x="5515" y="48881"/>
                  </a:moveTo>
                  <a:lnTo>
                    <a:pt x="6812" y="50453"/>
                  </a:lnTo>
                  <a:lnTo>
                    <a:pt x="6657" y="51536"/>
                  </a:lnTo>
                  <a:lnTo>
                    <a:pt x="1576" y="52342"/>
                  </a:lnTo>
                  <a:lnTo>
                    <a:pt x="0" y="51547"/>
                  </a:lnTo>
                  <a:lnTo>
                    <a:pt x="1591" y="49970"/>
                  </a:lnTo>
                  <a:lnTo>
                    <a:pt x="4552" y="48993"/>
                  </a:lnTo>
                  <a:close/>
                  <a:moveTo>
                    <a:pt x="206472" y="797"/>
                  </a:moveTo>
                  <a:lnTo>
                    <a:pt x="209754" y="1746"/>
                  </a:lnTo>
                  <a:lnTo>
                    <a:pt x="209447" y="2756"/>
                  </a:lnTo>
                  <a:lnTo>
                    <a:pt x="208851" y="3619"/>
                  </a:lnTo>
                  <a:lnTo>
                    <a:pt x="209028" y="5367"/>
                  </a:lnTo>
                  <a:lnTo>
                    <a:pt x="210954" y="7931"/>
                  </a:lnTo>
                  <a:lnTo>
                    <a:pt x="212913" y="9676"/>
                  </a:lnTo>
                  <a:lnTo>
                    <a:pt x="218668" y="12177"/>
                  </a:lnTo>
                  <a:lnTo>
                    <a:pt x="226668" y="10067"/>
                  </a:lnTo>
                  <a:lnTo>
                    <a:pt x="227957" y="10303"/>
                  </a:lnTo>
                  <a:lnTo>
                    <a:pt x="229586" y="10892"/>
                  </a:lnTo>
                  <a:lnTo>
                    <a:pt x="232403" y="17660"/>
                  </a:lnTo>
                  <a:lnTo>
                    <a:pt x="234597" y="20048"/>
                  </a:lnTo>
                  <a:lnTo>
                    <a:pt x="237404" y="21671"/>
                  </a:lnTo>
                  <a:lnTo>
                    <a:pt x="239711" y="21990"/>
                  </a:lnTo>
                  <a:lnTo>
                    <a:pt x="241423" y="20297"/>
                  </a:lnTo>
                  <a:lnTo>
                    <a:pt x="242749" y="19615"/>
                  </a:lnTo>
                  <a:lnTo>
                    <a:pt x="245638" y="19326"/>
                  </a:lnTo>
                  <a:lnTo>
                    <a:pt x="250376" y="21650"/>
                  </a:lnTo>
                  <a:lnTo>
                    <a:pt x="252017" y="24048"/>
                  </a:lnTo>
                  <a:lnTo>
                    <a:pt x="260083" y="25900"/>
                  </a:lnTo>
                  <a:lnTo>
                    <a:pt x="267483" y="26827"/>
                  </a:lnTo>
                  <a:lnTo>
                    <a:pt x="270676" y="28854"/>
                  </a:lnTo>
                  <a:lnTo>
                    <a:pt x="281091" y="30889"/>
                  </a:lnTo>
                  <a:lnTo>
                    <a:pt x="284980" y="30573"/>
                  </a:lnTo>
                  <a:lnTo>
                    <a:pt x="291508" y="28438"/>
                  </a:lnTo>
                  <a:lnTo>
                    <a:pt x="304205" y="26102"/>
                  </a:lnTo>
                  <a:lnTo>
                    <a:pt x="312642" y="29363"/>
                  </a:lnTo>
                  <a:lnTo>
                    <a:pt x="314924" y="29786"/>
                  </a:lnTo>
                  <a:lnTo>
                    <a:pt x="316894" y="29505"/>
                  </a:lnTo>
                  <a:lnTo>
                    <a:pt x="319729" y="30402"/>
                  </a:lnTo>
                  <a:lnTo>
                    <a:pt x="322754" y="29920"/>
                  </a:lnTo>
                  <a:lnTo>
                    <a:pt x="332091" y="26076"/>
                  </a:lnTo>
                  <a:lnTo>
                    <a:pt x="335011" y="23895"/>
                  </a:lnTo>
                  <a:lnTo>
                    <a:pt x="338105" y="23331"/>
                  </a:lnTo>
                  <a:lnTo>
                    <a:pt x="340850" y="22024"/>
                  </a:lnTo>
                  <a:lnTo>
                    <a:pt x="348164" y="17738"/>
                  </a:lnTo>
                  <a:lnTo>
                    <a:pt x="350280" y="15259"/>
                  </a:lnTo>
                  <a:lnTo>
                    <a:pt x="351751" y="15792"/>
                  </a:lnTo>
                  <a:lnTo>
                    <a:pt x="354519" y="16471"/>
                  </a:lnTo>
                  <a:lnTo>
                    <a:pt x="356236" y="17292"/>
                  </a:lnTo>
                  <a:lnTo>
                    <a:pt x="357212" y="17507"/>
                  </a:lnTo>
                  <a:lnTo>
                    <a:pt x="359473" y="15835"/>
                  </a:lnTo>
                  <a:lnTo>
                    <a:pt x="362833" y="15877"/>
                  </a:lnTo>
                  <a:lnTo>
                    <a:pt x="365782" y="16071"/>
                  </a:lnTo>
                  <a:lnTo>
                    <a:pt x="367305" y="16381"/>
                  </a:lnTo>
                  <a:lnTo>
                    <a:pt x="369170" y="16936"/>
                  </a:lnTo>
                  <a:lnTo>
                    <a:pt x="371427" y="17310"/>
                  </a:lnTo>
                  <a:lnTo>
                    <a:pt x="372345" y="16511"/>
                  </a:lnTo>
                  <a:lnTo>
                    <a:pt x="373660" y="14154"/>
                  </a:lnTo>
                  <a:lnTo>
                    <a:pt x="374169" y="13852"/>
                  </a:lnTo>
                  <a:lnTo>
                    <a:pt x="374532" y="13637"/>
                  </a:lnTo>
                  <a:lnTo>
                    <a:pt x="376203" y="13454"/>
                  </a:lnTo>
                  <a:lnTo>
                    <a:pt x="377368" y="13587"/>
                  </a:lnTo>
                  <a:lnTo>
                    <a:pt x="377368" y="123278"/>
                  </a:lnTo>
                  <a:lnTo>
                    <a:pt x="375165" y="125986"/>
                  </a:lnTo>
                  <a:lnTo>
                    <a:pt x="371194" y="129056"/>
                  </a:lnTo>
                  <a:lnTo>
                    <a:pt x="369052" y="129568"/>
                  </a:lnTo>
                  <a:lnTo>
                    <a:pt x="368032" y="126487"/>
                  </a:lnTo>
                  <a:lnTo>
                    <a:pt x="367052" y="125290"/>
                  </a:lnTo>
                  <a:lnTo>
                    <a:pt x="366588" y="125146"/>
                  </a:lnTo>
                  <a:lnTo>
                    <a:pt x="365597" y="124762"/>
                  </a:lnTo>
                  <a:lnTo>
                    <a:pt x="364826" y="124983"/>
                  </a:lnTo>
                  <a:lnTo>
                    <a:pt x="362437" y="127087"/>
                  </a:lnTo>
                  <a:lnTo>
                    <a:pt x="358611" y="128351"/>
                  </a:lnTo>
                  <a:lnTo>
                    <a:pt x="355443" y="129122"/>
                  </a:lnTo>
                  <a:lnTo>
                    <a:pt x="350401" y="130063"/>
                  </a:lnTo>
                  <a:lnTo>
                    <a:pt x="346510" y="130530"/>
                  </a:lnTo>
                  <a:lnTo>
                    <a:pt x="344853" y="130567"/>
                  </a:lnTo>
                  <a:lnTo>
                    <a:pt x="341260" y="130146"/>
                  </a:lnTo>
                  <a:lnTo>
                    <a:pt x="338093" y="129554"/>
                  </a:lnTo>
                  <a:lnTo>
                    <a:pt x="334925" y="129580"/>
                  </a:lnTo>
                  <a:lnTo>
                    <a:pt x="332493" y="129845"/>
                  </a:lnTo>
                  <a:lnTo>
                    <a:pt x="326848" y="132105"/>
                  </a:lnTo>
                  <a:lnTo>
                    <a:pt x="317252" y="136751"/>
                  </a:lnTo>
                  <a:lnTo>
                    <a:pt x="309958" y="138971"/>
                  </a:lnTo>
                  <a:lnTo>
                    <a:pt x="305866" y="139894"/>
                  </a:lnTo>
                  <a:lnTo>
                    <a:pt x="302663" y="140418"/>
                  </a:lnTo>
                  <a:lnTo>
                    <a:pt x="297174" y="140444"/>
                  </a:lnTo>
                  <a:lnTo>
                    <a:pt x="292708" y="140086"/>
                  </a:lnTo>
                  <a:lnTo>
                    <a:pt x="289616" y="140126"/>
                  </a:lnTo>
                  <a:lnTo>
                    <a:pt x="287898" y="139568"/>
                  </a:lnTo>
                  <a:lnTo>
                    <a:pt x="285447" y="137690"/>
                  </a:lnTo>
                  <a:lnTo>
                    <a:pt x="282477" y="135832"/>
                  </a:lnTo>
                  <a:lnTo>
                    <a:pt x="281156" y="135400"/>
                  </a:lnTo>
                  <a:lnTo>
                    <a:pt x="279428" y="135042"/>
                  </a:lnTo>
                  <a:lnTo>
                    <a:pt x="276904" y="134833"/>
                  </a:lnTo>
                  <a:lnTo>
                    <a:pt x="270601" y="137550"/>
                  </a:lnTo>
                  <a:lnTo>
                    <a:pt x="268640" y="138287"/>
                  </a:lnTo>
                  <a:lnTo>
                    <a:pt x="266481" y="138843"/>
                  </a:lnTo>
                  <a:lnTo>
                    <a:pt x="262130" y="140501"/>
                  </a:lnTo>
                  <a:lnTo>
                    <a:pt x="260201" y="141389"/>
                  </a:lnTo>
                  <a:lnTo>
                    <a:pt x="257785" y="141306"/>
                  </a:lnTo>
                  <a:lnTo>
                    <a:pt x="254697" y="141070"/>
                  </a:lnTo>
                  <a:lnTo>
                    <a:pt x="252017" y="141153"/>
                  </a:lnTo>
                  <a:lnTo>
                    <a:pt x="250229" y="139891"/>
                  </a:lnTo>
                  <a:lnTo>
                    <a:pt x="249266" y="138469"/>
                  </a:lnTo>
                  <a:lnTo>
                    <a:pt x="245613" y="137599"/>
                  </a:lnTo>
                  <a:lnTo>
                    <a:pt x="243004" y="137349"/>
                  </a:lnTo>
                  <a:lnTo>
                    <a:pt x="242337" y="137980"/>
                  </a:lnTo>
                  <a:lnTo>
                    <a:pt x="241639" y="139917"/>
                  </a:lnTo>
                  <a:lnTo>
                    <a:pt x="240529" y="144861"/>
                  </a:lnTo>
                  <a:lnTo>
                    <a:pt x="240326" y="146100"/>
                  </a:lnTo>
                  <a:lnTo>
                    <a:pt x="242624" y="151006"/>
                  </a:lnTo>
                  <a:lnTo>
                    <a:pt x="242520" y="151753"/>
                  </a:lnTo>
                  <a:lnTo>
                    <a:pt x="240877" y="152007"/>
                  </a:lnTo>
                  <a:lnTo>
                    <a:pt x="238990" y="152089"/>
                  </a:lnTo>
                  <a:lnTo>
                    <a:pt x="237761" y="152525"/>
                  </a:lnTo>
                  <a:lnTo>
                    <a:pt x="236742" y="153339"/>
                  </a:lnTo>
                  <a:lnTo>
                    <a:pt x="236126" y="157574"/>
                  </a:lnTo>
                  <a:lnTo>
                    <a:pt x="233943" y="158351"/>
                  </a:lnTo>
                  <a:lnTo>
                    <a:pt x="232907" y="159238"/>
                  </a:lnTo>
                  <a:lnTo>
                    <a:pt x="231838" y="161852"/>
                  </a:lnTo>
                  <a:lnTo>
                    <a:pt x="231257" y="161913"/>
                  </a:lnTo>
                  <a:lnTo>
                    <a:pt x="227724" y="159932"/>
                  </a:lnTo>
                  <a:lnTo>
                    <a:pt x="226068" y="159768"/>
                  </a:lnTo>
                  <a:lnTo>
                    <a:pt x="227489" y="157709"/>
                  </a:lnTo>
                  <a:lnTo>
                    <a:pt x="225945" y="153646"/>
                  </a:lnTo>
                  <a:lnTo>
                    <a:pt x="224260" y="149834"/>
                  </a:lnTo>
                  <a:lnTo>
                    <a:pt x="225850" y="147393"/>
                  </a:lnTo>
                  <a:lnTo>
                    <a:pt x="229143" y="144446"/>
                  </a:lnTo>
                  <a:lnTo>
                    <a:pt x="232609" y="140992"/>
                  </a:lnTo>
                  <a:lnTo>
                    <a:pt x="232602" y="138859"/>
                  </a:lnTo>
                  <a:lnTo>
                    <a:pt x="232423" y="137230"/>
                  </a:lnTo>
                  <a:lnTo>
                    <a:pt x="231430" y="136103"/>
                  </a:lnTo>
                  <a:lnTo>
                    <a:pt x="229523" y="134604"/>
                  </a:lnTo>
                  <a:lnTo>
                    <a:pt x="226331" y="136204"/>
                  </a:lnTo>
                  <a:lnTo>
                    <a:pt x="224053" y="137970"/>
                  </a:lnTo>
                  <a:lnTo>
                    <a:pt x="222565" y="138328"/>
                  </a:lnTo>
                  <a:lnTo>
                    <a:pt x="220948" y="139334"/>
                  </a:lnTo>
                  <a:lnTo>
                    <a:pt x="220162" y="141149"/>
                  </a:lnTo>
                  <a:lnTo>
                    <a:pt x="218212" y="142563"/>
                  </a:lnTo>
                  <a:lnTo>
                    <a:pt x="215023" y="143116"/>
                  </a:lnTo>
                  <a:lnTo>
                    <a:pt x="210224" y="141604"/>
                  </a:lnTo>
                  <a:lnTo>
                    <a:pt x="205072" y="139300"/>
                  </a:lnTo>
                  <a:lnTo>
                    <a:pt x="202155" y="137432"/>
                  </a:lnTo>
                  <a:lnTo>
                    <a:pt x="199775" y="136987"/>
                  </a:lnTo>
                  <a:lnTo>
                    <a:pt x="197514" y="137808"/>
                  </a:lnTo>
                  <a:lnTo>
                    <a:pt x="190842" y="142381"/>
                  </a:lnTo>
                  <a:lnTo>
                    <a:pt x="184735" y="149053"/>
                  </a:lnTo>
                  <a:lnTo>
                    <a:pt x="183219" y="150205"/>
                  </a:lnTo>
                  <a:lnTo>
                    <a:pt x="177466" y="153067"/>
                  </a:lnTo>
                  <a:lnTo>
                    <a:pt x="173664" y="154027"/>
                  </a:lnTo>
                  <a:lnTo>
                    <a:pt x="171874" y="153804"/>
                  </a:lnTo>
                  <a:lnTo>
                    <a:pt x="164305" y="155063"/>
                  </a:lnTo>
                  <a:lnTo>
                    <a:pt x="160546" y="155247"/>
                  </a:lnTo>
                  <a:lnTo>
                    <a:pt x="157568" y="156757"/>
                  </a:lnTo>
                  <a:lnTo>
                    <a:pt x="151796" y="155120"/>
                  </a:lnTo>
                  <a:lnTo>
                    <a:pt x="148345" y="153025"/>
                  </a:lnTo>
                  <a:lnTo>
                    <a:pt x="146268" y="150896"/>
                  </a:lnTo>
                  <a:lnTo>
                    <a:pt x="142880" y="146310"/>
                  </a:lnTo>
                  <a:lnTo>
                    <a:pt x="140478" y="144127"/>
                  </a:lnTo>
                  <a:lnTo>
                    <a:pt x="135082" y="142163"/>
                  </a:lnTo>
                  <a:lnTo>
                    <a:pt x="125676" y="137386"/>
                  </a:lnTo>
                  <a:lnTo>
                    <a:pt x="123201" y="136862"/>
                  </a:lnTo>
                  <a:lnTo>
                    <a:pt x="116781" y="136177"/>
                  </a:lnTo>
                  <a:lnTo>
                    <a:pt x="110010" y="135745"/>
                  </a:lnTo>
                  <a:lnTo>
                    <a:pt x="108638" y="137485"/>
                  </a:lnTo>
                  <a:lnTo>
                    <a:pt x="108118" y="144367"/>
                  </a:lnTo>
                  <a:lnTo>
                    <a:pt x="106958" y="146260"/>
                  </a:lnTo>
                  <a:lnTo>
                    <a:pt x="106462" y="149821"/>
                  </a:lnTo>
                  <a:lnTo>
                    <a:pt x="105632" y="150846"/>
                  </a:lnTo>
                  <a:lnTo>
                    <a:pt x="104332" y="151519"/>
                  </a:lnTo>
                  <a:lnTo>
                    <a:pt x="102300" y="150395"/>
                  </a:lnTo>
                  <a:lnTo>
                    <a:pt x="100890" y="149899"/>
                  </a:lnTo>
                  <a:lnTo>
                    <a:pt x="97608" y="151364"/>
                  </a:lnTo>
                  <a:lnTo>
                    <a:pt x="91108" y="153419"/>
                  </a:lnTo>
                  <a:lnTo>
                    <a:pt x="88893" y="153706"/>
                  </a:lnTo>
                  <a:lnTo>
                    <a:pt x="81359" y="151125"/>
                  </a:lnTo>
                  <a:lnTo>
                    <a:pt x="78601" y="149465"/>
                  </a:lnTo>
                  <a:lnTo>
                    <a:pt x="76824" y="147624"/>
                  </a:lnTo>
                  <a:lnTo>
                    <a:pt x="76224" y="144512"/>
                  </a:lnTo>
                  <a:lnTo>
                    <a:pt x="75105" y="142739"/>
                  </a:lnTo>
                  <a:lnTo>
                    <a:pt x="74941" y="141521"/>
                  </a:lnTo>
                  <a:lnTo>
                    <a:pt x="74503" y="140117"/>
                  </a:lnTo>
                  <a:lnTo>
                    <a:pt x="72985" y="139562"/>
                  </a:lnTo>
                  <a:lnTo>
                    <a:pt x="71354" y="140621"/>
                  </a:lnTo>
                  <a:lnTo>
                    <a:pt x="69607" y="140578"/>
                  </a:lnTo>
                  <a:lnTo>
                    <a:pt x="67413" y="139929"/>
                  </a:lnTo>
                  <a:lnTo>
                    <a:pt x="62237" y="137317"/>
                  </a:lnTo>
                  <a:lnTo>
                    <a:pt x="58260" y="137110"/>
                  </a:lnTo>
                  <a:lnTo>
                    <a:pt x="55869" y="140298"/>
                  </a:lnTo>
                  <a:lnTo>
                    <a:pt x="54010" y="141311"/>
                  </a:lnTo>
                  <a:lnTo>
                    <a:pt x="51974" y="141614"/>
                  </a:lnTo>
                  <a:lnTo>
                    <a:pt x="51857" y="140707"/>
                  </a:lnTo>
                  <a:lnTo>
                    <a:pt x="53401" y="138645"/>
                  </a:lnTo>
                  <a:lnTo>
                    <a:pt x="47206" y="139026"/>
                  </a:lnTo>
                  <a:lnTo>
                    <a:pt x="43935" y="140596"/>
                  </a:lnTo>
                  <a:lnTo>
                    <a:pt x="41382" y="140352"/>
                  </a:lnTo>
                  <a:lnTo>
                    <a:pt x="39469" y="139643"/>
                  </a:lnTo>
                  <a:lnTo>
                    <a:pt x="39756" y="138775"/>
                  </a:lnTo>
                  <a:lnTo>
                    <a:pt x="41697" y="138457"/>
                  </a:lnTo>
                  <a:lnTo>
                    <a:pt x="43381" y="137752"/>
                  </a:lnTo>
                  <a:lnTo>
                    <a:pt x="50095" y="137178"/>
                  </a:lnTo>
                  <a:lnTo>
                    <a:pt x="51663" y="136601"/>
                  </a:lnTo>
                  <a:lnTo>
                    <a:pt x="53380" y="134358"/>
                  </a:lnTo>
                  <a:lnTo>
                    <a:pt x="56506" y="132423"/>
                  </a:lnTo>
                  <a:lnTo>
                    <a:pt x="56903" y="131592"/>
                  </a:lnTo>
                  <a:lnTo>
                    <a:pt x="54500" y="131581"/>
                  </a:lnTo>
                  <a:lnTo>
                    <a:pt x="44211" y="132143"/>
                  </a:lnTo>
                  <a:lnTo>
                    <a:pt x="37147" y="131833"/>
                  </a:lnTo>
                  <a:lnTo>
                    <a:pt x="36310" y="132792"/>
                  </a:lnTo>
                  <a:lnTo>
                    <a:pt x="35247" y="132927"/>
                  </a:lnTo>
                  <a:lnTo>
                    <a:pt x="34954" y="130317"/>
                  </a:lnTo>
                  <a:lnTo>
                    <a:pt x="36070" y="129104"/>
                  </a:lnTo>
                  <a:lnTo>
                    <a:pt x="37573" y="129216"/>
                  </a:lnTo>
                  <a:lnTo>
                    <a:pt x="41263" y="128161"/>
                  </a:lnTo>
                  <a:lnTo>
                    <a:pt x="40933" y="125989"/>
                  </a:lnTo>
                  <a:lnTo>
                    <a:pt x="38290" y="124521"/>
                  </a:lnTo>
                  <a:lnTo>
                    <a:pt x="37752" y="123655"/>
                  </a:lnTo>
                  <a:lnTo>
                    <a:pt x="35835" y="123452"/>
                  </a:lnTo>
                  <a:lnTo>
                    <a:pt x="34280" y="122419"/>
                  </a:lnTo>
                  <a:lnTo>
                    <a:pt x="33941" y="119810"/>
                  </a:lnTo>
                  <a:lnTo>
                    <a:pt x="32703" y="116943"/>
                  </a:lnTo>
                  <a:lnTo>
                    <a:pt x="30935" y="115556"/>
                  </a:lnTo>
                  <a:lnTo>
                    <a:pt x="31153" y="114794"/>
                  </a:lnTo>
                  <a:lnTo>
                    <a:pt x="34394" y="113829"/>
                  </a:lnTo>
                  <a:lnTo>
                    <a:pt x="35066" y="109813"/>
                  </a:lnTo>
                  <a:lnTo>
                    <a:pt x="34571" y="107345"/>
                  </a:lnTo>
                  <a:lnTo>
                    <a:pt x="32941" y="107135"/>
                  </a:lnTo>
                  <a:lnTo>
                    <a:pt x="28191" y="105185"/>
                  </a:lnTo>
                  <a:lnTo>
                    <a:pt x="26748" y="105393"/>
                  </a:lnTo>
                  <a:lnTo>
                    <a:pt x="25174" y="103250"/>
                  </a:lnTo>
                  <a:lnTo>
                    <a:pt x="22418" y="101709"/>
                  </a:lnTo>
                  <a:lnTo>
                    <a:pt x="21054" y="102273"/>
                  </a:lnTo>
                  <a:lnTo>
                    <a:pt x="20198" y="102969"/>
                  </a:lnTo>
                  <a:lnTo>
                    <a:pt x="18922" y="102635"/>
                  </a:lnTo>
                  <a:lnTo>
                    <a:pt x="16782" y="101298"/>
                  </a:lnTo>
                  <a:lnTo>
                    <a:pt x="14681" y="100575"/>
                  </a:lnTo>
                  <a:lnTo>
                    <a:pt x="13748" y="99683"/>
                  </a:lnTo>
                  <a:lnTo>
                    <a:pt x="14919" y="97296"/>
                  </a:lnTo>
                  <a:lnTo>
                    <a:pt x="16528" y="97353"/>
                  </a:lnTo>
                  <a:lnTo>
                    <a:pt x="16821" y="95481"/>
                  </a:lnTo>
                  <a:lnTo>
                    <a:pt x="15551" y="92359"/>
                  </a:lnTo>
                  <a:lnTo>
                    <a:pt x="15675" y="90755"/>
                  </a:lnTo>
                  <a:lnTo>
                    <a:pt x="17078" y="90316"/>
                  </a:lnTo>
                  <a:lnTo>
                    <a:pt x="18676" y="90618"/>
                  </a:lnTo>
                  <a:lnTo>
                    <a:pt x="20289" y="92485"/>
                  </a:lnTo>
                  <a:lnTo>
                    <a:pt x="20816" y="94290"/>
                  </a:lnTo>
                  <a:lnTo>
                    <a:pt x="20477" y="96048"/>
                  </a:lnTo>
                  <a:lnTo>
                    <a:pt x="21501" y="97749"/>
                  </a:lnTo>
                  <a:lnTo>
                    <a:pt x="22228" y="98179"/>
                  </a:lnTo>
                  <a:lnTo>
                    <a:pt x="22718" y="96388"/>
                  </a:lnTo>
                  <a:lnTo>
                    <a:pt x="23403" y="96048"/>
                  </a:lnTo>
                  <a:lnTo>
                    <a:pt x="24345" y="96830"/>
                  </a:lnTo>
                  <a:lnTo>
                    <a:pt x="26368" y="97222"/>
                  </a:lnTo>
                  <a:lnTo>
                    <a:pt x="31613" y="96122"/>
                  </a:lnTo>
                  <a:lnTo>
                    <a:pt x="32621" y="95190"/>
                  </a:lnTo>
                  <a:lnTo>
                    <a:pt x="28778" y="95295"/>
                  </a:lnTo>
                  <a:lnTo>
                    <a:pt x="27372" y="94423"/>
                  </a:lnTo>
                  <a:lnTo>
                    <a:pt x="25845" y="92471"/>
                  </a:lnTo>
                  <a:lnTo>
                    <a:pt x="24906" y="90697"/>
                  </a:lnTo>
                  <a:lnTo>
                    <a:pt x="24738" y="89826"/>
                  </a:lnTo>
                  <a:lnTo>
                    <a:pt x="24206" y="88552"/>
                  </a:lnTo>
                  <a:lnTo>
                    <a:pt x="24792" y="87870"/>
                  </a:lnTo>
                  <a:lnTo>
                    <a:pt x="27424" y="86846"/>
                  </a:lnTo>
                  <a:lnTo>
                    <a:pt x="29734" y="83978"/>
                  </a:lnTo>
                  <a:lnTo>
                    <a:pt x="28771" y="83147"/>
                  </a:lnTo>
                  <a:lnTo>
                    <a:pt x="27670" y="82754"/>
                  </a:lnTo>
                  <a:lnTo>
                    <a:pt x="26474" y="83046"/>
                  </a:lnTo>
                  <a:lnTo>
                    <a:pt x="25340" y="82063"/>
                  </a:lnTo>
                  <a:lnTo>
                    <a:pt x="25193" y="80695"/>
                  </a:lnTo>
                  <a:lnTo>
                    <a:pt x="26100" y="79588"/>
                  </a:lnTo>
                  <a:lnTo>
                    <a:pt x="26195" y="78064"/>
                  </a:lnTo>
                  <a:lnTo>
                    <a:pt x="23226" y="74309"/>
                  </a:lnTo>
                  <a:lnTo>
                    <a:pt x="22397" y="73491"/>
                  </a:lnTo>
                  <a:lnTo>
                    <a:pt x="23036" y="72262"/>
                  </a:lnTo>
                  <a:lnTo>
                    <a:pt x="25303" y="70203"/>
                  </a:lnTo>
                  <a:lnTo>
                    <a:pt x="27463" y="67652"/>
                  </a:lnTo>
                  <a:lnTo>
                    <a:pt x="27203" y="66812"/>
                  </a:lnTo>
                  <a:lnTo>
                    <a:pt x="25608" y="66469"/>
                  </a:lnTo>
                  <a:lnTo>
                    <a:pt x="18024" y="67564"/>
                  </a:lnTo>
                  <a:lnTo>
                    <a:pt x="15076" y="68515"/>
                  </a:lnTo>
                  <a:lnTo>
                    <a:pt x="9820" y="68948"/>
                  </a:lnTo>
                  <a:lnTo>
                    <a:pt x="9442" y="67562"/>
                  </a:lnTo>
                  <a:lnTo>
                    <a:pt x="9561" y="66311"/>
                  </a:lnTo>
                  <a:lnTo>
                    <a:pt x="10740" y="64032"/>
                  </a:lnTo>
                  <a:lnTo>
                    <a:pt x="10632" y="58406"/>
                  </a:lnTo>
                  <a:lnTo>
                    <a:pt x="11330" y="55351"/>
                  </a:lnTo>
                  <a:lnTo>
                    <a:pt x="14250" y="54441"/>
                  </a:lnTo>
                  <a:lnTo>
                    <a:pt x="17832" y="49945"/>
                  </a:lnTo>
                  <a:lnTo>
                    <a:pt x="23640" y="44639"/>
                  </a:lnTo>
                  <a:lnTo>
                    <a:pt x="29700" y="44741"/>
                  </a:lnTo>
                  <a:lnTo>
                    <a:pt x="32122" y="43275"/>
                  </a:lnTo>
                  <a:lnTo>
                    <a:pt x="35725" y="43189"/>
                  </a:lnTo>
                  <a:lnTo>
                    <a:pt x="36379" y="44255"/>
                  </a:lnTo>
                  <a:lnTo>
                    <a:pt x="36787" y="45275"/>
                  </a:lnTo>
                  <a:lnTo>
                    <a:pt x="39948" y="46739"/>
                  </a:lnTo>
                  <a:lnTo>
                    <a:pt x="45530" y="46507"/>
                  </a:lnTo>
                  <a:lnTo>
                    <a:pt x="46886" y="45930"/>
                  </a:lnTo>
                  <a:lnTo>
                    <a:pt x="48195" y="45123"/>
                  </a:lnTo>
                  <a:lnTo>
                    <a:pt x="45614" y="42512"/>
                  </a:lnTo>
                  <a:lnTo>
                    <a:pt x="46439" y="41775"/>
                  </a:lnTo>
                  <a:lnTo>
                    <a:pt x="48778" y="41688"/>
                  </a:lnTo>
                  <a:lnTo>
                    <a:pt x="51313" y="42303"/>
                  </a:lnTo>
                  <a:lnTo>
                    <a:pt x="51430" y="42901"/>
                  </a:lnTo>
                  <a:lnTo>
                    <a:pt x="50756" y="43721"/>
                  </a:lnTo>
                  <a:lnTo>
                    <a:pt x="49972" y="45157"/>
                  </a:lnTo>
                  <a:lnTo>
                    <a:pt x="50717" y="45433"/>
                  </a:lnTo>
                  <a:lnTo>
                    <a:pt x="57936" y="44566"/>
                  </a:lnTo>
                  <a:lnTo>
                    <a:pt x="65481" y="45261"/>
                  </a:lnTo>
                  <a:lnTo>
                    <a:pt x="67882" y="44884"/>
                  </a:lnTo>
                  <a:lnTo>
                    <a:pt x="73814" y="44913"/>
                  </a:lnTo>
                  <a:lnTo>
                    <a:pt x="74876" y="44012"/>
                  </a:lnTo>
                  <a:lnTo>
                    <a:pt x="73082" y="42881"/>
                  </a:lnTo>
                  <a:lnTo>
                    <a:pt x="71326" y="42488"/>
                  </a:lnTo>
                  <a:lnTo>
                    <a:pt x="70145" y="41936"/>
                  </a:lnTo>
                  <a:lnTo>
                    <a:pt x="68966" y="41136"/>
                  </a:lnTo>
                  <a:lnTo>
                    <a:pt x="72728" y="38606"/>
                  </a:lnTo>
                  <a:lnTo>
                    <a:pt x="74852" y="38119"/>
                  </a:lnTo>
                  <a:lnTo>
                    <a:pt x="84881" y="36564"/>
                  </a:lnTo>
                  <a:lnTo>
                    <a:pt x="92339" y="35785"/>
                  </a:lnTo>
                  <a:lnTo>
                    <a:pt x="92434" y="35207"/>
                  </a:lnTo>
                  <a:lnTo>
                    <a:pt x="91359" y="35206"/>
                  </a:lnTo>
                  <a:lnTo>
                    <a:pt x="81721" y="33916"/>
                  </a:lnTo>
                  <a:lnTo>
                    <a:pt x="79400" y="32917"/>
                  </a:lnTo>
                  <a:lnTo>
                    <a:pt x="76174" y="30538"/>
                  </a:lnTo>
                  <a:lnTo>
                    <a:pt x="75474" y="29865"/>
                  </a:lnTo>
                  <a:lnTo>
                    <a:pt x="74662" y="28704"/>
                  </a:lnTo>
                  <a:lnTo>
                    <a:pt x="75146" y="26228"/>
                  </a:lnTo>
                  <a:lnTo>
                    <a:pt x="75742" y="24237"/>
                  </a:lnTo>
                  <a:lnTo>
                    <a:pt x="76932" y="23083"/>
                  </a:lnTo>
                  <a:lnTo>
                    <a:pt x="80782" y="22907"/>
                  </a:lnTo>
                  <a:lnTo>
                    <a:pt x="93985" y="24933"/>
                  </a:lnTo>
                  <a:lnTo>
                    <a:pt x="103395" y="23719"/>
                  </a:lnTo>
                  <a:lnTo>
                    <a:pt x="113680" y="26670"/>
                  </a:lnTo>
                  <a:lnTo>
                    <a:pt x="123516" y="26071"/>
                  </a:lnTo>
                  <a:lnTo>
                    <a:pt x="125546" y="24746"/>
                  </a:lnTo>
                  <a:lnTo>
                    <a:pt x="128008" y="20473"/>
                  </a:lnTo>
                  <a:lnTo>
                    <a:pt x="141904" y="13362"/>
                  </a:lnTo>
                  <a:lnTo>
                    <a:pt x="146769" y="9647"/>
                  </a:lnTo>
                  <a:lnTo>
                    <a:pt x="151981" y="7613"/>
                  </a:lnTo>
                  <a:lnTo>
                    <a:pt x="160925" y="5350"/>
                  </a:lnTo>
                  <a:lnTo>
                    <a:pt x="168401" y="2356"/>
                  </a:lnTo>
                  <a:lnTo>
                    <a:pt x="170537" y="2011"/>
                  </a:lnTo>
                  <a:lnTo>
                    <a:pt x="188484" y="3441"/>
                  </a:lnTo>
                  <a:lnTo>
                    <a:pt x="200812" y="3623"/>
                  </a:lnTo>
                  <a:close/>
                  <a:moveTo>
                    <a:pt x="34835" y="0"/>
                  </a:moveTo>
                  <a:lnTo>
                    <a:pt x="35953" y="365"/>
                  </a:lnTo>
                  <a:lnTo>
                    <a:pt x="37456" y="1812"/>
                  </a:lnTo>
                  <a:lnTo>
                    <a:pt x="39931" y="3887"/>
                  </a:lnTo>
                  <a:lnTo>
                    <a:pt x="41259" y="4579"/>
                  </a:lnTo>
                  <a:lnTo>
                    <a:pt x="42254" y="4258"/>
                  </a:lnTo>
                  <a:lnTo>
                    <a:pt x="44051" y="3504"/>
                  </a:lnTo>
                  <a:lnTo>
                    <a:pt x="45770" y="3498"/>
                  </a:lnTo>
                  <a:lnTo>
                    <a:pt x="47158" y="3631"/>
                  </a:lnTo>
                  <a:lnTo>
                    <a:pt x="47828" y="2974"/>
                  </a:lnTo>
                  <a:lnTo>
                    <a:pt x="48873" y="2833"/>
                  </a:lnTo>
                  <a:lnTo>
                    <a:pt x="51864" y="3299"/>
                  </a:lnTo>
                  <a:lnTo>
                    <a:pt x="51264" y="6327"/>
                  </a:lnTo>
                  <a:lnTo>
                    <a:pt x="52656" y="9659"/>
                  </a:lnTo>
                  <a:lnTo>
                    <a:pt x="55919" y="14280"/>
                  </a:lnTo>
                  <a:lnTo>
                    <a:pt x="59203" y="16609"/>
                  </a:lnTo>
                  <a:lnTo>
                    <a:pt x="72479" y="22362"/>
                  </a:lnTo>
                  <a:lnTo>
                    <a:pt x="74922" y="22853"/>
                  </a:lnTo>
                  <a:lnTo>
                    <a:pt x="74367" y="25206"/>
                  </a:lnTo>
                  <a:lnTo>
                    <a:pt x="73568" y="27295"/>
                  </a:lnTo>
                  <a:lnTo>
                    <a:pt x="72689" y="28688"/>
                  </a:lnTo>
                  <a:lnTo>
                    <a:pt x="68800" y="29583"/>
                  </a:lnTo>
                  <a:lnTo>
                    <a:pt x="58065" y="27022"/>
                  </a:lnTo>
                  <a:lnTo>
                    <a:pt x="55351" y="26780"/>
                  </a:lnTo>
                  <a:lnTo>
                    <a:pt x="53436" y="27290"/>
                  </a:lnTo>
                  <a:lnTo>
                    <a:pt x="49890" y="29151"/>
                  </a:lnTo>
                  <a:lnTo>
                    <a:pt x="45958" y="28554"/>
                  </a:lnTo>
                  <a:lnTo>
                    <a:pt x="40475" y="29610"/>
                  </a:lnTo>
                  <a:lnTo>
                    <a:pt x="38944" y="33111"/>
                  </a:lnTo>
                  <a:lnTo>
                    <a:pt x="35137" y="37117"/>
                  </a:lnTo>
                  <a:lnTo>
                    <a:pt x="28871" y="40350"/>
                  </a:lnTo>
                  <a:lnTo>
                    <a:pt x="24392" y="42078"/>
                  </a:lnTo>
                  <a:lnTo>
                    <a:pt x="17668" y="48267"/>
                  </a:lnTo>
                  <a:lnTo>
                    <a:pt x="14617" y="51874"/>
                  </a:lnTo>
                  <a:lnTo>
                    <a:pt x="13329" y="52573"/>
                  </a:lnTo>
                  <a:lnTo>
                    <a:pt x="11803" y="53126"/>
                  </a:lnTo>
                  <a:lnTo>
                    <a:pt x="12317" y="51396"/>
                  </a:lnTo>
                  <a:lnTo>
                    <a:pt x="13072" y="49811"/>
                  </a:lnTo>
                  <a:lnTo>
                    <a:pt x="12900" y="48615"/>
                  </a:lnTo>
                  <a:lnTo>
                    <a:pt x="12932" y="46876"/>
                  </a:lnTo>
                  <a:lnTo>
                    <a:pt x="15176" y="44900"/>
                  </a:lnTo>
                  <a:lnTo>
                    <a:pt x="17214" y="43467"/>
                  </a:lnTo>
                  <a:lnTo>
                    <a:pt x="23247" y="40868"/>
                  </a:lnTo>
                  <a:lnTo>
                    <a:pt x="24835" y="38709"/>
                  </a:lnTo>
                  <a:lnTo>
                    <a:pt x="20103" y="38761"/>
                  </a:lnTo>
                  <a:lnTo>
                    <a:pt x="15301" y="39241"/>
                  </a:lnTo>
                  <a:lnTo>
                    <a:pt x="12278" y="38934"/>
                  </a:lnTo>
                  <a:lnTo>
                    <a:pt x="9652" y="39110"/>
                  </a:lnTo>
                  <a:lnTo>
                    <a:pt x="8818" y="37220"/>
                  </a:lnTo>
                  <a:lnTo>
                    <a:pt x="8182" y="36083"/>
                  </a:lnTo>
                  <a:lnTo>
                    <a:pt x="8862" y="35728"/>
                  </a:lnTo>
                  <a:lnTo>
                    <a:pt x="9734" y="35482"/>
                  </a:lnTo>
                  <a:lnTo>
                    <a:pt x="11276" y="33464"/>
                  </a:lnTo>
                  <a:lnTo>
                    <a:pt x="12653" y="31974"/>
                  </a:lnTo>
                  <a:lnTo>
                    <a:pt x="14640" y="30100"/>
                  </a:lnTo>
                  <a:lnTo>
                    <a:pt x="15150" y="28981"/>
                  </a:lnTo>
                  <a:lnTo>
                    <a:pt x="15150" y="27936"/>
                  </a:lnTo>
                  <a:lnTo>
                    <a:pt x="14675" y="27211"/>
                  </a:lnTo>
                  <a:lnTo>
                    <a:pt x="14582" y="26350"/>
                  </a:lnTo>
                  <a:lnTo>
                    <a:pt x="14522" y="25132"/>
                  </a:lnTo>
                  <a:lnTo>
                    <a:pt x="14632" y="22616"/>
                  </a:lnTo>
                  <a:lnTo>
                    <a:pt x="19181" y="19863"/>
                  </a:lnTo>
                  <a:lnTo>
                    <a:pt x="20639" y="19572"/>
                  </a:lnTo>
                  <a:lnTo>
                    <a:pt x="21138" y="18316"/>
                  </a:lnTo>
                  <a:lnTo>
                    <a:pt x="20803" y="15399"/>
                  </a:lnTo>
                  <a:lnTo>
                    <a:pt x="20175" y="13043"/>
                  </a:lnTo>
                  <a:lnTo>
                    <a:pt x="19360" y="12885"/>
                  </a:lnTo>
                  <a:lnTo>
                    <a:pt x="18266" y="12197"/>
                  </a:lnTo>
                  <a:lnTo>
                    <a:pt x="17547" y="11400"/>
                  </a:lnTo>
                  <a:lnTo>
                    <a:pt x="16398" y="10527"/>
                  </a:lnTo>
                  <a:lnTo>
                    <a:pt x="14415" y="9992"/>
                  </a:lnTo>
                  <a:lnTo>
                    <a:pt x="14351" y="9247"/>
                  </a:lnTo>
                  <a:lnTo>
                    <a:pt x="14556" y="8502"/>
                  </a:lnTo>
                  <a:lnTo>
                    <a:pt x="15288" y="7740"/>
                  </a:lnTo>
                  <a:lnTo>
                    <a:pt x="18629" y="7083"/>
                  </a:lnTo>
                  <a:lnTo>
                    <a:pt x="19024" y="6545"/>
                  </a:lnTo>
                  <a:lnTo>
                    <a:pt x="19475" y="5218"/>
                  </a:lnTo>
                  <a:lnTo>
                    <a:pt x="20138" y="3859"/>
                  </a:lnTo>
                  <a:lnTo>
                    <a:pt x="20926" y="3409"/>
                  </a:lnTo>
                  <a:lnTo>
                    <a:pt x="22339" y="3451"/>
                  </a:lnTo>
                  <a:lnTo>
                    <a:pt x="25018" y="3137"/>
                  </a:lnTo>
                  <a:lnTo>
                    <a:pt x="26886" y="2694"/>
                  </a:lnTo>
                  <a:lnTo>
                    <a:pt x="28741" y="1764"/>
                  </a:lnTo>
                  <a:lnTo>
                    <a:pt x="29691" y="920"/>
                  </a:lnTo>
                  <a:lnTo>
                    <a:pt x="33708" y="43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1" name="ee4p_RU_1_15912">
              <a:extLst>
                <a:ext uri="{FF2B5EF4-FFF2-40B4-BE49-F238E27FC236}">
                  <a16:creationId xmlns:a16="http://schemas.microsoft.com/office/drawing/2014/main" id="{CFB02A89-584D-D834-6078-8ABF7C95A2E8}"/>
                </a:ext>
              </a:extLst>
            </p:cNvPr>
            <p:cNvSpPr>
              <a:spLocks noChangeAspect="1"/>
            </p:cNvSpPr>
            <p:nvPr>
              <p:custDataLst>
                <p:tags r:id="rId11"/>
              </p:custDataLst>
            </p:nvPr>
          </p:nvSpPr>
          <p:spPr>
            <a:xfrm>
              <a:off x="5490185" y="1888665"/>
              <a:ext cx="2027577" cy="3397460"/>
            </a:xfrm>
            <a:custGeom>
              <a:avLst/>
              <a:gdLst>
                <a:gd name="connsiteX0" fmla="*/ 28644 w 511468"/>
                <a:gd name="connsiteY0" fmla="*/ 509016 h 857029"/>
                <a:gd name="connsiteX1" fmla="*/ 29927 w 511468"/>
                <a:gd name="connsiteY1" fmla="*/ 509255 h 857029"/>
                <a:gd name="connsiteX2" fmla="*/ 27750 w 511468"/>
                <a:gd name="connsiteY2" fmla="*/ 512193 h 857029"/>
                <a:gd name="connsiteX3" fmla="*/ 21900 w 511468"/>
                <a:gd name="connsiteY3" fmla="*/ 518387 h 857029"/>
                <a:gd name="connsiteX4" fmla="*/ 23733 w 511468"/>
                <a:gd name="connsiteY4" fmla="*/ 519208 h 857029"/>
                <a:gd name="connsiteX5" fmla="*/ 25862 w 511468"/>
                <a:gd name="connsiteY5" fmla="*/ 519473 h 857029"/>
                <a:gd name="connsiteX6" fmla="*/ 28372 w 511468"/>
                <a:gd name="connsiteY6" fmla="*/ 520626 h 857029"/>
                <a:gd name="connsiteX7" fmla="*/ 30769 w 511468"/>
                <a:gd name="connsiteY7" fmla="*/ 520834 h 857029"/>
                <a:gd name="connsiteX8" fmla="*/ 35036 w 511468"/>
                <a:gd name="connsiteY8" fmla="*/ 519836 h 857029"/>
                <a:gd name="connsiteX9" fmla="*/ 35787 w 511468"/>
                <a:gd name="connsiteY9" fmla="*/ 514530 h 857029"/>
                <a:gd name="connsiteX10" fmla="*/ 36072 w 511468"/>
                <a:gd name="connsiteY10" fmla="*/ 509712 h 857029"/>
                <a:gd name="connsiteX11" fmla="*/ 37439 w 511468"/>
                <a:gd name="connsiteY11" fmla="*/ 509701 h 857029"/>
                <a:gd name="connsiteX12" fmla="*/ 39467 w 511468"/>
                <a:gd name="connsiteY12" fmla="*/ 509360 h 857029"/>
                <a:gd name="connsiteX13" fmla="*/ 40745 w 511468"/>
                <a:gd name="connsiteY13" fmla="*/ 510627 h 857029"/>
                <a:gd name="connsiteX14" fmla="*/ 43125 w 511468"/>
                <a:gd name="connsiteY14" fmla="*/ 511833 h 857029"/>
                <a:gd name="connsiteX15" fmla="*/ 45955 w 511468"/>
                <a:gd name="connsiteY15" fmla="*/ 512911 h 857029"/>
                <a:gd name="connsiteX16" fmla="*/ 50184 w 511468"/>
                <a:gd name="connsiteY16" fmla="*/ 514747 h 857029"/>
                <a:gd name="connsiteX17" fmla="*/ 54572 w 511468"/>
                <a:gd name="connsiteY17" fmla="*/ 515887 h 857029"/>
                <a:gd name="connsiteX18" fmla="*/ 56020 w 511468"/>
                <a:gd name="connsiteY18" fmla="*/ 516019 h 857029"/>
                <a:gd name="connsiteX19" fmla="*/ 60631 w 511468"/>
                <a:gd name="connsiteY19" fmla="*/ 515869 h 857029"/>
                <a:gd name="connsiteX20" fmla="*/ 65515 w 511468"/>
                <a:gd name="connsiteY20" fmla="*/ 516027 h 857029"/>
                <a:gd name="connsiteX21" fmla="*/ 66846 w 511468"/>
                <a:gd name="connsiteY21" fmla="*/ 518746 h 857029"/>
                <a:gd name="connsiteX22" fmla="*/ 69257 w 511468"/>
                <a:gd name="connsiteY22" fmla="*/ 520031 h 857029"/>
                <a:gd name="connsiteX23" fmla="*/ 71207 w 511468"/>
                <a:gd name="connsiteY23" fmla="*/ 521798 h 857029"/>
                <a:gd name="connsiteX24" fmla="*/ 71352 w 511468"/>
                <a:gd name="connsiteY24" fmla="*/ 522805 h 857029"/>
                <a:gd name="connsiteX25" fmla="*/ 68664 w 511468"/>
                <a:gd name="connsiteY25" fmla="*/ 529110 h 857029"/>
                <a:gd name="connsiteX26" fmla="*/ 68107 w 511468"/>
                <a:gd name="connsiteY26" fmla="*/ 531241 h 857029"/>
                <a:gd name="connsiteX27" fmla="*/ 68005 w 511468"/>
                <a:gd name="connsiteY27" fmla="*/ 533376 h 857029"/>
                <a:gd name="connsiteX28" fmla="*/ 68988 w 511468"/>
                <a:gd name="connsiteY28" fmla="*/ 536043 h 857029"/>
                <a:gd name="connsiteX29" fmla="*/ 69914 w 511468"/>
                <a:gd name="connsiteY29" fmla="*/ 537532 h 857029"/>
                <a:gd name="connsiteX30" fmla="*/ 69154 w 511468"/>
                <a:gd name="connsiteY30" fmla="*/ 537736 h 857029"/>
                <a:gd name="connsiteX31" fmla="*/ 56696 w 511468"/>
                <a:gd name="connsiteY31" fmla="*/ 537438 h 857029"/>
                <a:gd name="connsiteX32" fmla="*/ 44883 w 511468"/>
                <a:gd name="connsiteY32" fmla="*/ 536932 h 857029"/>
                <a:gd name="connsiteX33" fmla="*/ 33967 w 511468"/>
                <a:gd name="connsiteY33" fmla="*/ 536465 h 857029"/>
                <a:gd name="connsiteX34" fmla="*/ 23446 w 511468"/>
                <a:gd name="connsiteY34" fmla="*/ 536012 h 857029"/>
                <a:gd name="connsiteX35" fmla="*/ 13351 w 511468"/>
                <a:gd name="connsiteY35" fmla="*/ 535582 h 857029"/>
                <a:gd name="connsiteX36" fmla="*/ 7074 w 511468"/>
                <a:gd name="connsiteY36" fmla="*/ 535178 h 857029"/>
                <a:gd name="connsiteX37" fmla="*/ 881 w 511468"/>
                <a:gd name="connsiteY37" fmla="*/ 534779 h 857029"/>
                <a:gd name="connsiteX38" fmla="*/ 0 w 511468"/>
                <a:gd name="connsiteY38" fmla="*/ 534410 h 857029"/>
                <a:gd name="connsiteX39" fmla="*/ 3407 w 511468"/>
                <a:gd name="connsiteY39" fmla="*/ 531794 h 857029"/>
                <a:gd name="connsiteX40" fmla="*/ 5627 w 511468"/>
                <a:gd name="connsiteY40" fmla="*/ 529073 h 857029"/>
                <a:gd name="connsiteX41" fmla="*/ 7512 w 511468"/>
                <a:gd name="connsiteY41" fmla="*/ 525517 h 857029"/>
                <a:gd name="connsiteX42" fmla="*/ 7713 w 511468"/>
                <a:gd name="connsiteY42" fmla="*/ 523051 h 857029"/>
                <a:gd name="connsiteX43" fmla="*/ 8184 w 511468"/>
                <a:gd name="connsiteY43" fmla="*/ 520266 h 857029"/>
                <a:gd name="connsiteX44" fmla="*/ 11127 w 511468"/>
                <a:gd name="connsiteY44" fmla="*/ 519182 h 857029"/>
                <a:gd name="connsiteX45" fmla="*/ 17519 w 511468"/>
                <a:gd name="connsiteY45" fmla="*/ 519343 h 857029"/>
                <a:gd name="connsiteX46" fmla="*/ 20252 w 511468"/>
                <a:gd name="connsiteY46" fmla="*/ 518003 h 857029"/>
                <a:gd name="connsiteX47" fmla="*/ 23759 w 511468"/>
                <a:gd name="connsiteY47" fmla="*/ 514688 h 857029"/>
                <a:gd name="connsiteX48" fmla="*/ 27448 w 511468"/>
                <a:gd name="connsiteY48" fmla="*/ 510701 h 857029"/>
                <a:gd name="connsiteX49" fmla="*/ 356551 w 511468"/>
                <a:gd name="connsiteY49" fmla="*/ 179341 h 857029"/>
                <a:gd name="connsiteX50" fmla="*/ 358475 w 511468"/>
                <a:gd name="connsiteY50" fmla="*/ 179899 h 857029"/>
                <a:gd name="connsiteX51" fmla="*/ 359190 w 511468"/>
                <a:gd name="connsiteY51" fmla="*/ 181318 h 857029"/>
                <a:gd name="connsiteX52" fmla="*/ 359410 w 511468"/>
                <a:gd name="connsiteY52" fmla="*/ 183648 h 857029"/>
                <a:gd name="connsiteX53" fmla="*/ 358723 w 511468"/>
                <a:gd name="connsiteY53" fmla="*/ 185139 h 857029"/>
                <a:gd name="connsiteX54" fmla="*/ 359054 w 511468"/>
                <a:gd name="connsiteY54" fmla="*/ 186396 h 857029"/>
                <a:gd name="connsiteX55" fmla="*/ 357648 w 511468"/>
                <a:gd name="connsiteY55" fmla="*/ 187287 h 857029"/>
                <a:gd name="connsiteX56" fmla="*/ 355467 w 511468"/>
                <a:gd name="connsiteY56" fmla="*/ 184379 h 857029"/>
                <a:gd name="connsiteX57" fmla="*/ 354169 w 511468"/>
                <a:gd name="connsiteY57" fmla="*/ 184337 h 857029"/>
                <a:gd name="connsiteX58" fmla="*/ 352780 w 511468"/>
                <a:gd name="connsiteY58" fmla="*/ 183084 h 857029"/>
                <a:gd name="connsiteX59" fmla="*/ 352124 w 511468"/>
                <a:gd name="connsiteY59" fmla="*/ 181016 h 857029"/>
                <a:gd name="connsiteX60" fmla="*/ 353381 w 511468"/>
                <a:gd name="connsiteY60" fmla="*/ 180439 h 857029"/>
                <a:gd name="connsiteX61" fmla="*/ 353889 w 511468"/>
                <a:gd name="connsiteY61" fmla="*/ 180798 h 857029"/>
                <a:gd name="connsiteX62" fmla="*/ 507319 w 511468"/>
                <a:gd name="connsiteY62" fmla="*/ 120897 h 857029"/>
                <a:gd name="connsiteX63" fmla="*/ 509176 w 511468"/>
                <a:gd name="connsiteY63" fmla="*/ 121390 h 857029"/>
                <a:gd name="connsiteX64" fmla="*/ 510487 w 511468"/>
                <a:gd name="connsiteY64" fmla="*/ 123131 h 857029"/>
                <a:gd name="connsiteX65" fmla="*/ 510994 w 511468"/>
                <a:gd name="connsiteY65" fmla="*/ 124376 h 857029"/>
                <a:gd name="connsiteX66" fmla="*/ 510152 w 511468"/>
                <a:gd name="connsiteY66" fmla="*/ 124880 h 857029"/>
                <a:gd name="connsiteX67" fmla="*/ 505769 w 511468"/>
                <a:gd name="connsiteY67" fmla="*/ 123140 h 857029"/>
                <a:gd name="connsiteX68" fmla="*/ 505387 w 511468"/>
                <a:gd name="connsiteY68" fmla="*/ 121830 h 857029"/>
                <a:gd name="connsiteX69" fmla="*/ 505574 w 511468"/>
                <a:gd name="connsiteY69" fmla="*/ 121267 h 857029"/>
                <a:gd name="connsiteX70" fmla="*/ 273751 w 511468"/>
                <a:gd name="connsiteY70" fmla="*/ 0 h 857029"/>
                <a:gd name="connsiteX71" fmla="*/ 282752 w 511468"/>
                <a:gd name="connsiteY71" fmla="*/ 3354 h 857029"/>
                <a:gd name="connsiteX72" fmla="*/ 286595 w 511468"/>
                <a:gd name="connsiteY72" fmla="*/ 5805 h 857029"/>
                <a:gd name="connsiteX73" fmla="*/ 294915 w 511468"/>
                <a:gd name="connsiteY73" fmla="*/ 7956 h 857029"/>
                <a:gd name="connsiteX74" fmla="*/ 296377 w 511468"/>
                <a:gd name="connsiteY74" fmla="*/ 9126 h 857029"/>
                <a:gd name="connsiteX75" fmla="*/ 296483 w 511468"/>
                <a:gd name="connsiteY75" fmla="*/ 11154 h 857029"/>
                <a:gd name="connsiteX76" fmla="*/ 296086 w 511468"/>
                <a:gd name="connsiteY76" fmla="*/ 12894 h 857029"/>
                <a:gd name="connsiteX77" fmla="*/ 294326 w 511468"/>
                <a:gd name="connsiteY77" fmla="*/ 13854 h 857029"/>
                <a:gd name="connsiteX78" fmla="*/ 290771 w 511468"/>
                <a:gd name="connsiteY78" fmla="*/ 13697 h 857029"/>
                <a:gd name="connsiteX79" fmla="*/ 278001 w 511468"/>
                <a:gd name="connsiteY79" fmla="*/ 11016 h 857029"/>
                <a:gd name="connsiteX80" fmla="*/ 276116 w 511468"/>
                <a:gd name="connsiteY80" fmla="*/ 12644 h 857029"/>
                <a:gd name="connsiteX81" fmla="*/ 277660 w 511468"/>
                <a:gd name="connsiteY81" fmla="*/ 14053 h 857029"/>
                <a:gd name="connsiteX82" fmla="*/ 281402 w 511468"/>
                <a:gd name="connsiteY82" fmla="*/ 15715 h 857029"/>
                <a:gd name="connsiteX83" fmla="*/ 282445 w 511468"/>
                <a:gd name="connsiteY83" fmla="*/ 18657 h 857029"/>
                <a:gd name="connsiteX84" fmla="*/ 288174 w 511468"/>
                <a:gd name="connsiteY84" fmla="*/ 18252 h 857029"/>
                <a:gd name="connsiteX85" fmla="*/ 293635 w 511468"/>
                <a:gd name="connsiteY85" fmla="*/ 19371 h 857029"/>
                <a:gd name="connsiteX86" fmla="*/ 296200 w 511468"/>
                <a:gd name="connsiteY86" fmla="*/ 19008 h 857029"/>
                <a:gd name="connsiteX87" fmla="*/ 296669 w 511468"/>
                <a:gd name="connsiteY87" fmla="*/ 19967 h 857029"/>
                <a:gd name="connsiteX88" fmla="*/ 294913 w 511468"/>
                <a:gd name="connsiteY88" fmla="*/ 22399 h 857029"/>
                <a:gd name="connsiteX89" fmla="*/ 295738 w 511468"/>
                <a:gd name="connsiteY89" fmla="*/ 23024 h 857029"/>
                <a:gd name="connsiteX90" fmla="*/ 301862 w 511468"/>
                <a:gd name="connsiteY90" fmla="*/ 20665 h 857029"/>
                <a:gd name="connsiteX91" fmla="*/ 304715 w 511468"/>
                <a:gd name="connsiteY91" fmla="*/ 20018 h 857029"/>
                <a:gd name="connsiteX92" fmla="*/ 306250 w 511468"/>
                <a:gd name="connsiteY92" fmla="*/ 20648 h 857029"/>
                <a:gd name="connsiteX93" fmla="*/ 306457 w 511468"/>
                <a:gd name="connsiteY93" fmla="*/ 22601 h 857029"/>
                <a:gd name="connsiteX94" fmla="*/ 305447 w 511468"/>
                <a:gd name="connsiteY94" fmla="*/ 25055 h 857029"/>
                <a:gd name="connsiteX95" fmla="*/ 305337 w 511468"/>
                <a:gd name="connsiteY95" fmla="*/ 26920 h 857029"/>
                <a:gd name="connsiteX96" fmla="*/ 303452 w 511468"/>
                <a:gd name="connsiteY96" fmla="*/ 31417 h 857029"/>
                <a:gd name="connsiteX97" fmla="*/ 300547 w 511468"/>
                <a:gd name="connsiteY97" fmla="*/ 32777 h 857029"/>
                <a:gd name="connsiteX98" fmla="*/ 299327 w 511468"/>
                <a:gd name="connsiteY98" fmla="*/ 34646 h 857029"/>
                <a:gd name="connsiteX99" fmla="*/ 303577 w 511468"/>
                <a:gd name="connsiteY99" fmla="*/ 33501 h 857029"/>
                <a:gd name="connsiteX100" fmla="*/ 305838 w 511468"/>
                <a:gd name="connsiteY100" fmla="*/ 32252 h 857029"/>
                <a:gd name="connsiteX101" fmla="*/ 310070 w 511468"/>
                <a:gd name="connsiteY101" fmla="*/ 26073 h 857029"/>
                <a:gd name="connsiteX102" fmla="*/ 311338 w 511468"/>
                <a:gd name="connsiteY102" fmla="*/ 25251 h 857029"/>
                <a:gd name="connsiteX103" fmla="*/ 323389 w 511468"/>
                <a:gd name="connsiteY103" fmla="*/ 25139 h 857029"/>
                <a:gd name="connsiteX104" fmla="*/ 326117 w 511468"/>
                <a:gd name="connsiteY104" fmla="*/ 25537 h 857029"/>
                <a:gd name="connsiteX105" fmla="*/ 337421 w 511468"/>
                <a:gd name="connsiteY105" fmla="*/ 28452 h 857029"/>
                <a:gd name="connsiteX106" fmla="*/ 340640 w 511468"/>
                <a:gd name="connsiteY106" fmla="*/ 28719 h 857029"/>
                <a:gd name="connsiteX107" fmla="*/ 344318 w 511468"/>
                <a:gd name="connsiteY107" fmla="*/ 28346 h 857029"/>
                <a:gd name="connsiteX108" fmla="*/ 345586 w 511468"/>
                <a:gd name="connsiteY108" fmla="*/ 26992 h 857029"/>
                <a:gd name="connsiteX109" fmla="*/ 346838 w 511468"/>
                <a:gd name="connsiteY109" fmla="*/ 26608 h 857029"/>
                <a:gd name="connsiteX110" fmla="*/ 359399 w 511468"/>
                <a:gd name="connsiteY110" fmla="*/ 29866 h 857029"/>
                <a:gd name="connsiteX111" fmla="*/ 376212 w 511468"/>
                <a:gd name="connsiteY111" fmla="*/ 37175 h 857029"/>
                <a:gd name="connsiteX112" fmla="*/ 400807 w 511468"/>
                <a:gd name="connsiteY112" fmla="*/ 49201 h 857029"/>
                <a:gd name="connsiteX113" fmla="*/ 414673 w 511468"/>
                <a:gd name="connsiteY113" fmla="*/ 59838 h 857029"/>
                <a:gd name="connsiteX114" fmla="*/ 416277 w 511468"/>
                <a:gd name="connsiteY114" fmla="*/ 62116 h 857029"/>
                <a:gd name="connsiteX115" fmla="*/ 421289 w 511468"/>
                <a:gd name="connsiteY115" fmla="*/ 63406 h 857029"/>
                <a:gd name="connsiteX116" fmla="*/ 422367 w 511468"/>
                <a:gd name="connsiteY116" fmla="*/ 62533 h 857029"/>
                <a:gd name="connsiteX117" fmla="*/ 425152 w 511468"/>
                <a:gd name="connsiteY117" fmla="*/ 63290 h 857029"/>
                <a:gd name="connsiteX118" fmla="*/ 441458 w 511468"/>
                <a:gd name="connsiteY118" fmla="*/ 72945 h 857029"/>
                <a:gd name="connsiteX119" fmla="*/ 447083 w 511468"/>
                <a:gd name="connsiteY119" fmla="*/ 73444 h 857029"/>
                <a:gd name="connsiteX120" fmla="*/ 446340 w 511468"/>
                <a:gd name="connsiteY120" fmla="*/ 71406 h 857029"/>
                <a:gd name="connsiteX121" fmla="*/ 445379 w 511468"/>
                <a:gd name="connsiteY121" fmla="*/ 69500 h 857029"/>
                <a:gd name="connsiteX122" fmla="*/ 446772 w 511468"/>
                <a:gd name="connsiteY122" fmla="*/ 69933 h 857029"/>
                <a:gd name="connsiteX123" fmla="*/ 448681 w 511468"/>
                <a:gd name="connsiteY123" fmla="*/ 71317 h 857029"/>
                <a:gd name="connsiteX124" fmla="*/ 451780 w 511468"/>
                <a:gd name="connsiteY124" fmla="*/ 75087 h 857029"/>
                <a:gd name="connsiteX125" fmla="*/ 455559 w 511468"/>
                <a:gd name="connsiteY125" fmla="*/ 77877 h 857029"/>
                <a:gd name="connsiteX126" fmla="*/ 459407 w 511468"/>
                <a:gd name="connsiteY126" fmla="*/ 82047 h 857029"/>
                <a:gd name="connsiteX127" fmla="*/ 462616 w 511468"/>
                <a:gd name="connsiteY127" fmla="*/ 83643 h 857029"/>
                <a:gd name="connsiteX128" fmla="*/ 465507 w 511468"/>
                <a:gd name="connsiteY128" fmla="*/ 84234 h 857029"/>
                <a:gd name="connsiteX129" fmla="*/ 467934 w 511468"/>
                <a:gd name="connsiteY129" fmla="*/ 85408 h 857029"/>
                <a:gd name="connsiteX130" fmla="*/ 472359 w 511468"/>
                <a:gd name="connsiteY130" fmla="*/ 86525 h 857029"/>
                <a:gd name="connsiteX131" fmla="*/ 474449 w 511468"/>
                <a:gd name="connsiteY131" fmla="*/ 96670 h 857029"/>
                <a:gd name="connsiteX132" fmla="*/ 476062 w 511468"/>
                <a:gd name="connsiteY132" fmla="*/ 98855 h 857029"/>
                <a:gd name="connsiteX133" fmla="*/ 476062 w 511468"/>
                <a:gd name="connsiteY133" fmla="*/ 103320 h 857029"/>
                <a:gd name="connsiteX134" fmla="*/ 478889 w 511468"/>
                <a:gd name="connsiteY134" fmla="*/ 105135 h 857029"/>
                <a:gd name="connsiteX135" fmla="*/ 481035 w 511468"/>
                <a:gd name="connsiteY135" fmla="*/ 105464 h 857029"/>
                <a:gd name="connsiteX136" fmla="*/ 480936 w 511468"/>
                <a:gd name="connsiteY136" fmla="*/ 108762 h 857029"/>
                <a:gd name="connsiteX137" fmla="*/ 479195 w 511468"/>
                <a:gd name="connsiteY137" fmla="*/ 116483 h 857029"/>
                <a:gd name="connsiteX138" fmla="*/ 477280 w 511468"/>
                <a:gd name="connsiteY138" fmla="*/ 119759 h 857029"/>
                <a:gd name="connsiteX139" fmla="*/ 462523 w 511468"/>
                <a:gd name="connsiteY139" fmla="*/ 133805 h 857029"/>
                <a:gd name="connsiteX140" fmla="*/ 453274 w 511468"/>
                <a:gd name="connsiteY140" fmla="*/ 139207 h 857029"/>
                <a:gd name="connsiteX141" fmla="*/ 435269 w 511468"/>
                <a:gd name="connsiteY141" fmla="*/ 145372 h 857029"/>
                <a:gd name="connsiteX142" fmla="*/ 421224 w 511468"/>
                <a:gd name="connsiteY142" fmla="*/ 147680 h 857029"/>
                <a:gd name="connsiteX143" fmla="*/ 415556 w 511468"/>
                <a:gd name="connsiteY143" fmla="*/ 147848 h 857029"/>
                <a:gd name="connsiteX144" fmla="*/ 404569 w 511468"/>
                <a:gd name="connsiteY144" fmla="*/ 146708 h 857029"/>
                <a:gd name="connsiteX145" fmla="*/ 398544 w 511468"/>
                <a:gd name="connsiteY145" fmla="*/ 145462 h 857029"/>
                <a:gd name="connsiteX146" fmla="*/ 391172 w 511468"/>
                <a:gd name="connsiteY146" fmla="*/ 141959 h 857029"/>
                <a:gd name="connsiteX147" fmla="*/ 384292 w 511468"/>
                <a:gd name="connsiteY147" fmla="*/ 140214 h 857029"/>
                <a:gd name="connsiteX148" fmla="*/ 379566 w 511468"/>
                <a:gd name="connsiteY148" fmla="*/ 139442 h 857029"/>
                <a:gd name="connsiteX149" fmla="*/ 370798 w 511468"/>
                <a:gd name="connsiteY149" fmla="*/ 139120 h 857029"/>
                <a:gd name="connsiteX150" fmla="*/ 351783 w 511468"/>
                <a:gd name="connsiteY150" fmla="*/ 135678 h 857029"/>
                <a:gd name="connsiteX151" fmla="*/ 348477 w 511468"/>
                <a:gd name="connsiteY151" fmla="*/ 134467 h 857029"/>
                <a:gd name="connsiteX152" fmla="*/ 336550 w 511468"/>
                <a:gd name="connsiteY152" fmla="*/ 127729 h 857029"/>
                <a:gd name="connsiteX153" fmla="*/ 331811 w 511468"/>
                <a:gd name="connsiteY153" fmla="*/ 129634 h 857029"/>
                <a:gd name="connsiteX154" fmla="*/ 328988 w 511468"/>
                <a:gd name="connsiteY154" fmla="*/ 129977 h 857029"/>
                <a:gd name="connsiteX155" fmla="*/ 327075 w 511468"/>
                <a:gd name="connsiteY155" fmla="*/ 127653 h 857029"/>
                <a:gd name="connsiteX156" fmla="*/ 327844 w 511468"/>
                <a:gd name="connsiteY156" fmla="*/ 127039 h 857029"/>
                <a:gd name="connsiteX157" fmla="*/ 328302 w 511468"/>
                <a:gd name="connsiteY157" fmla="*/ 126246 h 857029"/>
                <a:gd name="connsiteX158" fmla="*/ 321547 w 511468"/>
                <a:gd name="connsiteY158" fmla="*/ 124318 h 857029"/>
                <a:gd name="connsiteX159" fmla="*/ 315965 w 511468"/>
                <a:gd name="connsiteY159" fmla="*/ 124189 h 857029"/>
                <a:gd name="connsiteX160" fmla="*/ 313000 w 511468"/>
                <a:gd name="connsiteY160" fmla="*/ 122550 h 857029"/>
                <a:gd name="connsiteX161" fmla="*/ 309370 w 511468"/>
                <a:gd name="connsiteY161" fmla="*/ 121301 h 857029"/>
                <a:gd name="connsiteX162" fmla="*/ 307768 w 511468"/>
                <a:gd name="connsiteY162" fmla="*/ 122053 h 857029"/>
                <a:gd name="connsiteX163" fmla="*/ 306863 w 511468"/>
                <a:gd name="connsiteY163" fmla="*/ 122046 h 857029"/>
                <a:gd name="connsiteX164" fmla="*/ 299526 w 511468"/>
                <a:gd name="connsiteY164" fmla="*/ 119098 h 857029"/>
                <a:gd name="connsiteX165" fmla="*/ 296248 w 511468"/>
                <a:gd name="connsiteY165" fmla="*/ 116706 h 857029"/>
                <a:gd name="connsiteX166" fmla="*/ 292834 w 511468"/>
                <a:gd name="connsiteY166" fmla="*/ 112490 h 857029"/>
                <a:gd name="connsiteX167" fmla="*/ 293667 w 511468"/>
                <a:gd name="connsiteY167" fmla="*/ 111013 h 857029"/>
                <a:gd name="connsiteX168" fmla="*/ 294667 w 511468"/>
                <a:gd name="connsiteY168" fmla="*/ 110055 h 857029"/>
                <a:gd name="connsiteX169" fmla="*/ 282935 w 511468"/>
                <a:gd name="connsiteY169" fmla="*/ 107594 h 857029"/>
                <a:gd name="connsiteX170" fmla="*/ 271778 w 511468"/>
                <a:gd name="connsiteY170" fmla="*/ 107268 h 857029"/>
                <a:gd name="connsiteX171" fmla="*/ 273717 w 511468"/>
                <a:gd name="connsiteY171" fmla="*/ 108448 h 857029"/>
                <a:gd name="connsiteX172" fmla="*/ 278549 w 511468"/>
                <a:gd name="connsiteY172" fmla="*/ 109068 h 857029"/>
                <a:gd name="connsiteX173" fmla="*/ 281624 w 511468"/>
                <a:gd name="connsiteY173" fmla="*/ 110762 h 857029"/>
                <a:gd name="connsiteX174" fmla="*/ 285170 w 511468"/>
                <a:gd name="connsiteY174" fmla="*/ 113148 h 857029"/>
                <a:gd name="connsiteX175" fmla="*/ 284345 w 511468"/>
                <a:gd name="connsiteY175" fmla="*/ 116408 h 857029"/>
                <a:gd name="connsiteX176" fmla="*/ 289271 w 511468"/>
                <a:gd name="connsiteY176" fmla="*/ 119633 h 857029"/>
                <a:gd name="connsiteX177" fmla="*/ 293050 w 511468"/>
                <a:gd name="connsiteY177" fmla="*/ 122700 h 857029"/>
                <a:gd name="connsiteX178" fmla="*/ 293162 w 511468"/>
                <a:gd name="connsiteY178" fmla="*/ 123646 h 857029"/>
                <a:gd name="connsiteX179" fmla="*/ 294628 w 511468"/>
                <a:gd name="connsiteY179" fmla="*/ 124287 h 857029"/>
                <a:gd name="connsiteX180" fmla="*/ 300197 w 511468"/>
                <a:gd name="connsiteY180" fmla="*/ 125183 h 857029"/>
                <a:gd name="connsiteX181" fmla="*/ 301167 w 511468"/>
                <a:gd name="connsiteY181" fmla="*/ 127998 h 857029"/>
                <a:gd name="connsiteX182" fmla="*/ 300249 w 511468"/>
                <a:gd name="connsiteY182" fmla="*/ 129107 h 857029"/>
                <a:gd name="connsiteX183" fmla="*/ 301012 w 511468"/>
                <a:gd name="connsiteY183" fmla="*/ 130668 h 857029"/>
                <a:gd name="connsiteX184" fmla="*/ 305166 w 511468"/>
                <a:gd name="connsiteY184" fmla="*/ 132416 h 857029"/>
                <a:gd name="connsiteX185" fmla="*/ 307651 w 511468"/>
                <a:gd name="connsiteY185" fmla="*/ 132892 h 857029"/>
                <a:gd name="connsiteX186" fmla="*/ 310709 w 511468"/>
                <a:gd name="connsiteY186" fmla="*/ 133952 h 857029"/>
                <a:gd name="connsiteX187" fmla="*/ 309323 w 511468"/>
                <a:gd name="connsiteY187" fmla="*/ 136092 h 857029"/>
                <a:gd name="connsiteX188" fmla="*/ 306751 w 511468"/>
                <a:gd name="connsiteY188" fmla="*/ 137480 h 857029"/>
                <a:gd name="connsiteX189" fmla="*/ 304177 w 511468"/>
                <a:gd name="connsiteY189" fmla="*/ 138118 h 857029"/>
                <a:gd name="connsiteX190" fmla="*/ 305399 w 511468"/>
                <a:gd name="connsiteY190" fmla="*/ 138630 h 857029"/>
                <a:gd name="connsiteX191" fmla="*/ 308735 w 511468"/>
                <a:gd name="connsiteY191" fmla="*/ 138432 h 857029"/>
                <a:gd name="connsiteX192" fmla="*/ 320809 w 511468"/>
                <a:gd name="connsiteY192" fmla="*/ 141952 h 857029"/>
                <a:gd name="connsiteX193" fmla="*/ 327157 w 511468"/>
                <a:gd name="connsiteY193" fmla="*/ 145505 h 857029"/>
                <a:gd name="connsiteX194" fmla="*/ 333614 w 511468"/>
                <a:gd name="connsiteY194" fmla="*/ 151967 h 857029"/>
                <a:gd name="connsiteX195" fmla="*/ 335704 w 511468"/>
                <a:gd name="connsiteY195" fmla="*/ 155155 h 857029"/>
                <a:gd name="connsiteX196" fmla="*/ 335855 w 511468"/>
                <a:gd name="connsiteY196" fmla="*/ 156912 h 857029"/>
                <a:gd name="connsiteX197" fmla="*/ 335497 w 511468"/>
                <a:gd name="connsiteY197" fmla="*/ 158664 h 857029"/>
                <a:gd name="connsiteX198" fmla="*/ 334564 w 511468"/>
                <a:gd name="connsiteY198" fmla="*/ 160556 h 857029"/>
                <a:gd name="connsiteX199" fmla="*/ 334139 w 511468"/>
                <a:gd name="connsiteY199" fmla="*/ 162455 h 857029"/>
                <a:gd name="connsiteX200" fmla="*/ 331932 w 511468"/>
                <a:gd name="connsiteY200" fmla="*/ 168051 h 857029"/>
                <a:gd name="connsiteX201" fmla="*/ 330349 w 511468"/>
                <a:gd name="connsiteY201" fmla="*/ 169979 h 857029"/>
                <a:gd name="connsiteX202" fmla="*/ 327304 w 511468"/>
                <a:gd name="connsiteY202" fmla="*/ 172185 h 857029"/>
                <a:gd name="connsiteX203" fmla="*/ 330167 w 511468"/>
                <a:gd name="connsiteY203" fmla="*/ 176442 h 857029"/>
                <a:gd name="connsiteX204" fmla="*/ 333156 w 511468"/>
                <a:gd name="connsiteY204" fmla="*/ 180402 h 857029"/>
                <a:gd name="connsiteX205" fmla="*/ 336084 w 511468"/>
                <a:gd name="connsiteY205" fmla="*/ 186952 h 857029"/>
                <a:gd name="connsiteX206" fmla="*/ 336607 w 511468"/>
                <a:gd name="connsiteY206" fmla="*/ 189582 h 857029"/>
                <a:gd name="connsiteX207" fmla="*/ 336728 w 511468"/>
                <a:gd name="connsiteY207" fmla="*/ 193613 h 857029"/>
                <a:gd name="connsiteX208" fmla="*/ 339373 w 511468"/>
                <a:gd name="connsiteY208" fmla="*/ 195195 h 857029"/>
                <a:gd name="connsiteX209" fmla="*/ 338339 w 511468"/>
                <a:gd name="connsiteY209" fmla="*/ 195813 h 857029"/>
                <a:gd name="connsiteX210" fmla="*/ 337296 w 511468"/>
                <a:gd name="connsiteY210" fmla="*/ 196956 h 857029"/>
                <a:gd name="connsiteX211" fmla="*/ 337544 w 511468"/>
                <a:gd name="connsiteY211" fmla="*/ 202190 h 857029"/>
                <a:gd name="connsiteX212" fmla="*/ 341211 w 511468"/>
                <a:gd name="connsiteY212" fmla="*/ 206454 h 857029"/>
                <a:gd name="connsiteX213" fmla="*/ 346711 w 511468"/>
                <a:gd name="connsiteY213" fmla="*/ 209215 h 857029"/>
                <a:gd name="connsiteX214" fmla="*/ 349982 w 511468"/>
                <a:gd name="connsiteY214" fmla="*/ 209775 h 857029"/>
                <a:gd name="connsiteX215" fmla="*/ 354737 w 511468"/>
                <a:gd name="connsiteY215" fmla="*/ 208655 h 857029"/>
                <a:gd name="connsiteX216" fmla="*/ 358164 w 511468"/>
                <a:gd name="connsiteY216" fmla="*/ 210180 h 857029"/>
                <a:gd name="connsiteX217" fmla="*/ 365780 w 511468"/>
                <a:gd name="connsiteY217" fmla="*/ 215368 h 857029"/>
                <a:gd name="connsiteX218" fmla="*/ 369218 w 511468"/>
                <a:gd name="connsiteY218" fmla="*/ 220836 h 857029"/>
                <a:gd name="connsiteX219" fmla="*/ 370611 w 511468"/>
                <a:gd name="connsiteY219" fmla="*/ 221949 h 857029"/>
                <a:gd name="connsiteX220" fmla="*/ 378324 w 511468"/>
                <a:gd name="connsiteY220" fmla="*/ 223987 h 857029"/>
                <a:gd name="connsiteX221" fmla="*/ 384105 w 511468"/>
                <a:gd name="connsiteY221" fmla="*/ 225239 h 857029"/>
                <a:gd name="connsiteX222" fmla="*/ 392895 w 511468"/>
                <a:gd name="connsiteY222" fmla="*/ 228506 h 857029"/>
                <a:gd name="connsiteX223" fmla="*/ 394431 w 511468"/>
                <a:gd name="connsiteY223" fmla="*/ 228624 h 857029"/>
                <a:gd name="connsiteX224" fmla="*/ 398702 w 511468"/>
                <a:gd name="connsiteY224" fmla="*/ 225807 h 857029"/>
                <a:gd name="connsiteX225" fmla="*/ 406057 w 511468"/>
                <a:gd name="connsiteY225" fmla="*/ 223844 h 857029"/>
                <a:gd name="connsiteX226" fmla="*/ 408331 w 511468"/>
                <a:gd name="connsiteY226" fmla="*/ 221137 h 857029"/>
                <a:gd name="connsiteX227" fmla="*/ 408141 w 511468"/>
                <a:gd name="connsiteY227" fmla="*/ 218835 h 857029"/>
                <a:gd name="connsiteX228" fmla="*/ 406260 w 511468"/>
                <a:gd name="connsiteY228" fmla="*/ 214730 h 857029"/>
                <a:gd name="connsiteX229" fmla="*/ 405742 w 511468"/>
                <a:gd name="connsiteY229" fmla="*/ 210721 h 857029"/>
                <a:gd name="connsiteX230" fmla="*/ 403306 w 511468"/>
                <a:gd name="connsiteY230" fmla="*/ 209081 h 857029"/>
                <a:gd name="connsiteX231" fmla="*/ 401030 w 511468"/>
                <a:gd name="connsiteY231" fmla="*/ 207992 h 857029"/>
                <a:gd name="connsiteX232" fmla="*/ 394152 w 511468"/>
                <a:gd name="connsiteY232" fmla="*/ 208823 h 857029"/>
                <a:gd name="connsiteX233" fmla="*/ 391056 w 511468"/>
                <a:gd name="connsiteY233" fmla="*/ 208668 h 857029"/>
                <a:gd name="connsiteX234" fmla="*/ 388715 w 511468"/>
                <a:gd name="connsiteY234" fmla="*/ 207582 h 857029"/>
                <a:gd name="connsiteX235" fmla="*/ 385547 w 511468"/>
                <a:gd name="connsiteY235" fmla="*/ 204713 h 857029"/>
                <a:gd name="connsiteX236" fmla="*/ 379552 w 511468"/>
                <a:gd name="connsiteY236" fmla="*/ 197722 h 857029"/>
                <a:gd name="connsiteX237" fmla="*/ 376344 w 511468"/>
                <a:gd name="connsiteY237" fmla="*/ 195389 h 857029"/>
                <a:gd name="connsiteX238" fmla="*/ 375338 w 511468"/>
                <a:gd name="connsiteY238" fmla="*/ 193943 h 857029"/>
                <a:gd name="connsiteX239" fmla="*/ 374221 w 511468"/>
                <a:gd name="connsiteY239" fmla="*/ 191924 h 857029"/>
                <a:gd name="connsiteX240" fmla="*/ 374361 w 511468"/>
                <a:gd name="connsiteY240" fmla="*/ 188652 h 857029"/>
                <a:gd name="connsiteX241" fmla="*/ 376979 w 511468"/>
                <a:gd name="connsiteY241" fmla="*/ 188766 h 857029"/>
                <a:gd name="connsiteX242" fmla="*/ 379920 w 511468"/>
                <a:gd name="connsiteY242" fmla="*/ 186910 h 857029"/>
                <a:gd name="connsiteX243" fmla="*/ 382062 w 511468"/>
                <a:gd name="connsiteY243" fmla="*/ 180249 h 857029"/>
                <a:gd name="connsiteX244" fmla="*/ 385763 w 511468"/>
                <a:gd name="connsiteY244" fmla="*/ 179401 h 857029"/>
                <a:gd name="connsiteX245" fmla="*/ 387767 w 511468"/>
                <a:gd name="connsiteY245" fmla="*/ 179459 h 857029"/>
                <a:gd name="connsiteX246" fmla="*/ 396331 w 511468"/>
                <a:gd name="connsiteY246" fmla="*/ 182557 h 857029"/>
                <a:gd name="connsiteX247" fmla="*/ 406972 w 511468"/>
                <a:gd name="connsiteY247" fmla="*/ 190799 h 857029"/>
                <a:gd name="connsiteX248" fmla="*/ 409324 w 511468"/>
                <a:gd name="connsiteY248" fmla="*/ 191665 h 857029"/>
                <a:gd name="connsiteX249" fmla="*/ 411812 w 511468"/>
                <a:gd name="connsiteY249" fmla="*/ 191786 h 857029"/>
                <a:gd name="connsiteX250" fmla="*/ 415878 w 511468"/>
                <a:gd name="connsiteY250" fmla="*/ 191576 h 857029"/>
                <a:gd name="connsiteX251" fmla="*/ 416539 w 511468"/>
                <a:gd name="connsiteY251" fmla="*/ 192648 h 857029"/>
                <a:gd name="connsiteX252" fmla="*/ 418726 w 511468"/>
                <a:gd name="connsiteY252" fmla="*/ 193932 h 857029"/>
                <a:gd name="connsiteX253" fmla="*/ 420322 w 511468"/>
                <a:gd name="connsiteY253" fmla="*/ 194097 h 857029"/>
                <a:gd name="connsiteX254" fmla="*/ 430061 w 511468"/>
                <a:gd name="connsiteY254" fmla="*/ 196698 h 857029"/>
                <a:gd name="connsiteX255" fmla="*/ 441423 w 511468"/>
                <a:gd name="connsiteY255" fmla="*/ 201814 h 857029"/>
                <a:gd name="connsiteX256" fmla="*/ 445638 w 511468"/>
                <a:gd name="connsiteY256" fmla="*/ 201583 h 857029"/>
                <a:gd name="connsiteX257" fmla="*/ 447297 w 511468"/>
                <a:gd name="connsiteY257" fmla="*/ 198752 h 857029"/>
                <a:gd name="connsiteX258" fmla="*/ 447642 w 511468"/>
                <a:gd name="connsiteY258" fmla="*/ 197533 h 857029"/>
                <a:gd name="connsiteX259" fmla="*/ 452268 w 511468"/>
                <a:gd name="connsiteY259" fmla="*/ 194666 h 857029"/>
                <a:gd name="connsiteX260" fmla="*/ 455494 w 511468"/>
                <a:gd name="connsiteY260" fmla="*/ 194191 h 857029"/>
                <a:gd name="connsiteX261" fmla="*/ 460007 w 511468"/>
                <a:gd name="connsiteY261" fmla="*/ 195234 h 857029"/>
                <a:gd name="connsiteX262" fmla="*/ 460828 w 511468"/>
                <a:gd name="connsiteY262" fmla="*/ 194381 h 857029"/>
                <a:gd name="connsiteX263" fmla="*/ 459290 w 511468"/>
                <a:gd name="connsiteY263" fmla="*/ 190171 h 857029"/>
                <a:gd name="connsiteX264" fmla="*/ 457209 w 511468"/>
                <a:gd name="connsiteY264" fmla="*/ 186518 h 857029"/>
                <a:gd name="connsiteX265" fmla="*/ 454144 w 511468"/>
                <a:gd name="connsiteY265" fmla="*/ 184175 h 857029"/>
                <a:gd name="connsiteX266" fmla="*/ 448701 w 511468"/>
                <a:gd name="connsiteY266" fmla="*/ 177277 h 857029"/>
                <a:gd name="connsiteX267" fmla="*/ 446524 w 511468"/>
                <a:gd name="connsiteY267" fmla="*/ 173844 h 857029"/>
                <a:gd name="connsiteX268" fmla="*/ 445442 w 511468"/>
                <a:gd name="connsiteY268" fmla="*/ 170296 h 857029"/>
                <a:gd name="connsiteX269" fmla="*/ 446150 w 511468"/>
                <a:gd name="connsiteY269" fmla="*/ 167152 h 857029"/>
                <a:gd name="connsiteX270" fmla="*/ 446932 w 511468"/>
                <a:gd name="connsiteY270" fmla="*/ 164857 h 857029"/>
                <a:gd name="connsiteX271" fmla="*/ 458238 w 511468"/>
                <a:gd name="connsiteY271" fmla="*/ 159267 h 857029"/>
                <a:gd name="connsiteX272" fmla="*/ 462328 w 511468"/>
                <a:gd name="connsiteY272" fmla="*/ 155912 h 857029"/>
                <a:gd name="connsiteX273" fmla="*/ 466282 w 511468"/>
                <a:gd name="connsiteY273" fmla="*/ 151544 h 857029"/>
                <a:gd name="connsiteX274" fmla="*/ 468113 w 511468"/>
                <a:gd name="connsiteY274" fmla="*/ 150650 h 857029"/>
                <a:gd name="connsiteX275" fmla="*/ 474783 w 511468"/>
                <a:gd name="connsiteY275" fmla="*/ 149435 h 857029"/>
                <a:gd name="connsiteX276" fmla="*/ 483622 w 511468"/>
                <a:gd name="connsiteY276" fmla="*/ 145688 h 857029"/>
                <a:gd name="connsiteX277" fmla="*/ 490368 w 511468"/>
                <a:gd name="connsiteY277" fmla="*/ 140700 h 857029"/>
                <a:gd name="connsiteX278" fmla="*/ 497062 w 511468"/>
                <a:gd name="connsiteY278" fmla="*/ 133093 h 857029"/>
                <a:gd name="connsiteX279" fmla="*/ 499869 w 511468"/>
                <a:gd name="connsiteY279" fmla="*/ 131109 h 857029"/>
                <a:gd name="connsiteX280" fmla="*/ 502150 w 511468"/>
                <a:gd name="connsiteY280" fmla="*/ 131291 h 857029"/>
                <a:gd name="connsiteX281" fmla="*/ 505181 w 511468"/>
                <a:gd name="connsiteY281" fmla="*/ 132484 h 857029"/>
                <a:gd name="connsiteX282" fmla="*/ 508528 w 511468"/>
                <a:gd name="connsiteY282" fmla="*/ 134694 h 857029"/>
                <a:gd name="connsiteX283" fmla="*/ 511468 w 511468"/>
                <a:gd name="connsiteY283" fmla="*/ 134962 h 857029"/>
                <a:gd name="connsiteX284" fmla="*/ 511468 w 511468"/>
                <a:gd name="connsiteY284" fmla="*/ 856713 h 857029"/>
                <a:gd name="connsiteX285" fmla="*/ 509813 w 511468"/>
                <a:gd name="connsiteY285" fmla="*/ 856922 h 857029"/>
                <a:gd name="connsiteX286" fmla="*/ 507730 w 511468"/>
                <a:gd name="connsiteY286" fmla="*/ 857029 h 857029"/>
                <a:gd name="connsiteX287" fmla="*/ 504480 w 511468"/>
                <a:gd name="connsiteY287" fmla="*/ 855174 h 857029"/>
                <a:gd name="connsiteX288" fmla="*/ 501398 w 511468"/>
                <a:gd name="connsiteY288" fmla="*/ 855070 h 857029"/>
                <a:gd name="connsiteX289" fmla="*/ 497917 w 511468"/>
                <a:gd name="connsiteY289" fmla="*/ 855627 h 857029"/>
                <a:gd name="connsiteX290" fmla="*/ 497155 w 511468"/>
                <a:gd name="connsiteY290" fmla="*/ 855848 h 857029"/>
                <a:gd name="connsiteX291" fmla="*/ 496319 w 511468"/>
                <a:gd name="connsiteY291" fmla="*/ 856089 h 857029"/>
                <a:gd name="connsiteX292" fmla="*/ 485939 w 511468"/>
                <a:gd name="connsiteY292" fmla="*/ 855307 h 857029"/>
                <a:gd name="connsiteX293" fmla="*/ 483290 w 511468"/>
                <a:gd name="connsiteY293" fmla="*/ 853774 h 857029"/>
                <a:gd name="connsiteX294" fmla="*/ 481022 w 511468"/>
                <a:gd name="connsiteY294" fmla="*/ 852240 h 857029"/>
                <a:gd name="connsiteX295" fmla="*/ 474939 w 511468"/>
                <a:gd name="connsiteY295" fmla="*/ 851136 h 857029"/>
                <a:gd name="connsiteX296" fmla="*/ 471819 w 511468"/>
                <a:gd name="connsiteY296" fmla="*/ 849963 h 857029"/>
                <a:gd name="connsiteX297" fmla="*/ 468716 w 511468"/>
                <a:gd name="connsiteY297" fmla="*/ 848298 h 857029"/>
                <a:gd name="connsiteX298" fmla="*/ 465319 w 511468"/>
                <a:gd name="connsiteY298" fmla="*/ 846845 h 857029"/>
                <a:gd name="connsiteX299" fmla="*/ 462464 w 511468"/>
                <a:gd name="connsiteY299" fmla="*/ 847434 h 857029"/>
                <a:gd name="connsiteX300" fmla="*/ 458558 w 511468"/>
                <a:gd name="connsiteY300" fmla="*/ 846606 h 857029"/>
                <a:gd name="connsiteX301" fmla="*/ 454311 w 511468"/>
                <a:gd name="connsiteY301" fmla="*/ 845878 h 857029"/>
                <a:gd name="connsiteX302" fmla="*/ 452860 w 511468"/>
                <a:gd name="connsiteY302" fmla="*/ 846326 h 857029"/>
                <a:gd name="connsiteX303" fmla="*/ 451514 w 511468"/>
                <a:gd name="connsiteY303" fmla="*/ 848165 h 857029"/>
                <a:gd name="connsiteX304" fmla="*/ 450510 w 511468"/>
                <a:gd name="connsiteY304" fmla="*/ 849915 h 857029"/>
                <a:gd name="connsiteX305" fmla="*/ 448195 w 511468"/>
                <a:gd name="connsiteY305" fmla="*/ 848490 h 857029"/>
                <a:gd name="connsiteX306" fmla="*/ 440303 w 511468"/>
                <a:gd name="connsiteY306" fmla="*/ 841614 h 857029"/>
                <a:gd name="connsiteX307" fmla="*/ 436161 w 511468"/>
                <a:gd name="connsiteY307" fmla="*/ 837039 h 857029"/>
                <a:gd name="connsiteX308" fmla="*/ 422626 w 511468"/>
                <a:gd name="connsiteY308" fmla="*/ 826453 h 857029"/>
                <a:gd name="connsiteX309" fmla="*/ 420825 w 511468"/>
                <a:gd name="connsiteY309" fmla="*/ 825641 h 857029"/>
                <a:gd name="connsiteX310" fmla="*/ 413660 w 511468"/>
                <a:gd name="connsiteY310" fmla="*/ 824109 h 857029"/>
                <a:gd name="connsiteX311" fmla="*/ 410773 w 511468"/>
                <a:gd name="connsiteY311" fmla="*/ 822880 h 857029"/>
                <a:gd name="connsiteX312" fmla="*/ 403481 w 511468"/>
                <a:gd name="connsiteY312" fmla="*/ 815284 h 857029"/>
                <a:gd name="connsiteX313" fmla="*/ 400240 w 511468"/>
                <a:gd name="connsiteY313" fmla="*/ 816304 h 857029"/>
                <a:gd name="connsiteX314" fmla="*/ 397311 w 511468"/>
                <a:gd name="connsiteY314" fmla="*/ 816046 h 857029"/>
                <a:gd name="connsiteX315" fmla="*/ 395601 w 511468"/>
                <a:gd name="connsiteY315" fmla="*/ 815381 h 857029"/>
                <a:gd name="connsiteX316" fmla="*/ 393748 w 511468"/>
                <a:gd name="connsiteY316" fmla="*/ 814289 h 857029"/>
                <a:gd name="connsiteX317" fmla="*/ 392444 w 511468"/>
                <a:gd name="connsiteY317" fmla="*/ 812843 h 857029"/>
                <a:gd name="connsiteX318" fmla="*/ 390935 w 511468"/>
                <a:gd name="connsiteY318" fmla="*/ 809659 h 857029"/>
                <a:gd name="connsiteX319" fmla="*/ 389181 w 511468"/>
                <a:gd name="connsiteY319" fmla="*/ 807831 h 857029"/>
                <a:gd name="connsiteX320" fmla="*/ 383424 w 511468"/>
                <a:gd name="connsiteY320" fmla="*/ 805162 h 857029"/>
                <a:gd name="connsiteX321" fmla="*/ 376931 w 511468"/>
                <a:gd name="connsiteY321" fmla="*/ 803606 h 857029"/>
                <a:gd name="connsiteX322" fmla="*/ 376419 w 511468"/>
                <a:gd name="connsiteY322" fmla="*/ 802926 h 857029"/>
                <a:gd name="connsiteX323" fmla="*/ 376231 w 511468"/>
                <a:gd name="connsiteY323" fmla="*/ 801990 h 857029"/>
                <a:gd name="connsiteX324" fmla="*/ 381846 w 511468"/>
                <a:gd name="connsiteY324" fmla="*/ 800175 h 857029"/>
                <a:gd name="connsiteX325" fmla="*/ 383353 w 511468"/>
                <a:gd name="connsiteY325" fmla="*/ 799135 h 857029"/>
                <a:gd name="connsiteX326" fmla="*/ 380474 w 511468"/>
                <a:gd name="connsiteY326" fmla="*/ 797755 h 857029"/>
                <a:gd name="connsiteX327" fmla="*/ 379382 w 511468"/>
                <a:gd name="connsiteY327" fmla="*/ 797527 h 857029"/>
                <a:gd name="connsiteX328" fmla="*/ 378471 w 511468"/>
                <a:gd name="connsiteY328" fmla="*/ 796881 h 857029"/>
                <a:gd name="connsiteX329" fmla="*/ 380092 w 511468"/>
                <a:gd name="connsiteY329" fmla="*/ 795843 h 857029"/>
                <a:gd name="connsiteX330" fmla="*/ 381688 w 511468"/>
                <a:gd name="connsiteY330" fmla="*/ 795367 h 857029"/>
                <a:gd name="connsiteX331" fmla="*/ 384163 w 511468"/>
                <a:gd name="connsiteY331" fmla="*/ 796560 h 857029"/>
                <a:gd name="connsiteX332" fmla="*/ 386942 w 511468"/>
                <a:gd name="connsiteY332" fmla="*/ 798774 h 857029"/>
                <a:gd name="connsiteX333" fmla="*/ 389375 w 511468"/>
                <a:gd name="connsiteY333" fmla="*/ 799612 h 857029"/>
                <a:gd name="connsiteX334" fmla="*/ 390496 w 511468"/>
                <a:gd name="connsiteY334" fmla="*/ 798553 h 857029"/>
                <a:gd name="connsiteX335" fmla="*/ 398963 w 511468"/>
                <a:gd name="connsiteY335" fmla="*/ 796735 h 857029"/>
                <a:gd name="connsiteX336" fmla="*/ 399533 w 511468"/>
                <a:gd name="connsiteY336" fmla="*/ 795294 h 857029"/>
                <a:gd name="connsiteX337" fmla="*/ 399510 w 511468"/>
                <a:gd name="connsiteY337" fmla="*/ 793683 h 857029"/>
                <a:gd name="connsiteX338" fmla="*/ 398680 w 511468"/>
                <a:gd name="connsiteY338" fmla="*/ 793740 h 857029"/>
                <a:gd name="connsiteX339" fmla="*/ 398140 w 511468"/>
                <a:gd name="connsiteY339" fmla="*/ 793377 h 857029"/>
                <a:gd name="connsiteX340" fmla="*/ 398195 w 511468"/>
                <a:gd name="connsiteY340" fmla="*/ 791586 h 857029"/>
                <a:gd name="connsiteX341" fmla="*/ 399451 w 511468"/>
                <a:gd name="connsiteY341" fmla="*/ 789128 h 857029"/>
                <a:gd name="connsiteX342" fmla="*/ 403248 w 511468"/>
                <a:gd name="connsiteY342" fmla="*/ 785122 h 857029"/>
                <a:gd name="connsiteX343" fmla="*/ 405286 w 511468"/>
                <a:gd name="connsiteY343" fmla="*/ 779545 h 857029"/>
                <a:gd name="connsiteX344" fmla="*/ 407081 w 511468"/>
                <a:gd name="connsiteY344" fmla="*/ 778273 h 857029"/>
                <a:gd name="connsiteX345" fmla="*/ 408398 w 511468"/>
                <a:gd name="connsiteY345" fmla="*/ 779121 h 857029"/>
                <a:gd name="connsiteX346" fmla="*/ 408307 w 511468"/>
                <a:gd name="connsiteY346" fmla="*/ 780424 h 857029"/>
                <a:gd name="connsiteX347" fmla="*/ 408525 w 511468"/>
                <a:gd name="connsiteY347" fmla="*/ 781392 h 857029"/>
                <a:gd name="connsiteX348" fmla="*/ 409702 w 511468"/>
                <a:gd name="connsiteY348" fmla="*/ 779514 h 857029"/>
                <a:gd name="connsiteX349" fmla="*/ 410825 w 511468"/>
                <a:gd name="connsiteY349" fmla="*/ 776973 h 857029"/>
                <a:gd name="connsiteX350" fmla="*/ 413660 w 511468"/>
                <a:gd name="connsiteY350" fmla="*/ 776958 h 857029"/>
                <a:gd name="connsiteX351" fmla="*/ 415618 w 511468"/>
                <a:gd name="connsiteY351" fmla="*/ 777382 h 857029"/>
                <a:gd name="connsiteX352" fmla="*/ 417651 w 511468"/>
                <a:gd name="connsiteY352" fmla="*/ 777091 h 857029"/>
                <a:gd name="connsiteX353" fmla="*/ 413736 w 511468"/>
                <a:gd name="connsiteY353" fmla="*/ 772903 h 857029"/>
                <a:gd name="connsiteX354" fmla="*/ 408484 w 511468"/>
                <a:gd name="connsiteY354" fmla="*/ 768680 h 857029"/>
                <a:gd name="connsiteX355" fmla="*/ 406269 w 511468"/>
                <a:gd name="connsiteY355" fmla="*/ 768998 h 857029"/>
                <a:gd name="connsiteX356" fmla="*/ 404861 w 511468"/>
                <a:gd name="connsiteY356" fmla="*/ 768343 h 857029"/>
                <a:gd name="connsiteX357" fmla="*/ 402555 w 511468"/>
                <a:gd name="connsiteY357" fmla="*/ 764858 h 857029"/>
                <a:gd name="connsiteX358" fmla="*/ 401602 w 511468"/>
                <a:gd name="connsiteY358" fmla="*/ 761967 h 857029"/>
                <a:gd name="connsiteX359" fmla="*/ 403833 w 511468"/>
                <a:gd name="connsiteY359" fmla="*/ 762032 h 857029"/>
                <a:gd name="connsiteX360" fmla="*/ 406057 w 511468"/>
                <a:gd name="connsiteY360" fmla="*/ 762470 h 857029"/>
                <a:gd name="connsiteX361" fmla="*/ 410292 w 511468"/>
                <a:gd name="connsiteY361" fmla="*/ 760450 h 857029"/>
                <a:gd name="connsiteX362" fmla="*/ 411850 w 511468"/>
                <a:gd name="connsiteY362" fmla="*/ 760155 h 857029"/>
                <a:gd name="connsiteX363" fmla="*/ 414360 w 511468"/>
                <a:gd name="connsiteY363" fmla="*/ 760794 h 857029"/>
                <a:gd name="connsiteX364" fmla="*/ 417843 w 511468"/>
                <a:gd name="connsiteY364" fmla="*/ 761201 h 857029"/>
                <a:gd name="connsiteX365" fmla="*/ 417556 w 511468"/>
                <a:gd name="connsiteY365" fmla="*/ 759295 h 857029"/>
                <a:gd name="connsiteX366" fmla="*/ 416465 w 511468"/>
                <a:gd name="connsiteY366" fmla="*/ 757043 h 857029"/>
                <a:gd name="connsiteX367" fmla="*/ 420713 w 511468"/>
                <a:gd name="connsiteY367" fmla="*/ 755372 h 857029"/>
                <a:gd name="connsiteX368" fmla="*/ 424479 w 511468"/>
                <a:gd name="connsiteY368" fmla="*/ 754449 h 857029"/>
                <a:gd name="connsiteX369" fmla="*/ 431680 w 511468"/>
                <a:gd name="connsiteY369" fmla="*/ 751177 h 857029"/>
                <a:gd name="connsiteX370" fmla="*/ 434863 w 511468"/>
                <a:gd name="connsiteY370" fmla="*/ 750599 h 857029"/>
                <a:gd name="connsiteX371" fmla="*/ 435269 w 511468"/>
                <a:gd name="connsiteY371" fmla="*/ 749852 h 857029"/>
                <a:gd name="connsiteX372" fmla="*/ 435366 w 511468"/>
                <a:gd name="connsiteY372" fmla="*/ 748878 h 857029"/>
                <a:gd name="connsiteX373" fmla="*/ 434284 w 511468"/>
                <a:gd name="connsiteY373" fmla="*/ 746257 h 857029"/>
                <a:gd name="connsiteX374" fmla="*/ 433205 w 511468"/>
                <a:gd name="connsiteY374" fmla="*/ 744317 h 857029"/>
                <a:gd name="connsiteX375" fmla="*/ 429402 w 511468"/>
                <a:gd name="connsiteY375" fmla="*/ 744223 h 857029"/>
                <a:gd name="connsiteX376" fmla="*/ 427292 w 511468"/>
                <a:gd name="connsiteY376" fmla="*/ 746924 h 857029"/>
                <a:gd name="connsiteX377" fmla="*/ 421540 w 511468"/>
                <a:gd name="connsiteY377" fmla="*/ 747811 h 857029"/>
                <a:gd name="connsiteX378" fmla="*/ 418981 w 511468"/>
                <a:gd name="connsiteY378" fmla="*/ 747632 h 857029"/>
                <a:gd name="connsiteX379" fmla="*/ 421013 w 511468"/>
                <a:gd name="connsiteY379" fmla="*/ 745902 h 857029"/>
                <a:gd name="connsiteX380" fmla="*/ 423040 w 511468"/>
                <a:gd name="connsiteY380" fmla="*/ 745241 h 857029"/>
                <a:gd name="connsiteX381" fmla="*/ 423613 w 511468"/>
                <a:gd name="connsiteY381" fmla="*/ 744520 h 857029"/>
                <a:gd name="connsiteX382" fmla="*/ 419529 w 511468"/>
                <a:gd name="connsiteY382" fmla="*/ 745149 h 857029"/>
                <a:gd name="connsiteX383" fmla="*/ 417484 w 511468"/>
                <a:gd name="connsiteY383" fmla="*/ 746928 h 857029"/>
                <a:gd name="connsiteX384" fmla="*/ 411505 w 511468"/>
                <a:gd name="connsiteY384" fmla="*/ 749278 h 857029"/>
                <a:gd name="connsiteX385" fmla="*/ 411317 w 511468"/>
                <a:gd name="connsiteY385" fmla="*/ 748044 h 857029"/>
                <a:gd name="connsiteX386" fmla="*/ 411218 w 511468"/>
                <a:gd name="connsiteY386" fmla="*/ 746936 h 857029"/>
                <a:gd name="connsiteX387" fmla="*/ 411656 w 511468"/>
                <a:gd name="connsiteY387" fmla="*/ 745887 h 857029"/>
                <a:gd name="connsiteX388" fmla="*/ 412632 w 511468"/>
                <a:gd name="connsiteY388" fmla="*/ 745209 h 857029"/>
                <a:gd name="connsiteX389" fmla="*/ 412973 w 511468"/>
                <a:gd name="connsiteY389" fmla="*/ 744592 h 857029"/>
                <a:gd name="connsiteX390" fmla="*/ 412973 w 511468"/>
                <a:gd name="connsiteY390" fmla="*/ 744098 h 857029"/>
                <a:gd name="connsiteX391" fmla="*/ 412095 w 511468"/>
                <a:gd name="connsiteY391" fmla="*/ 743789 h 857029"/>
                <a:gd name="connsiteX392" fmla="*/ 411364 w 511468"/>
                <a:gd name="connsiteY392" fmla="*/ 743542 h 857029"/>
                <a:gd name="connsiteX393" fmla="*/ 411218 w 511468"/>
                <a:gd name="connsiteY393" fmla="*/ 742863 h 857029"/>
                <a:gd name="connsiteX394" fmla="*/ 411462 w 511468"/>
                <a:gd name="connsiteY394" fmla="*/ 742247 h 857029"/>
                <a:gd name="connsiteX395" fmla="*/ 412144 w 511468"/>
                <a:gd name="connsiteY395" fmla="*/ 741381 h 857029"/>
                <a:gd name="connsiteX396" fmla="*/ 412438 w 511468"/>
                <a:gd name="connsiteY396" fmla="*/ 740393 h 857029"/>
                <a:gd name="connsiteX397" fmla="*/ 412488 w 511468"/>
                <a:gd name="connsiteY397" fmla="*/ 738413 h 857029"/>
                <a:gd name="connsiteX398" fmla="*/ 413120 w 511468"/>
                <a:gd name="connsiteY398" fmla="*/ 736178 h 857029"/>
                <a:gd name="connsiteX399" fmla="*/ 414921 w 511468"/>
                <a:gd name="connsiteY399" fmla="*/ 734752 h 857029"/>
                <a:gd name="connsiteX400" fmla="*/ 418063 w 511468"/>
                <a:gd name="connsiteY400" fmla="*/ 734402 h 857029"/>
                <a:gd name="connsiteX401" fmla="*/ 420931 w 511468"/>
                <a:gd name="connsiteY401" fmla="*/ 733179 h 857029"/>
                <a:gd name="connsiteX402" fmla="*/ 422663 w 511468"/>
                <a:gd name="connsiteY402" fmla="*/ 731824 h 857029"/>
                <a:gd name="connsiteX403" fmla="*/ 424947 w 511468"/>
                <a:gd name="connsiteY403" fmla="*/ 728365 h 857029"/>
                <a:gd name="connsiteX404" fmla="*/ 426672 w 511468"/>
                <a:gd name="connsiteY404" fmla="*/ 727855 h 857029"/>
                <a:gd name="connsiteX405" fmla="*/ 430156 w 511468"/>
                <a:gd name="connsiteY405" fmla="*/ 728042 h 857029"/>
                <a:gd name="connsiteX406" fmla="*/ 432382 w 511468"/>
                <a:gd name="connsiteY406" fmla="*/ 728354 h 857029"/>
                <a:gd name="connsiteX407" fmla="*/ 437523 w 511468"/>
                <a:gd name="connsiteY407" fmla="*/ 728457 h 857029"/>
                <a:gd name="connsiteX408" fmla="*/ 443438 w 511468"/>
                <a:gd name="connsiteY408" fmla="*/ 728247 h 857029"/>
                <a:gd name="connsiteX409" fmla="*/ 445150 w 511468"/>
                <a:gd name="connsiteY409" fmla="*/ 728145 h 857029"/>
                <a:gd name="connsiteX410" fmla="*/ 446096 w 511468"/>
                <a:gd name="connsiteY410" fmla="*/ 726941 h 857029"/>
                <a:gd name="connsiteX411" fmla="*/ 446031 w 511468"/>
                <a:gd name="connsiteY411" fmla="*/ 724773 h 857029"/>
                <a:gd name="connsiteX412" fmla="*/ 446876 w 511468"/>
                <a:gd name="connsiteY412" fmla="*/ 722774 h 857029"/>
                <a:gd name="connsiteX413" fmla="*/ 448448 w 511468"/>
                <a:gd name="connsiteY413" fmla="*/ 719015 h 857029"/>
                <a:gd name="connsiteX414" fmla="*/ 450128 w 511468"/>
                <a:gd name="connsiteY414" fmla="*/ 717048 h 857029"/>
                <a:gd name="connsiteX415" fmla="*/ 450059 w 511468"/>
                <a:gd name="connsiteY415" fmla="*/ 716172 h 857029"/>
                <a:gd name="connsiteX416" fmla="*/ 449180 w 511468"/>
                <a:gd name="connsiteY416" fmla="*/ 715803 h 857029"/>
                <a:gd name="connsiteX417" fmla="*/ 448033 w 511468"/>
                <a:gd name="connsiteY417" fmla="*/ 715619 h 857029"/>
                <a:gd name="connsiteX418" fmla="*/ 447617 w 511468"/>
                <a:gd name="connsiteY418" fmla="*/ 715213 h 857029"/>
                <a:gd name="connsiteX419" fmla="*/ 447670 w 511468"/>
                <a:gd name="connsiteY419" fmla="*/ 714387 h 857029"/>
                <a:gd name="connsiteX420" fmla="*/ 448554 w 511468"/>
                <a:gd name="connsiteY420" fmla="*/ 713580 h 857029"/>
                <a:gd name="connsiteX421" fmla="*/ 448394 w 511468"/>
                <a:gd name="connsiteY421" fmla="*/ 711918 h 857029"/>
                <a:gd name="connsiteX422" fmla="*/ 447839 w 511468"/>
                <a:gd name="connsiteY422" fmla="*/ 710071 h 857029"/>
                <a:gd name="connsiteX423" fmla="*/ 447355 w 511468"/>
                <a:gd name="connsiteY423" fmla="*/ 708409 h 857029"/>
                <a:gd name="connsiteX424" fmla="*/ 445803 w 511468"/>
                <a:gd name="connsiteY424" fmla="*/ 707583 h 857029"/>
                <a:gd name="connsiteX425" fmla="*/ 443133 w 511468"/>
                <a:gd name="connsiteY425" fmla="*/ 707034 h 857029"/>
                <a:gd name="connsiteX426" fmla="*/ 443702 w 511468"/>
                <a:gd name="connsiteY426" fmla="*/ 705010 h 857029"/>
                <a:gd name="connsiteX427" fmla="*/ 444457 w 511468"/>
                <a:gd name="connsiteY427" fmla="*/ 702823 h 857029"/>
                <a:gd name="connsiteX428" fmla="*/ 445591 w 511468"/>
                <a:gd name="connsiteY428" fmla="*/ 701607 h 857029"/>
                <a:gd name="connsiteX429" fmla="*/ 446409 w 511468"/>
                <a:gd name="connsiteY429" fmla="*/ 700877 h 857029"/>
                <a:gd name="connsiteX430" fmla="*/ 448869 w 511468"/>
                <a:gd name="connsiteY430" fmla="*/ 701275 h 857029"/>
                <a:gd name="connsiteX431" fmla="*/ 450646 w 511468"/>
                <a:gd name="connsiteY431" fmla="*/ 700887 h 857029"/>
                <a:gd name="connsiteX432" fmla="*/ 451069 w 511468"/>
                <a:gd name="connsiteY432" fmla="*/ 700468 h 857029"/>
                <a:gd name="connsiteX433" fmla="*/ 450750 w 511468"/>
                <a:gd name="connsiteY433" fmla="*/ 699633 h 857029"/>
                <a:gd name="connsiteX434" fmla="*/ 447977 w 511468"/>
                <a:gd name="connsiteY434" fmla="*/ 698876 h 857029"/>
                <a:gd name="connsiteX435" fmla="*/ 445535 w 511468"/>
                <a:gd name="connsiteY435" fmla="*/ 697836 h 857029"/>
                <a:gd name="connsiteX436" fmla="*/ 444481 w 511468"/>
                <a:gd name="connsiteY436" fmla="*/ 696550 h 857029"/>
                <a:gd name="connsiteX437" fmla="*/ 444058 w 511468"/>
                <a:gd name="connsiteY437" fmla="*/ 695171 h 857029"/>
                <a:gd name="connsiteX438" fmla="*/ 445671 w 511468"/>
                <a:gd name="connsiteY438" fmla="*/ 694353 h 857029"/>
                <a:gd name="connsiteX439" fmla="*/ 448551 w 511468"/>
                <a:gd name="connsiteY439" fmla="*/ 693568 h 857029"/>
                <a:gd name="connsiteX440" fmla="*/ 450467 w 511468"/>
                <a:gd name="connsiteY440" fmla="*/ 691689 h 857029"/>
                <a:gd name="connsiteX441" fmla="*/ 452538 w 511468"/>
                <a:gd name="connsiteY441" fmla="*/ 689675 h 857029"/>
                <a:gd name="connsiteX442" fmla="*/ 453395 w 511468"/>
                <a:gd name="connsiteY442" fmla="*/ 688208 h 857029"/>
                <a:gd name="connsiteX443" fmla="*/ 453827 w 511468"/>
                <a:gd name="connsiteY443" fmla="*/ 686615 h 857029"/>
                <a:gd name="connsiteX444" fmla="*/ 453779 w 511468"/>
                <a:gd name="connsiteY444" fmla="*/ 684850 h 857029"/>
                <a:gd name="connsiteX445" fmla="*/ 452268 w 511468"/>
                <a:gd name="connsiteY445" fmla="*/ 683053 h 857029"/>
                <a:gd name="connsiteX446" fmla="*/ 452268 w 511468"/>
                <a:gd name="connsiteY446" fmla="*/ 681173 h 857029"/>
                <a:gd name="connsiteX447" fmla="*/ 453088 w 511468"/>
                <a:gd name="connsiteY447" fmla="*/ 679864 h 857029"/>
                <a:gd name="connsiteX448" fmla="*/ 452773 w 511468"/>
                <a:gd name="connsiteY448" fmla="*/ 678882 h 857029"/>
                <a:gd name="connsiteX449" fmla="*/ 451667 w 511468"/>
                <a:gd name="connsiteY449" fmla="*/ 678312 h 857029"/>
                <a:gd name="connsiteX450" fmla="*/ 450072 w 511468"/>
                <a:gd name="connsiteY450" fmla="*/ 678483 h 857029"/>
                <a:gd name="connsiteX451" fmla="*/ 448266 w 511468"/>
                <a:gd name="connsiteY451" fmla="*/ 679146 h 857029"/>
                <a:gd name="connsiteX452" fmla="*/ 446137 w 511468"/>
                <a:gd name="connsiteY452" fmla="*/ 679021 h 857029"/>
                <a:gd name="connsiteX453" fmla="*/ 442732 w 511468"/>
                <a:gd name="connsiteY453" fmla="*/ 676761 h 857029"/>
                <a:gd name="connsiteX454" fmla="*/ 439110 w 511468"/>
                <a:gd name="connsiteY454" fmla="*/ 674536 h 857029"/>
                <a:gd name="connsiteX455" fmla="*/ 437025 w 511468"/>
                <a:gd name="connsiteY455" fmla="*/ 674461 h 857029"/>
                <a:gd name="connsiteX456" fmla="*/ 435576 w 511468"/>
                <a:gd name="connsiteY456" fmla="*/ 674133 h 857029"/>
                <a:gd name="connsiteX457" fmla="*/ 434317 w 511468"/>
                <a:gd name="connsiteY457" fmla="*/ 672985 h 857029"/>
                <a:gd name="connsiteX458" fmla="*/ 433561 w 511468"/>
                <a:gd name="connsiteY458" fmla="*/ 671508 h 857029"/>
                <a:gd name="connsiteX459" fmla="*/ 432743 w 511468"/>
                <a:gd name="connsiteY459" fmla="*/ 670853 h 857029"/>
                <a:gd name="connsiteX460" fmla="*/ 431419 w 511468"/>
                <a:gd name="connsiteY460" fmla="*/ 671262 h 857029"/>
                <a:gd name="connsiteX461" fmla="*/ 429490 w 511468"/>
                <a:gd name="connsiteY461" fmla="*/ 671934 h 857029"/>
                <a:gd name="connsiteX462" fmla="*/ 427072 w 511468"/>
                <a:gd name="connsiteY462" fmla="*/ 671753 h 857029"/>
                <a:gd name="connsiteX463" fmla="*/ 423939 w 511468"/>
                <a:gd name="connsiteY463" fmla="*/ 670035 h 857029"/>
                <a:gd name="connsiteX464" fmla="*/ 421088 w 511468"/>
                <a:gd name="connsiteY464" fmla="*/ 668058 h 857029"/>
                <a:gd name="connsiteX465" fmla="*/ 418970 w 511468"/>
                <a:gd name="connsiteY465" fmla="*/ 668009 h 857029"/>
                <a:gd name="connsiteX466" fmla="*/ 416742 w 511468"/>
                <a:gd name="connsiteY466" fmla="*/ 667735 h 857029"/>
                <a:gd name="connsiteX467" fmla="*/ 412483 w 511468"/>
                <a:gd name="connsiteY467" fmla="*/ 665187 h 857029"/>
                <a:gd name="connsiteX468" fmla="*/ 411380 w 511468"/>
                <a:gd name="connsiteY468" fmla="*/ 665212 h 857029"/>
                <a:gd name="connsiteX469" fmla="*/ 410691 w 511468"/>
                <a:gd name="connsiteY469" fmla="*/ 665965 h 857029"/>
                <a:gd name="connsiteX470" fmla="*/ 410363 w 511468"/>
                <a:gd name="connsiteY470" fmla="*/ 668010 h 857029"/>
                <a:gd name="connsiteX471" fmla="*/ 410011 w 511468"/>
                <a:gd name="connsiteY471" fmla="*/ 668447 h 857029"/>
                <a:gd name="connsiteX472" fmla="*/ 409253 w 511468"/>
                <a:gd name="connsiteY472" fmla="*/ 668781 h 857029"/>
                <a:gd name="connsiteX473" fmla="*/ 407802 w 511468"/>
                <a:gd name="connsiteY473" fmla="*/ 669006 h 857029"/>
                <a:gd name="connsiteX474" fmla="*/ 405666 w 511468"/>
                <a:gd name="connsiteY474" fmla="*/ 667731 h 857029"/>
                <a:gd name="connsiteX475" fmla="*/ 400224 w 511468"/>
                <a:gd name="connsiteY475" fmla="*/ 663548 h 857029"/>
                <a:gd name="connsiteX476" fmla="*/ 398033 w 511468"/>
                <a:gd name="connsiteY476" fmla="*/ 660486 h 857029"/>
                <a:gd name="connsiteX477" fmla="*/ 397530 w 511468"/>
                <a:gd name="connsiteY477" fmla="*/ 658260 h 857029"/>
                <a:gd name="connsiteX478" fmla="*/ 395739 w 511468"/>
                <a:gd name="connsiteY478" fmla="*/ 656844 h 857029"/>
                <a:gd name="connsiteX479" fmla="*/ 394003 w 511468"/>
                <a:gd name="connsiteY479" fmla="*/ 654792 h 857029"/>
                <a:gd name="connsiteX480" fmla="*/ 392241 w 511468"/>
                <a:gd name="connsiteY480" fmla="*/ 654614 h 857029"/>
                <a:gd name="connsiteX481" fmla="*/ 390289 w 511468"/>
                <a:gd name="connsiteY481" fmla="*/ 655271 h 857029"/>
                <a:gd name="connsiteX482" fmla="*/ 388436 w 511468"/>
                <a:gd name="connsiteY482" fmla="*/ 656259 h 857029"/>
                <a:gd name="connsiteX483" fmla="*/ 387555 w 511468"/>
                <a:gd name="connsiteY483" fmla="*/ 656531 h 857029"/>
                <a:gd name="connsiteX484" fmla="*/ 384398 w 511468"/>
                <a:gd name="connsiteY484" fmla="*/ 656877 h 857029"/>
                <a:gd name="connsiteX485" fmla="*/ 379326 w 511468"/>
                <a:gd name="connsiteY485" fmla="*/ 658260 h 857029"/>
                <a:gd name="connsiteX486" fmla="*/ 377939 w 511468"/>
                <a:gd name="connsiteY486" fmla="*/ 659580 h 857029"/>
                <a:gd name="connsiteX487" fmla="*/ 376238 w 511468"/>
                <a:gd name="connsiteY487" fmla="*/ 660651 h 857029"/>
                <a:gd name="connsiteX488" fmla="*/ 374916 w 511468"/>
                <a:gd name="connsiteY488" fmla="*/ 659909 h 857029"/>
                <a:gd name="connsiteX489" fmla="*/ 373593 w 511468"/>
                <a:gd name="connsiteY489" fmla="*/ 658589 h 857029"/>
                <a:gd name="connsiteX490" fmla="*/ 370697 w 511468"/>
                <a:gd name="connsiteY490" fmla="*/ 658115 h 857029"/>
                <a:gd name="connsiteX491" fmla="*/ 369309 w 511468"/>
                <a:gd name="connsiteY491" fmla="*/ 658589 h 857029"/>
                <a:gd name="connsiteX492" fmla="*/ 367922 w 511468"/>
                <a:gd name="connsiteY492" fmla="*/ 657682 h 857029"/>
                <a:gd name="connsiteX493" fmla="*/ 366730 w 511468"/>
                <a:gd name="connsiteY493" fmla="*/ 656058 h 857029"/>
                <a:gd name="connsiteX494" fmla="*/ 365115 w 511468"/>
                <a:gd name="connsiteY494" fmla="*/ 654877 h 857029"/>
                <a:gd name="connsiteX495" fmla="*/ 362714 w 511468"/>
                <a:gd name="connsiteY495" fmla="*/ 654554 h 857029"/>
                <a:gd name="connsiteX496" fmla="*/ 360114 w 511468"/>
                <a:gd name="connsiteY496" fmla="*/ 654049 h 857029"/>
                <a:gd name="connsiteX497" fmla="*/ 358034 w 511468"/>
                <a:gd name="connsiteY497" fmla="*/ 654958 h 857029"/>
                <a:gd name="connsiteX498" fmla="*/ 355326 w 511468"/>
                <a:gd name="connsiteY498" fmla="*/ 656691 h 857029"/>
                <a:gd name="connsiteX499" fmla="*/ 353500 w 511468"/>
                <a:gd name="connsiteY499" fmla="*/ 656031 h 857029"/>
                <a:gd name="connsiteX500" fmla="*/ 352491 w 511468"/>
                <a:gd name="connsiteY500" fmla="*/ 653965 h 857029"/>
                <a:gd name="connsiteX501" fmla="*/ 351230 w 511468"/>
                <a:gd name="connsiteY501" fmla="*/ 653387 h 857029"/>
                <a:gd name="connsiteX502" fmla="*/ 349531 w 511468"/>
                <a:gd name="connsiteY502" fmla="*/ 651070 h 857029"/>
                <a:gd name="connsiteX503" fmla="*/ 349090 w 511468"/>
                <a:gd name="connsiteY503" fmla="*/ 649000 h 857029"/>
                <a:gd name="connsiteX504" fmla="*/ 349531 w 511468"/>
                <a:gd name="connsiteY504" fmla="*/ 648090 h 857029"/>
                <a:gd name="connsiteX505" fmla="*/ 350161 w 511468"/>
                <a:gd name="connsiteY505" fmla="*/ 646930 h 857029"/>
                <a:gd name="connsiteX506" fmla="*/ 350161 w 511468"/>
                <a:gd name="connsiteY506" fmla="*/ 645603 h 857029"/>
                <a:gd name="connsiteX507" fmla="*/ 349658 w 511468"/>
                <a:gd name="connsiteY507" fmla="*/ 644441 h 857029"/>
                <a:gd name="connsiteX508" fmla="*/ 348902 w 511468"/>
                <a:gd name="connsiteY508" fmla="*/ 643528 h 857029"/>
                <a:gd name="connsiteX509" fmla="*/ 348082 w 511468"/>
                <a:gd name="connsiteY509" fmla="*/ 640455 h 857029"/>
                <a:gd name="connsiteX510" fmla="*/ 347389 w 511468"/>
                <a:gd name="connsiteY510" fmla="*/ 639124 h 857029"/>
                <a:gd name="connsiteX511" fmla="*/ 347263 w 511468"/>
                <a:gd name="connsiteY511" fmla="*/ 638044 h 857029"/>
                <a:gd name="connsiteX512" fmla="*/ 347831 w 511468"/>
                <a:gd name="connsiteY512" fmla="*/ 637044 h 857029"/>
                <a:gd name="connsiteX513" fmla="*/ 347326 w 511468"/>
                <a:gd name="connsiteY513" fmla="*/ 636379 h 857029"/>
                <a:gd name="connsiteX514" fmla="*/ 346380 w 511468"/>
                <a:gd name="connsiteY514" fmla="*/ 636295 h 857029"/>
                <a:gd name="connsiteX515" fmla="*/ 344808 w 511468"/>
                <a:gd name="connsiteY515" fmla="*/ 636379 h 857029"/>
                <a:gd name="connsiteX516" fmla="*/ 343925 w 511468"/>
                <a:gd name="connsiteY516" fmla="*/ 635879 h 857029"/>
                <a:gd name="connsiteX517" fmla="*/ 342979 w 511468"/>
                <a:gd name="connsiteY517" fmla="*/ 634129 h 857029"/>
                <a:gd name="connsiteX518" fmla="*/ 342476 w 511468"/>
                <a:gd name="connsiteY518" fmla="*/ 632379 h 857029"/>
                <a:gd name="connsiteX519" fmla="*/ 341845 w 511468"/>
                <a:gd name="connsiteY519" fmla="*/ 631712 h 857029"/>
                <a:gd name="connsiteX520" fmla="*/ 340213 w 511468"/>
                <a:gd name="connsiteY520" fmla="*/ 631761 h 857029"/>
                <a:gd name="connsiteX521" fmla="*/ 337522 w 511468"/>
                <a:gd name="connsiteY521" fmla="*/ 632128 h 857029"/>
                <a:gd name="connsiteX522" fmla="*/ 335130 w 511468"/>
                <a:gd name="connsiteY522" fmla="*/ 632710 h 857029"/>
                <a:gd name="connsiteX523" fmla="*/ 334067 w 511468"/>
                <a:gd name="connsiteY523" fmla="*/ 632626 h 857029"/>
                <a:gd name="connsiteX524" fmla="*/ 331955 w 511468"/>
                <a:gd name="connsiteY524" fmla="*/ 631721 h 857029"/>
                <a:gd name="connsiteX525" fmla="*/ 329174 w 511468"/>
                <a:gd name="connsiteY525" fmla="*/ 630727 h 857029"/>
                <a:gd name="connsiteX526" fmla="*/ 323495 w 511468"/>
                <a:gd name="connsiteY526" fmla="*/ 630530 h 857029"/>
                <a:gd name="connsiteX527" fmla="*/ 323046 w 511468"/>
                <a:gd name="connsiteY527" fmla="*/ 630191 h 857029"/>
                <a:gd name="connsiteX528" fmla="*/ 323368 w 511468"/>
                <a:gd name="connsiteY528" fmla="*/ 629561 h 857029"/>
                <a:gd name="connsiteX529" fmla="*/ 324523 w 511468"/>
                <a:gd name="connsiteY529" fmla="*/ 628540 h 857029"/>
                <a:gd name="connsiteX530" fmla="*/ 324398 w 511468"/>
                <a:gd name="connsiteY530" fmla="*/ 627704 h 857029"/>
                <a:gd name="connsiteX531" fmla="*/ 323400 w 511468"/>
                <a:gd name="connsiteY531" fmla="*/ 627028 h 857029"/>
                <a:gd name="connsiteX532" fmla="*/ 322884 w 511468"/>
                <a:gd name="connsiteY532" fmla="*/ 625364 h 857029"/>
                <a:gd name="connsiteX533" fmla="*/ 322944 w 511468"/>
                <a:gd name="connsiteY533" fmla="*/ 623480 h 857029"/>
                <a:gd name="connsiteX534" fmla="*/ 322759 w 511468"/>
                <a:gd name="connsiteY534" fmla="*/ 621430 h 857029"/>
                <a:gd name="connsiteX535" fmla="*/ 321562 w 511468"/>
                <a:gd name="connsiteY535" fmla="*/ 619837 h 857029"/>
                <a:gd name="connsiteX536" fmla="*/ 320869 w 511468"/>
                <a:gd name="connsiteY536" fmla="*/ 618748 h 857029"/>
                <a:gd name="connsiteX537" fmla="*/ 320994 w 511468"/>
                <a:gd name="connsiteY537" fmla="*/ 617741 h 857029"/>
                <a:gd name="connsiteX538" fmla="*/ 323605 w 511468"/>
                <a:gd name="connsiteY538" fmla="*/ 617356 h 857029"/>
                <a:gd name="connsiteX539" fmla="*/ 326704 w 511468"/>
                <a:gd name="connsiteY539" fmla="*/ 616641 h 857029"/>
                <a:gd name="connsiteX540" fmla="*/ 327222 w 511468"/>
                <a:gd name="connsiteY540" fmla="*/ 615904 h 857029"/>
                <a:gd name="connsiteX541" fmla="*/ 327114 w 511468"/>
                <a:gd name="connsiteY541" fmla="*/ 614757 h 857029"/>
                <a:gd name="connsiteX542" fmla="*/ 320817 w 511468"/>
                <a:gd name="connsiteY542" fmla="*/ 608875 h 857029"/>
                <a:gd name="connsiteX543" fmla="*/ 318656 w 511468"/>
                <a:gd name="connsiteY543" fmla="*/ 603657 h 857029"/>
                <a:gd name="connsiteX544" fmla="*/ 316594 w 511468"/>
                <a:gd name="connsiteY544" fmla="*/ 600825 h 857029"/>
                <a:gd name="connsiteX545" fmla="*/ 314311 w 511468"/>
                <a:gd name="connsiteY545" fmla="*/ 598921 h 857029"/>
                <a:gd name="connsiteX546" fmla="*/ 312463 w 511468"/>
                <a:gd name="connsiteY546" fmla="*/ 598056 h 857029"/>
                <a:gd name="connsiteX547" fmla="*/ 309768 w 511468"/>
                <a:gd name="connsiteY547" fmla="*/ 598417 h 857029"/>
                <a:gd name="connsiteX548" fmla="*/ 306196 w 511468"/>
                <a:gd name="connsiteY548" fmla="*/ 598382 h 857029"/>
                <a:gd name="connsiteX549" fmla="*/ 302553 w 511468"/>
                <a:gd name="connsiteY549" fmla="*/ 597795 h 857029"/>
                <a:gd name="connsiteX550" fmla="*/ 299487 w 511468"/>
                <a:gd name="connsiteY550" fmla="*/ 598185 h 857029"/>
                <a:gd name="connsiteX551" fmla="*/ 293987 w 511468"/>
                <a:gd name="connsiteY551" fmla="*/ 600681 h 857029"/>
                <a:gd name="connsiteX552" fmla="*/ 291925 w 511468"/>
                <a:gd name="connsiteY552" fmla="*/ 600791 h 857029"/>
                <a:gd name="connsiteX553" fmla="*/ 288364 w 511468"/>
                <a:gd name="connsiteY553" fmla="*/ 600006 h 857029"/>
                <a:gd name="connsiteX554" fmla="*/ 285324 w 511468"/>
                <a:gd name="connsiteY554" fmla="*/ 599132 h 857029"/>
                <a:gd name="connsiteX555" fmla="*/ 283721 w 511468"/>
                <a:gd name="connsiteY555" fmla="*/ 599171 h 857029"/>
                <a:gd name="connsiteX556" fmla="*/ 282745 w 511468"/>
                <a:gd name="connsiteY556" fmla="*/ 599539 h 857029"/>
                <a:gd name="connsiteX557" fmla="*/ 282119 w 511468"/>
                <a:gd name="connsiteY557" fmla="*/ 600213 h 857029"/>
                <a:gd name="connsiteX558" fmla="*/ 280346 w 511468"/>
                <a:gd name="connsiteY558" fmla="*/ 604899 h 857029"/>
                <a:gd name="connsiteX559" fmla="*/ 278887 w 511468"/>
                <a:gd name="connsiteY559" fmla="*/ 605819 h 857029"/>
                <a:gd name="connsiteX560" fmla="*/ 276796 w 511468"/>
                <a:gd name="connsiteY560" fmla="*/ 606776 h 857029"/>
                <a:gd name="connsiteX561" fmla="*/ 275012 w 511468"/>
                <a:gd name="connsiteY561" fmla="*/ 606941 h 857029"/>
                <a:gd name="connsiteX562" fmla="*/ 273514 w 511468"/>
                <a:gd name="connsiteY562" fmla="*/ 606893 h 857029"/>
                <a:gd name="connsiteX563" fmla="*/ 271342 w 511468"/>
                <a:gd name="connsiteY563" fmla="*/ 606175 h 857029"/>
                <a:gd name="connsiteX564" fmla="*/ 269281 w 511468"/>
                <a:gd name="connsiteY564" fmla="*/ 605331 h 857029"/>
                <a:gd name="connsiteX565" fmla="*/ 268860 w 511468"/>
                <a:gd name="connsiteY565" fmla="*/ 605282 h 857029"/>
                <a:gd name="connsiteX566" fmla="*/ 268755 w 511468"/>
                <a:gd name="connsiteY566" fmla="*/ 604549 h 857029"/>
                <a:gd name="connsiteX567" fmla="*/ 267252 w 511468"/>
                <a:gd name="connsiteY567" fmla="*/ 601739 h 857029"/>
                <a:gd name="connsiteX568" fmla="*/ 266351 w 511468"/>
                <a:gd name="connsiteY568" fmla="*/ 600507 h 857029"/>
                <a:gd name="connsiteX569" fmla="*/ 265282 w 511468"/>
                <a:gd name="connsiteY569" fmla="*/ 599836 h 857029"/>
                <a:gd name="connsiteX570" fmla="*/ 264747 w 511468"/>
                <a:gd name="connsiteY570" fmla="*/ 599020 h 857029"/>
                <a:gd name="connsiteX571" fmla="*/ 264730 w 511468"/>
                <a:gd name="connsiteY571" fmla="*/ 595642 h 857029"/>
                <a:gd name="connsiteX572" fmla="*/ 264928 w 511468"/>
                <a:gd name="connsiteY572" fmla="*/ 592475 h 857029"/>
                <a:gd name="connsiteX573" fmla="*/ 265600 w 511468"/>
                <a:gd name="connsiteY573" fmla="*/ 592067 h 857029"/>
                <a:gd name="connsiteX574" fmla="*/ 263615 w 511468"/>
                <a:gd name="connsiteY574" fmla="*/ 589481 h 857029"/>
                <a:gd name="connsiteX575" fmla="*/ 263466 w 511468"/>
                <a:gd name="connsiteY575" fmla="*/ 587521 h 857029"/>
                <a:gd name="connsiteX576" fmla="*/ 264440 w 511468"/>
                <a:gd name="connsiteY576" fmla="*/ 586545 h 857029"/>
                <a:gd name="connsiteX577" fmla="*/ 264470 w 511468"/>
                <a:gd name="connsiteY577" fmla="*/ 585716 h 857029"/>
                <a:gd name="connsiteX578" fmla="*/ 263814 w 511468"/>
                <a:gd name="connsiteY578" fmla="*/ 584551 h 857029"/>
                <a:gd name="connsiteX579" fmla="*/ 261771 w 511468"/>
                <a:gd name="connsiteY579" fmla="*/ 582651 h 857029"/>
                <a:gd name="connsiteX580" fmla="*/ 259787 w 511468"/>
                <a:gd name="connsiteY580" fmla="*/ 580509 h 857029"/>
                <a:gd name="connsiteX581" fmla="*/ 258506 w 511468"/>
                <a:gd name="connsiteY581" fmla="*/ 578823 h 857029"/>
                <a:gd name="connsiteX582" fmla="*/ 257703 w 511468"/>
                <a:gd name="connsiteY582" fmla="*/ 578017 h 857029"/>
                <a:gd name="connsiteX583" fmla="*/ 258679 w 511468"/>
                <a:gd name="connsiteY583" fmla="*/ 576693 h 857029"/>
                <a:gd name="connsiteX584" fmla="*/ 260042 w 511468"/>
                <a:gd name="connsiteY584" fmla="*/ 574352 h 857029"/>
                <a:gd name="connsiteX585" fmla="*/ 260568 w 511468"/>
                <a:gd name="connsiteY585" fmla="*/ 572977 h 857029"/>
                <a:gd name="connsiteX586" fmla="*/ 261221 w 511468"/>
                <a:gd name="connsiteY586" fmla="*/ 572640 h 857029"/>
                <a:gd name="connsiteX587" fmla="*/ 264429 w 511468"/>
                <a:gd name="connsiteY587" fmla="*/ 572446 h 857029"/>
                <a:gd name="connsiteX588" fmla="*/ 266757 w 511468"/>
                <a:gd name="connsiteY588" fmla="*/ 572493 h 857029"/>
                <a:gd name="connsiteX589" fmla="*/ 268508 w 511468"/>
                <a:gd name="connsiteY589" fmla="*/ 572996 h 857029"/>
                <a:gd name="connsiteX590" fmla="*/ 269171 w 511468"/>
                <a:gd name="connsiteY590" fmla="*/ 574115 h 857029"/>
                <a:gd name="connsiteX591" fmla="*/ 270769 w 511468"/>
                <a:gd name="connsiteY591" fmla="*/ 575335 h 857029"/>
                <a:gd name="connsiteX592" fmla="*/ 275319 w 511468"/>
                <a:gd name="connsiteY592" fmla="*/ 575837 h 857029"/>
                <a:gd name="connsiteX593" fmla="*/ 277232 w 511468"/>
                <a:gd name="connsiteY593" fmla="*/ 575786 h 857029"/>
                <a:gd name="connsiteX594" fmla="*/ 279636 w 511468"/>
                <a:gd name="connsiteY594" fmla="*/ 574670 h 857029"/>
                <a:gd name="connsiteX595" fmla="*/ 283518 w 511468"/>
                <a:gd name="connsiteY595" fmla="*/ 572203 h 857029"/>
                <a:gd name="connsiteX596" fmla="*/ 284471 w 511468"/>
                <a:gd name="connsiteY596" fmla="*/ 570409 h 857029"/>
                <a:gd name="connsiteX597" fmla="*/ 286874 w 511468"/>
                <a:gd name="connsiteY597" fmla="*/ 569144 h 857029"/>
                <a:gd name="connsiteX598" fmla="*/ 288342 w 511468"/>
                <a:gd name="connsiteY598" fmla="*/ 568648 h 857029"/>
                <a:gd name="connsiteX599" fmla="*/ 289666 w 511468"/>
                <a:gd name="connsiteY599" fmla="*/ 568425 h 857029"/>
                <a:gd name="connsiteX600" fmla="*/ 289798 w 511468"/>
                <a:gd name="connsiteY600" fmla="*/ 567369 h 857029"/>
                <a:gd name="connsiteX601" fmla="*/ 289713 w 511468"/>
                <a:gd name="connsiteY601" fmla="*/ 565924 h 857029"/>
                <a:gd name="connsiteX602" fmla="*/ 289256 w 511468"/>
                <a:gd name="connsiteY602" fmla="*/ 565060 h 857029"/>
                <a:gd name="connsiteX603" fmla="*/ 284477 w 511468"/>
                <a:gd name="connsiteY603" fmla="*/ 562081 h 857029"/>
                <a:gd name="connsiteX604" fmla="*/ 283875 w 511468"/>
                <a:gd name="connsiteY604" fmla="*/ 561108 h 857029"/>
                <a:gd name="connsiteX605" fmla="*/ 283494 w 511468"/>
                <a:gd name="connsiteY605" fmla="*/ 559960 h 857029"/>
                <a:gd name="connsiteX606" fmla="*/ 284064 w 511468"/>
                <a:gd name="connsiteY606" fmla="*/ 558872 h 857029"/>
                <a:gd name="connsiteX607" fmla="*/ 284047 w 511468"/>
                <a:gd name="connsiteY607" fmla="*/ 557676 h 857029"/>
                <a:gd name="connsiteX608" fmla="*/ 278524 w 511468"/>
                <a:gd name="connsiteY608" fmla="*/ 555006 h 857029"/>
                <a:gd name="connsiteX609" fmla="*/ 273920 w 511468"/>
                <a:gd name="connsiteY609" fmla="*/ 554533 h 857029"/>
                <a:gd name="connsiteX610" fmla="*/ 270130 w 511468"/>
                <a:gd name="connsiteY610" fmla="*/ 554683 h 857029"/>
                <a:gd name="connsiteX611" fmla="*/ 268657 w 511468"/>
                <a:gd name="connsiteY611" fmla="*/ 554123 h 857029"/>
                <a:gd name="connsiteX612" fmla="*/ 269294 w 511468"/>
                <a:gd name="connsiteY612" fmla="*/ 552775 h 857029"/>
                <a:gd name="connsiteX613" fmla="*/ 270229 w 511468"/>
                <a:gd name="connsiteY613" fmla="*/ 550351 h 857029"/>
                <a:gd name="connsiteX614" fmla="*/ 270506 w 511468"/>
                <a:gd name="connsiteY614" fmla="*/ 548356 h 857029"/>
                <a:gd name="connsiteX615" fmla="*/ 270244 w 511468"/>
                <a:gd name="connsiteY615" fmla="*/ 547448 h 857029"/>
                <a:gd name="connsiteX616" fmla="*/ 269493 w 511468"/>
                <a:gd name="connsiteY616" fmla="*/ 546684 h 857029"/>
                <a:gd name="connsiteX617" fmla="*/ 265876 w 511468"/>
                <a:gd name="connsiteY617" fmla="*/ 545005 h 857029"/>
                <a:gd name="connsiteX618" fmla="*/ 260905 w 511468"/>
                <a:gd name="connsiteY618" fmla="*/ 542429 h 857029"/>
                <a:gd name="connsiteX619" fmla="*/ 258595 w 511468"/>
                <a:gd name="connsiteY619" fmla="*/ 539515 h 857029"/>
                <a:gd name="connsiteX620" fmla="*/ 257409 w 511468"/>
                <a:gd name="connsiteY620" fmla="*/ 536469 h 857029"/>
                <a:gd name="connsiteX621" fmla="*/ 256066 w 511468"/>
                <a:gd name="connsiteY621" fmla="*/ 534599 h 857029"/>
                <a:gd name="connsiteX622" fmla="*/ 253635 w 511468"/>
                <a:gd name="connsiteY622" fmla="*/ 533414 h 857029"/>
                <a:gd name="connsiteX623" fmla="*/ 253792 w 511468"/>
                <a:gd name="connsiteY623" fmla="*/ 532641 h 857029"/>
                <a:gd name="connsiteX624" fmla="*/ 255405 w 511468"/>
                <a:gd name="connsiteY624" fmla="*/ 529773 h 857029"/>
                <a:gd name="connsiteX625" fmla="*/ 255345 w 511468"/>
                <a:gd name="connsiteY625" fmla="*/ 529333 h 857029"/>
                <a:gd name="connsiteX626" fmla="*/ 254662 w 511468"/>
                <a:gd name="connsiteY626" fmla="*/ 528625 h 857029"/>
                <a:gd name="connsiteX627" fmla="*/ 251630 w 511468"/>
                <a:gd name="connsiteY627" fmla="*/ 527174 h 857029"/>
                <a:gd name="connsiteX628" fmla="*/ 247532 w 511468"/>
                <a:gd name="connsiteY628" fmla="*/ 524498 h 857029"/>
                <a:gd name="connsiteX629" fmla="*/ 247359 w 511468"/>
                <a:gd name="connsiteY629" fmla="*/ 523800 h 857029"/>
                <a:gd name="connsiteX630" fmla="*/ 247657 w 511468"/>
                <a:gd name="connsiteY630" fmla="*/ 522116 h 857029"/>
                <a:gd name="connsiteX631" fmla="*/ 248219 w 511468"/>
                <a:gd name="connsiteY631" fmla="*/ 520457 h 857029"/>
                <a:gd name="connsiteX632" fmla="*/ 249035 w 511468"/>
                <a:gd name="connsiteY632" fmla="*/ 519666 h 857029"/>
                <a:gd name="connsiteX633" fmla="*/ 251488 w 511468"/>
                <a:gd name="connsiteY633" fmla="*/ 516293 h 857029"/>
                <a:gd name="connsiteX634" fmla="*/ 251488 w 511468"/>
                <a:gd name="connsiteY634" fmla="*/ 515145 h 857029"/>
                <a:gd name="connsiteX635" fmla="*/ 251071 w 511468"/>
                <a:gd name="connsiteY635" fmla="*/ 513612 h 857029"/>
                <a:gd name="connsiteX636" fmla="*/ 249270 w 511468"/>
                <a:gd name="connsiteY636" fmla="*/ 510966 h 857029"/>
                <a:gd name="connsiteX637" fmla="*/ 247878 w 511468"/>
                <a:gd name="connsiteY637" fmla="*/ 509262 h 857029"/>
                <a:gd name="connsiteX638" fmla="*/ 247791 w 511468"/>
                <a:gd name="connsiteY638" fmla="*/ 508389 h 857029"/>
                <a:gd name="connsiteX639" fmla="*/ 248022 w 511468"/>
                <a:gd name="connsiteY639" fmla="*/ 507670 h 857029"/>
                <a:gd name="connsiteX640" fmla="*/ 248925 w 511468"/>
                <a:gd name="connsiteY640" fmla="*/ 506740 h 857029"/>
                <a:gd name="connsiteX641" fmla="*/ 249782 w 511468"/>
                <a:gd name="connsiteY641" fmla="*/ 505596 h 857029"/>
                <a:gd name="connsiteX642" fmla="*/ 249963 w 511468"/>
                <a:gd name="connsiteY642" fmla="*/ 501639 h 857029"/>
                <a:gd name="connsiteX643" fmla="*/ 249920 w 511468"/>
                <a:gd name="connsiteY643" fmla="*/ 500255 h 857029"/>
                <a:gd name="connsiteX644" fmla="*/ 249376 w 511468"/>
                <a:gd name="connsiteY644" fmla="*/ 499438 h 857029"/>
                <a:gd name="connsiteX645" fmla="*/ 248795 w 511468"/>
                <a:gd name="connsiteY645" fmla="*/ 499093 h 857029"/>
                <a:gd name="connsiteX646" fmla="*/ 247575 w 511468"/>
                <a:gd name="connsiteY646" fmla="*/ 499291 h 857029"/>
                <a:gd name="connsiteX647" fmla="*/ 245826 w 511468"/>
                <a:gd name="connsiteY647" fmla="*/ 498641 h 857029"/>
                <a:gd name="connsiteX648" fmla="*/ 244513 w 511468"/>
                <a:gd name="connsiteY648" fmla="*/ 497607 h 857029"/>
                <a:gd name="connsiteX649" fmla="*/ 243701 w 511468"/>
                <a:gd name="connsiteY649" fmla="*/ 497272 h 857029"/>
                <a:gd name="connsiteX650" fmla="*/ 242842 w 511468"/>
                <a:gd name="connsiteY650" fmla="*/ 496216 h 857029"/>
                <a:gd name="connsiteX651" fmla="*/ 240380 w 511468"/>
                <a:gd name="connsiteY651" fmla="*/ 494089 h 857029"/>
                <a:gd name="connsiteX652" fmla="*/ 239957 w 511468"/>
                <a:gd name="connsiteY652" fmla="*/ 493529 h 857029"/>
                <a:gd name="connsiteX653" fmla="*/ 235033 w 511468"/>
                <a:gd name="connsiteY653" fmla="*/ 491714 h 857029"/>
                <a:gd name="connsiteX654" fmla="*/ 230812 w 511468"/>
                <a:gd name="connsiteY654" fmla="*/ 491987 h 857029"/>
                <a:gd name="connsiteX655" fmla="*/ 228476 w 511468"/>
                <a:gd name="connsiteY655" fmla="*/ 491712 h 857029"/>
                <a:gd name="connsiteX656" fmla="*/ 227251 w 511468"/>
                <a:gd name="connsiteY656" fmla="*/ 492115 h 857029"/>
                <a:gd name="connsiteX657" fmla="*/ 225975 w 511468"/>
                <a:gd name="connsiteY657" fmla="*/ 493271 h 857029"/>
                <a:gd name="connsiteX658" fmla="*/ 224211 w 511468"/>
                <a:gd name="connsiteY658" fmla="*/ 494039 h 857029"/>
                <a:gd name="connsiteX659" fmla="*/ 222893 w 511468"/>
                <a:gd name="connsiteY659" fmla="*/ 494060 h 857029"/>
                <a:gd name="connsiteX660" fmla="*/ 221688 w 511468"/>
                <a:gd name="connsiteY660" fmla="*/ 494636 h 857029"/>
                <a:gd name="connsiteX661" fmla="*/ 218419 w 511468"/>
                <a:gd name="connsiteY661" fmla="*/ 496704 h 857029"/>
                <a:gd name="connsiteX662" fmla="*/ 216888 w 511468"/>
                <a:gd name="connsiteY662" fmla="*/ 495454 h 857029"/>
                <a:gd name="connsiteX663" fmla="*/ 215571 w 511468"/>
                <a:gd name="connsiteY663" fmla="*/ 493605 h 857029"/>
                <a:gd name="connsiteX664" fmla="*/ 216007 w 511468"/>
                <a:gd name="connsiteY664" fmla="*/ 492040 h 857029"/>
                <a:gd name="connsiteX665" fmla="*/ 216556 w 511468"/>
                <a:gd name="connsiteY665" fmla="*/ 490599 h 857029"/>
                <a:gd name="connsiteX666" fmla="*/ 216515 w 511468"/>
                <a:gd name="connsiteY666" fmla="*/ 489630 h 857029"/>
                <a:gd name="connsiteX667" fmla="*/ 216048 w 511468"/>
                <a:gd name="connsiteY667" fmla="*/ 488804 h 857029"/>
                <a:gd name="connsiteX668" fmla="*/ 214014 w 511468"/>
                <a:gd name="connsiteY668" fmla="*/ 487896 h 857029"/>
                <a:gd name="connsiteX669" fmla="*/ 209689 w 511468"/>
                <a:gd name="connsiteY669" fmla="*/ 486237 h 857029"/>
                <a:gd name="connsiteX670" fmla="*/ 208458 w 511468"/>
                <a:gd name="connsiteY670" fmla="*/ 486217 h 857029"/>
                <a:gd name="connsiteX671" fmla="*/ 206594 w 511468"/>
                <a:gd name="connsiteY671" fmla="*/ 486830 h 857029"/>
                <a:gd name="connsiteX672" fmla="*/ 203217 w 511468"/>
                <a:gd name="connsiteY672" fmla="*/ 488684 h 857029"/>
                <a:gd name="connsiteX673" fmla="*/ 202025 w 511468"/>
                <a:gd name="connsiteY673" fmla="*/ 488286 h 857029"/>
                <a:gd name="connsiteX674" fmla="*/ 200920 w 511468"/>
                <a:gd name="connsiteY674" fmla="*/ 486813 h 857029"/>
                <a:gd name="connsiteX675" fmla="*/ 199728 w 511468"/>
                <a:gd name="connsiteY675" fmla="*/ 484970 h 857029"/>
                <a:gd name="connsiteX676" fmla="*/ 198115 w 511468"/>
                <a:gd name="connsiteY676" fmla="*/ 484027 h 857029"/>
                <a:gd name="connsiteX677" fmla="*/ 194644 w 511468"/>
                <a:gd name="connsiteY677" fmla="*/ 484120 h 857029"/>
                <a:gd name="connsiteX678" fmla="*/ 194314 w 511468"/>
                <a:gd name="connsiteY678" fmla="*/ 484191 h 857029"/>
                <a:gd name="connsiteX679" fmla="*/ 192638 w 511468"/>
                <a:gd name="connsiteY679" fmla="*/ 485258 h 857029"/>
                <a:gd name="connsiteX680" fmla="*/ 191930 w 511468"/>
                <a:gd name="connsiteY680" fmla="*/ 485152 h 857029"/>
                <a:gd name="connsiteX681" fmla="*/ 188916 w 511468"/>
                <a:gd name="connsiteY681" fmla="*/ 482437 h 857029"/>
                <a:gd name="connsiteX682" fmla="*/ 189477 w 511468"/>
                <a:gd name="connsiteY682" fmla="*/ 480956 h 857029"/>
                <a:gd name="connsiteX683" fmla="*/ 190112 w 511468"/>
                <a:gd name="connsiteY683" fmla="*/ 478766 h 857029"/>
                <a:gd name="connsiteX684" fmla="*/ 189883 w 511468"/>
                <a:gd name="connsiteY684" fmla="*/ 477040 h 857029"/>
                <a:gd name="connsiteX685" fmla="*/ 189386 w 511468"/>
                <a:gd name="connsiteY685" fmla="*/ 474807 h 857029"/>
                <a:gd name="connsiteX686" fmla="*/ 188095 w 511468"/>
                <a:gd name="connsiteY686" fmla="*/ 470924 h 857029"/>
                <a:gd name="connsiteX687" fmla="*/ 187924 w 511468"/>
                <a:gd name="connsiteY687" fmla="*/ 469825 h 857029"/>
                <a:gd name="connsiteX688" fmla="*/ 185810 w 511468"/>
                <a:gd name="connsiteY688" fmla="*/ 468124 h 857029"/>
                <a:gd name="connsiteX689" fmla="*/ 185458 w 511468"/>
                <a:gd name="connsiteY689" fmla="*/ 466695 h 857029"/>
                <a:gd name="connsiteX690" fmla="*/ 184348 w 511468"/>
                <a:gd name="connsiteY690" fmla="*/ 464858 h 857029"/>
                <a:gd name="connsiteX691" fmla="*/ 183258 w 511468"/>
                <a:gd name="connsiteY691" fmla="*/ 463682 h 857029"/>
                <a:gd name="connsiteX692" fmla="*/ 183025 w 511468"/>
                <a:gd name="connsiteY692" fmla="*/ 461064 h 857029"/>
                <a:gd name="connsiteX693" fmla="*/ 182297 w 511468"/>
                <a:gd name="connsiteY693" fmla="*/ 460142 h 857029"/>
                <a:gd name="connsiteX694" fmla="*/ 181356 w 511468"/>
                <a:gd name="connsiteY694" fmla="*/ 459710 h 857029"/>
                <a:gd name="connsiteX695" fmla="*/ 178030 w 511468"/>
                <a:gd name="connsiteY695" fmla="*/ 460463 h 857029"/>
                <a:gd name="connsiteX696" fmla="*/ 177672 w 511468"/>
                <a:gd name="connsiteY696" fmla="*/ 460386 h 857029"/>
                <a:gd name="connsiteX697" fmla="*/ 179257 w 511468"/>
                <a:gd name="connsiteY697" fmla="*/ 456207 h 857029"/>
                <a:gd name="connsiteX698" fmla="*/ 179395 w 511468"/>
                <a:gd name="connsiteY698" fmla="*/ 453786 h 857029"/>
                <a:gd name="connsiteX699" fmla="*/ 180399 w 511468"/>
                <a:gd name="connsiteY699" fmla="*/ 451240 h 857029"/>
                <a:gd name="connsiteX700" fmla="*/ 181543 w 511468"/>
                <a:gd name="connsiteY700" fmla="*/ 450233 h 857029"/>
                <a:gd name="connsiteX701" fmla="*/ 181891 w 511468"/>
                <a:gd name="connsiteY701" fmla="*/ 449359 h 857029"/>
                <a:gd name="connsiteX702" fmla="*/ 182068 w 511468"/>
                <a:gd name="connsiteY702" fmla="*/ 447671 h 857029"/>
                <a:gd name="connsiteX703" fmla="*/ 181854 w 511468"/>
                <a:gd name="connsiteY703" fmla="*/ 446224 h 857029"/>
                <a:gd name="connsiteX704" fmla="*/ 181153 w 511468"/>
                <a:gd name="connsiteY704" fmla="*/ 445474 h 857029"/>
                <a:gd name="connsiteX705" fmla="*/ 178408 w 511468"/>
                <a:gd name="connsiteY705" fmla="*/ 443849 h 857029"/>
                <a:gd name="connsiteX706" fmla="*/ 175443 w 511468"/>
                <a:gd name="connsiteY706" fmla="*/ 441889 h 857029"/>
                <a:gd name="connsiteX707" fmla="*/ 174834 w 511468"/>
                <a:gd name="connsiteY707" fmla="*/ 439396 h 857029"/>
                <a:gd name="connsiteX708" fmla="*/ 173918 w 511468"/>
                <a:gd name="connsiteY708" fmla="*/ 438890 h 857029"/>
                <a:gd name="connsiteX709" fmla="*/ 171314 w 511468"/>
                <a:gd name="connsiteY709" fmla="*/ 438760 h 857029"/>
                <a:gd name="connsiteX710" fmla="*/ 171366 w 511468"/>
                <a:gd name="connsiteY710" fmla="*/ 438054 h 857029"/>
                <a:gd name="connsiteX711" fmla="*/ 171753 w 511468"/>
                <a:gd name="connsiteY711" fmla="*/ 436069 h 857029"/>
                <a:gd name="connsiteX712" fmla="*/ 172377 w 511468"/>
                <a:gd name="connsiteY712" fmla="*/ 434339 h 857029"/>
                <a:gd name="connsiteX713" fmla="*/ 174411 w 511468"/>
                <a:gd name="connsiteY713" fmla="*/ 432483 h 857029"/>
                <a:gd name="connsiteX714" fmla="*/ 174914 w 511468"/>
                <a:gd name="connsiteY714" fmla="*/ 431229 h 857029"/>
                <a:gd name="connsiteX715" fmla="*/ 175519 w 511468"/>
                <a:gd name="connsiteY715" fmla="*/ 430103 h 857029"/>
                <a:gd name="connsiteX716" fmla="*/ 180179 w 511468"/>
                <a:gd name="connsiteY716" fmla="*/ 428773 h 857029"/>
                <a:gd name="connsiteX717" fmla="*/ 180712 w 511468"/>
                <a:gd name="connsiteY717" fmla="*/ 428270 h 857029"/>
                <a:gd name="connsiteX718" fmla="*/ 180747 w 511468"/>
                <a:gd name="connsiteY718" fmla="*/ 427823 h 857029"/>
                <a:gd name="connsiteX719" fmla="*/ 180530 w 511468"/>
                <a:gd name="connsiteY719" fmla="*/ 427393 h 857029"/>
                <a:gd name="connsiteX720" fmla="*/ 179496 w 511468"/>
                <a:gd name="connsiteY720" fmla="*/ 426710 h 857029"/>
                <a:gd name="connsiteX721" fmla="*/ 178423 w 511468"/>
                <a:gd name="connsiteY721" fmla="*/ 425777 h 857029"/>
                <a:gd name="connsiteX722" fmla="*/ 177775 w 511468"/>
                <a:gd name="connsiteY722" fmla="*/ 423235 h 857029"/>
                <a:gd name="connsiteX723" fmla="*/ 176160 w 511468"/>
                <a:gd name="connsiteY723" fmla="*/ 419249 h 857029"/>
                <a:gd name="connsiteX724" fmla="*/ 174642 w 511468"/>
                <a:gd name="connsiteY724" fmla="*/ 416573 h 857029"/>
                <a:gd name="connsiteX725" fmla="*/ 174318 w 511468"/>
                <a:gd name="connsiteY725" fmla="*/ 415005 h 857029"/>
                <a:gd name="connsiteX726" fmla="*/ 174711 w 511468"/>
                <a:gd name="connsiteY726" fmla="*/ 413194 h 857029"/>
                <a:gd name="connsiteX727" fmla="*/ 175253 w 511468"/>
                <a:gd name="connsiteY727" fmla="*/ 411415 h 857029"/>
                <a:gd name="connsiteX728" fmla="*/ 175281 w 511468"/>
                <a:gd name="connsiteY728" fmla="*/ 409681 h 857029"/>
                <a:gd name="connsiteX729" fmla="*/ 172975 w 511468"/>
                <a:gd name="connsiteY729" fmla="*/ 400049 h 857029"/>
                <a:gd name="connsiteX730" fmla="*/ 173132 w 511468"/>
                <a:gd name="connsiteY730" fmla="*/ 398291 h 857029"/>
                <a:gd name="connsiteX731" fmla="*/ 173802 w 511468"/>
                <a:gd name="connsiteY731" fmla="*/ 396537 h 857029"/>
                <a:gd name="connsiteX732" fmla="*/ 174877 w 511468"/>
                <a:gd name="connsiteY732" fmla="*/ 395076 h 857029"/>
                <a:gd name="connsiteX733" fmla="*/ 177281 w 511468"/>
                <a:gd name="connsiteY733" fmla="*/ 393169 h 857029"/>
                <a:gd name="connsiteX734" fmla="*/ 180284 w 511468"/>
                <a:gd name="connsiteY734" fmla="*/ 389686 h 857029"/>
                <a:gd name="connsiteX735" fmla="*/ 182316 w 511468"/>
                <a:gd name="connsiteY735" fmla="*/ 385099 h 857029"/>
                <a:gd name="connsiteX736" fmla="*/ 183381 w 511468"/>
                <a:gd name="connsiteY736" fmla="*/ 382324 h 857029"/>
                <a:gd name="connsiteX737" fmla="*/ 184277 w 511468"/>
                <a:gd name="connsiteY737" fmla="*/ 381691 h 857029"/>
                <a:gd name="connsiteX738" fmla="*/ 186007 w 511468"/>
                <a:gd name="connsiteY738" fmla="*/ 381537 h 857029"/>
                <a:gd name="connsiteX739" fmla="*/ 186663 w 511468"/>
                <a:gd name="connsiteY739" fmla="*/ 380683 h 857029"/>
                <a:gd name="connsiteX740" fmla="*/ 187000 w 511468"/>
                <a:gd name="connsiteY740" fmla="*/ 380178 h 857029"/>
                <a:gd name="connsiteX741" fmla="*/ 188482 w 511468"/>
                <a:gd name="connsiteY741" fmla="*/ 379710 h 857029"/>
                <a:gd name="connsiteX742" fmla="*/ 188985 w 511468"/>
                <a:gd name="connsiteY742" fmla="*/ 379159 h 857029"/>
                <a:gd name="connsiteX743" fmla="*/ 188585 w 511468"/>
                <a:gd name="connsiteY743" fmla="*/ 378221 h 857029"/>
                <a:gd name="connsiteX744" fmla="*/ 187099 w 511468"/>
                <a:gd name="connsiteY744" fmla="*/ 376580 h 857029"/>
                <a:gd name="connsiteX745" fmla="*/ 185920 w 511468"/>
                <a:gd name="connsiteY745" fmla="*/ 375560 h 857029"/>
                <a:gd name="connsiteX746" fmla="*/ 187058 w 511468"/>
                <a:gd name="connsiteY746" fmla="*/ 373273 h 857029"/>
                <a:gd name="connsiteX747" fmla="*/ 186668 w 511468"/>
                <a:gd name="connsiteY747" fmla="*/ 370213 h 857029"/>
                <a:gd name="connsiteX748" fmla="*/ 185953 w 511468"/>
                <a:gd name="connsiteY748" fmla="*/ 367662 h 857029"/>
                <a:gd name="connsiteX749" fmla="*/ 186927 w 511468"/>
                <a:gd name="connsiteY749" fmla="*/ 365792 h 857029"/>
                <a:gd name="connsiteX750" fmla="*/ 188544 w 511468"/>
                <a:gd name="connsiteY750" fmla="*/ 365628 h 857029"/>
                <a:gd name="connsiteX751" fmla="*/ 190343 w 511468"/>
                <a:gd name="connsiteY751" fmla="*/ 367665 h 857029"/>
                <a:gd name="connsiteX752" fmla="*/ 193042 w 511468"/>
                <a:gd name="connsiteY752" fmla="*/ 368722 h 857029"/>
                <a:gd name="connsiteX753" fmla="*/ 195014 w 511468"/>
                <a:gd name="connsiteY753" fmla="*/ 367355 h 857029"/>
                <a:gd name="connsiteX754" fmla="*/ 195681 w 511468"/>
                <a:gd name="connsiteY754" fmla="*/ 364714 h 857029"/>
                <a:gd name="connsiteX755" fmla="*/ 197102 w 511468"/>
                <a:gd name="connsiteY755" fmla="*/ 363551 h 857029"/>
                <a:gd name="connsiteX756" fmla="*/ 198998 w 511468"/>
                <a:gd name="connsiteY756" fmla="*/ 364589 h 857029"/>
                <a:gd name="connsiteX757" fmla="*/ 202176 w 511468"/>
                <a:gd name="connsiteY757" fmla="*/ 364964 h 857029"/>
                <a:gd name="connsiteX758" fmla="*/ 204813 w 511468"/>
                <a:gd name="connsiteY758" fmla="*/ 364792 h 857029"/>
                <a:gd name="connsiteX759" fmla="*/ 206590 w 511468"/>
                <a:gd name="connsiteY759" fmla="*/ 364237 h 857029"/>
                <a:gd name="connsiteX760" fmla="*/ 207348 w 511468"/>
                <a:gd name="connsiteY760" fmla="*/ 363378 h 857029"/>
                <a:gd name="connsiteX761" fmla="*/ 208052 w 511468"/>
                <a:gd name="connsiteY761" fmla="*/ 361836 h 857029"/>
                <a:gd name="connsiteX762" fmla="*/ 209505 w 511468"/>
                <a:gd name="connsiteY762" fmla="*/ 359874 h 857029"/>
                <a:gd name="connsiteX763" fmla="*/ 211013 w 511468"/>
                <a:gd name="connsiteY763" fmla="*/ 358593 h 857029"/>
                <a:gd name="connsiteX764" fmla="*/ 222565 w 511468"/>
                <a:gd name="connsiteY764" fmla="*/ 360050 h 857029"/>
                <a:gd name="connsiteX765" fmla="*/ 232578 w 511468"/>
                <a:gd name="connsiteY765" fmla="*/ 362759 h 857029"/>
                <a:gd name="connsiteX766" fmla="*/ 233336 w 511468"/>
                <a:gd name="connsiteY766" fmla="*/ 361745 h 857029"/>
                <a:gd name="connsiteX767" fmla="*/ 233686 w 511468"/>
                <a:gd name="connsiteY767" fmla="*/ 360001 h 857029"/>
                <a:gd name="connsiteX768" fmla="*/ 231194 w 511468"/>
                <a:gd name="connsiteY768" fmla="*/ 358500 h 857029"/>
                <a:gd name="connsiteX769" fmla="*/ 229354 w 511468"/>
                <a:gd name="connsiteY769" fmla="*/ 357714 h 857029"/>
                <a:gd name="connsiteX770" fmla="*/ 227044 w 511468"/>
                <a:gd name="connsiteY770" fmla="*/ 354588 h 857029"/>
                <a:gd name="connsiteX771" fmla="*/ 223703 w 511468"/>
                <a:gd name="connsiteY771" fmla="*/ 352121 h 857029"/>
                <a:gd name="connsiteX772" fmla="*/ 220346 w 511468"/>
                <a:gd name="connsiteY772" fmla="*/ 351904 h 857029"/>
                <a:gd name="connsiteX773" fmla="*/ 215947 w 511468"/>
                <a:gd name="connsiteY773" fmla="*/ 352763 h 857029"/>
                <a:gd name="connsiteX774" fmla="*/ 209285 w 511468"/>
                <a:gd name="connsiteY774" fmla="*/ 352249 h 857029"/>
                <a:gd name="connsiteX775" fmla="*/ 203614 w 511468"/>
                <a:gd name="connsiteY775" fmla="*/ 347601 h 857029"/>
                <a:gd name="connsiteX776" fmla="*/ 199866 w 511468"/>
                <a:gd name="connsiteY776" fmla="*/ 346147 h 857029"/>
                <a:gd name="connsiteX777" fmla="*/ 197193 w 511468"/>
                <a:gd name="connsiteY777" fmla="*/ 342565 h 857029"/>
                <a:gd name="connsiteX778" fmla="*/ 196514 w 511468"/>
                <a:gd name="connsiteY778" fmla="*/ 340661 h 857029"/>
                <a:gd name="connsiteX779" fmla="*/ 199408 w 511468"/>
                <a:gd name="connsiteY779" fmla="*/ 342277 h 857029"/>
                <a:gd name="connsiteX780" fmla="*/ 199803 w 511468"/>
                <a:gd name="connsiteY780" fmla="*/ 340569 h 857029"/>
                <a:gd name="connsiteX781" fmla="*/ 200030 w 511468"/>
                <a:gd name="connsiteY781" fmla="*/ 338298 h 857029"/>
                <a:gd name="connsiteX782" fmla="*/ 198421 w 511468"/>
                <a:gd name="connsiteY782" fmla="*/ 336911 h 857029"/>
                <a:gd name="connsiteX783" fmla="*/ 196983 w 511468"/>
                <a:gd name="connsiteY783" fmla="*/ 336085 h 857029"/>
                <a:gd name="connsiteX784" fmla="*/ 189609 w 511468"/>
                <a:gd name="connsiteY784" fmla="*/ 339632 h 857029"/>
                <a:gd name="connsiteX785" fmla="*/ 181170 w 511468"/>
                <a:gd name="connsiteY785" fmla="*/ 340794 h 857029"/>
                <a:gd name="connsiteX786" fmla="*/ 189004 w 511468"/>
                <a:gd name="connsiteY786" fmla="*/ 333794 h 857029"/>
                <a:gd name="connsiteX787" fmla="*/ 194653 w 511468"/>
                <a:gd name="connsiteY787" fmla="*/ 328737 h 857029"/>
                <a:gd name="connsiteX788" fmla="*/ 195707 w 511468"/>
                <a:gd name="connsiteY788" fmla="*/ 327975 h 857029"/>
                <a:gd name="connsiteX789" fmla="*/ 198207 w 511468"/>
                <a:gd name="connsiteY789" fmla="*/ 326615 h 857029"/>
                <a:gd name="connsiteX790" fmla="*/ 200302 w 511468"/>
                <a:gd name="connsiteY790" fmla="*/ 325184 h 857029"/>
                <a:gd name="connsiteX791" fmla="*/ 201986 w 511468"/>
                <a:gd name="connsiteY791" fmla="*/ 323306 h 857029"/>
                <a:gd name="connsiteX792" fmla="*/ 207601 w 511468"/>
                <a:gd name="connsiteY792" fmla="*/ 319597 h 857029"/>
                <a:gd name="connsiteX793" fmla="*/ 213321 w 511468"/>
                <a:gd name="connsiteY793" fmla="*/ 315596 h 857029"/>
                <a:gd name="connsiteX794" fmla="*/ 218644 w 511468"/>
                <a:gd name="connsiteY794" fmla="*/ 310313 h 857029"/>
                <a:gd name="connsiteX795" fmla="*/ 220568 w 511468"/>
                <a:gd name="connsiteY795" fmla="*/ 308648 h 857029"/>
                <a:gd name="connsiteX796" fmla="*/ 223017 w 511468"/>
                <a:gd name="connsiteY796" fmla="*/ 306866 h 857029"/>
                <a:gd name="connsiteX797" fmla="*/ 228391 w 511468"/>
                <a:gd name="connsiteY797" fmla="*/ 301255 h 857029"/>
                <a:gd name="connsiteX798" fmla="*/ 230089 w 511468"/>
                <a:gd name="connsiteY798" fmla="*/ 299699 h 857029"/>
                <a:gd name="connsiteX799" fmla="*/ 236645 w 511468"/>
                <a:gd name="connsiteY799" fmla="*/ 292637 h 857029"/>
                <a:gd name="connsiteX800" fmla="*/ 240475 w 511468"/>
                <a:gd name="connsiteY800" fmla="*/ 289109 h 857029"/>
                <a:gd name="connsiteX801" fmla="*/ 242376 w 511468"/>
                <a:gd name="connsiteY801" fmla="*/ 287080 h 857029"/>
                <a:gd name="connsiteX802" fmla="*/ 250560 w 511468"/>
                <a:gd name="connsiteY802" fmla="*/ 280362 h 857029"/>
                <a:gd name="connsiteX803" fmla="*/ 256109 w 511468"/>
                <a:gd name="connsiteY803" fmla="*/ 274948 h 857029"/>
                <a:gd name="connsiteX804" fmla="*/ 258297 w 511468"/>
                <a:gd name="connsiteY804" fmla="*/ 271974 h 857029"/>
                <a:gd name="connsiteX805" fmla="*/ 260436 w 511468"/>
                <a:gd name="connsiteY805" fmla="*/ 267705 h 857029"/>
                <a:gd name="connsiteX806" fmla="*/ 261650 w 511468"/>
                <a:gd name="connsiteY806" fmla="*/ 264788 h 857029"/>
                <a:gd name="connsiteX807" fmla="*/ 263788 w 511468"/>
                <a:gd name="connsiteY807" fmla="*/ 261008 h 857029"/>
                <a:gd name="connsiteX808" fmla="*/ 263844 w 511468"/>
                <a:gd name="connsiteY808" fmla="*/ 259753 h 857029"/>
                <a:gd name="connsiteX809" fmla="*/ 263242 w 511468"/>
                <a:gd name="connsiteY809" fmla="*/ 258585 h 857029"/>
                <a:gd name="connsiteX810" fmla="*/ 261644 w 511468"/>
                <a:gd name="connsiteY810" fmla="*/ 256769 h 857029"/>
                <a:gd name="connsiteX811" fmla="*/ 259426 w 511468"/>
                <a:gd name="connsiteY811" fmla="*/ 254674 h 857029"/>
                <a:gd name="connsiteX812" fmla="*/ 257452 w 511468"/>
                <a:gd name="connsiteY812" fmla="*/ 252108 h 857029"/>
                <a:gd name="connsiteX813" fmla="*/ 255980 w 511468"/>
                <a:gd name="connsiteY813" fmla="*/ 249797 h 857029"/>
                <a:gd name="connsiteX814" fmla="*/ 251423 w 511468"/>
                <a:gd name="connsiteY814" fmla="*/ 246581 h 857029"/>
                <a:gd name="connsiteX815" fmla="*/ 244358 w 511468"/>
                <a:gd name="connsiteY815" fmla="*/ 242503 h 857029"/>
                <a:gd name="connsiteX816" fmla="*/ 239123 w 511468"/>
                <a:gd name="connsiteY816" fmla="*/ 239476 h 857029"/>
                <a:gd name="connsiteX817" fmla="*/ 231093 w 511468"/>
                <a:gd name="connsiteY817" fmla="*/ 232994 h 857029"/>
                <a:gd name="connsiteX818" fmla="*/ 229681 w 511468"/>
                <a:gd name="connsiteY818" fmla="*/ 231374 h 857029"/>
                <a:gd name="connsiteX819" fmla="*/ 229959 w 511468"/>
                <a:gd name="connsiteY819" fmla="*/ 230947 h 857029"/>
                <a:gd name="connsiteX820" fmla="*/ 234518 w 511468"/>
                <a:gd name="connsiteY820" fmla="*/ 228978 h 857029"/>
                <a:gd name="connsiteX821" fmla="*/ 239052 w 511468"/>
                <a:gd name="connsiteY821" fmla="*/ 223901 h 857029"/>
                <a:gd name="connsiteX822" fmla="*/ 241011 w 511468"/>
                <a:gd name="connsiteY822" fmla="*/ 221322 h 857029"/>
                <a:gd name="connsiteX823" fmla="*/ 241501 w 511468"/>
                <a:gd name="connsiteY823" fmla="*/ 219320 h 857029"/>
                <a:gd name="connsiteX824" fmla="*/ 241542 w 511468"/>
                <a:gd name="connsiteY824" fmla="*/ 217063 h 857029"/>
                <a:gd name="connsiteX825" fmla="*/ 241229 w 511468"/>
                <a:gd name="connsiteY825" fmla="*/ 214979 h 857029"/>
                <a:gd name="connsiteX826" fmla="*/ 240657 w 511468"/>
                <a:gd name="connsiteY826" fmla="*/ 213685 h 857029"/>
                <a:gd name="connsiteX827" fmla="*/ 238506 w 511468"/>
                <a:gd name="connsiteY827" fmla="*/ 212058 h 857029"/>
                <a:gd name="connsiteX828" fmla="*/ 232259 w 511468"/>
                <a:gd name="connsiteY828" fmla="*/ 209088 h 857029"/>
                <a:gd name="connsiteX829" fmla="*/ 230794 w 511468"/>
                <a:gd name="connsiteY829" fmla="*/ 206343 h 857029"/>
                <a:gd name="connsiteX830" fmla="*/ 229572 w 511468"/>
                <a:gd name="connsiteY830" fmla="*/ 203463 h 857029"/>
                <a:gd name="connsiteX831" fmla="*/ 229549 w 511468"/>
                <a:gd name="connsiteY831" fmla="*/ 202272 h 857029"/>
                <a:gd name="connsiteX832" fmla="*/ 232524 w 511468"/>
                <a:gd name="connsiteY832" fmla="*/ 199172 h 857029"/>
                <a:gd name="connsiteX833" fmla="*/ 232658 w 511468"/>
                <a:gd name="connsiteY833" fmla="*/ 197621 h 857029"/>
                <a:gd name="connsiteX834" fmla="*/ 232306 w 511468"/>
                <a:gd name="connsiteY834" fmla="*/ 196031 h 857029"/>
                <a:gd name="connsiteX835" fmla="*/ 231479 w 511468"/>
                <a:gd name="connsiteY835" fmla="*/ 194870 h 857029"/>
                <a:gd name="connsiteX836" fmla="*/ 225075 w 511468"/>
                <a:gd name="connsiteY836" fmla="*/ 193466 h 857029"/>
                <a:gd name="connsiteX837" fmla="*/ 223271 w 511468"/>
                <a:gd name="connsiteY837" fmla="*/ 191982 h 857029"/>
                <a:gd name="connsiteX838" fmla="*/ 221853 w 511468"/>
                <a:gd name="connsiteY838" fmla="*/ 189616 h 857029"/>
                <a:gd name="connsiteX839" fmla="*/ 221116 w 511468"/>
                <a:gd name="connsiteY839" fmla="*/ 187583 h 857029"/>
                <a:gd name="connsiteX840" fmla="*/ 221043 w 511468"/>
                <a:gd name="connsiteY840" fmla="*/ 186379 h 857029"/>
                <a:gd name="connsiteX841" fmla="*/ 221520 w 511468"/>
                <a:gd name="connsiteY841" fmla="*/ 185030 h 857029"/>
                <a:gd name="connsiteX842" fmla="*/ 223677 w 511468"/>
                <a:gd name="connsiteY842" fmla="*/ 183562 h 857029"/>
                <a:gd name="connsiteX843" fmla="*/ 225685 w 511468"/>
                <a:gd name="connsiteY843" fmla="*/ 182570 h 857029"/>
                <a:gd name="connsiteX844" fmla="*/ 226042 w 511468"/>
                <a:gd name="connsiteY844" fmla="*/ 181232 h 857029"/>
                <a:gd name="connsiteX845" fmla="*/ 226025 w 511468"/>
                <a:gd name="connsiteY845" fmla="*/ 179783 h 857029"/>
                <a:gd name="connsiteX846" fmla="*/ 225679 w 511468"/>
                <a:gd name="connsiteY846" fmla="*/ 179082 h 857029"/>
                <a:gd name="connsiteX847" fmla="*/ 221680 w 511468"/>
                <a:gd name="connsiteY847" fmla="*/ 178392 h 857029"/>
                <a:gd name="connsiteX848" fmla="*/ 221298 w 511468"/>
                <a:gd name="connsiteY848" fmla="*/ 178000 h 857029"/>
                <a:gd name="connsiteX849" fmla="*/ 221200 w 511468"/>
                <a:gd name="connsiteY849" fmla="*/ 177498 h 857029"/>
                <a:gd name="connsiteX850" fmla="*/ 221404 w 511468"/>
                <a:gd name="connsiteY850" fmla="*/ 176897 h 857029"/>
                <a:gd name="connsiteX851" fmla="*/ 223563 w 511468"/>
                <a:gd name="connsiteY851" fmla="*/ 174310 h 857029"/>
                <a:gd name="connsiteX852" fmla="*/ 223854 w 511468"/>
                <a:gd name="connsiteY852" fmla="*/ 169373 h 857029"/>
                <a:gd name="connsiteX853" fmla="*/ 225876 w 511468"/>
                <a:gd name="connsiteY853" fmla="*/ 165917 h 857029"/>
                <a:gd name="connsiteX854" fmla="*/ 223587 w 511468"/>
                <a:gd name="connsiteY854" fmla="*/ 163891 h 857029"/>
                <a:gd name="connsiteX855" fmla="*/ 223764 w 511468"/>
                <a:gd name="connsiteY855" fmla="*/ 163534 h 857029"/>
                <a:gd name="connsiteX856" fmla="*/ 227273 w 511468"/>
                <a:gd name="connsiteY856" fmla="*/ 162472 h 857029"/>
                <a:gd name="connsiteX857" fmla="*/ 230510 w 511468"/>
                <a:gd name="connsiteY857" fmla="*/ 162214 h 857029"/>
                <a:gd name="connsiteX858" fmla="*/ 231976 w 511468"/>
                <a:gd name="connsiteY858" fmla="*/ 161815 h 857029"/>
                <a:gd name="connsiteX859" fmla="*/ 232140 w 511468"/>
                <a:gd name="connsiteY859" fmla="*/ 160193 h 857029"/>
                <a:gd name="connsiteX860" fmla="*/ 231803 w 511468"/>
                <a:gd name="connsiteY860" fmla="*/ 157999 h 857029"/>
                <a:gd name="connsiteX861" fmla="*/ 228467 w 511468"/>
                <a:gd name="connsiteY861" fmla="*/ 149368 h 857029"/>
                <a:gd name="connsiteX862" fmla="*/ 227733 w 511468"/>
                <a:gd name="connsiteY862" fmla="*/ 146874 h 857029"/>
                <a:gd name="connsiteX863" fmla="*/ 225523 w 511468"/>
                <a:gd name="connsiteY863" fmla="*/ 143721 h 857029"/>
                <a:gd name="connsiteX864" fmla="*/ 223693 w 511468"/>
                <a:gd name="connsiteY864" fmla="*/ 141599 h 857029"/>
                <a:gd name="connsiteX865" fmla="*/ 222591 w 511468"/>
                <a:gd name="connsiteY865" fmla="*/ 140083 h 857029"/>
                <a:gd name="connsiteX866" fmla="*/ 220818 w 511468"/>
                <a:gd name="connsiteY866" fmla="*/ 137113 h 857029"/>
                <a:gd name="connsiteX867" fmla="*/ 219792 w 511468"/>
                <a:gd name="connsiteY867" fmla="*/ 134061 h 857029"/>
                <a:gd name="connsiteX868" fmla="*/ 218024 w 511468"/>
                <a:gd name="connsiteY868" fmla="*/ 130648 h 857029"/>
                <a:gd name="connsiteX869" fmla="*/ 215964 w 511468"/>
                <a:gd name="connsiteY869" fmla="*/ 127511 h 857029"/>
                <a:gd name="connsiteX870" fmla="*/ 214241 w 511468"/>
                <a:gd name="connsiteY870" fmla="*/ 124605 h 857029"/>
                <a:gd name="connsiteX871" fmla="*/ 209814 w 511468"/>
                <a:gd name="connsiteY871" fmla="*/ 118903 h 857029"/>
                <a:gd name="connsiteX872" fmla="*/ 209220 w 511468"/>
                <a:gd name="connsiteY872" fmla="*/ 117322 h 857029"/>
                <a:gd name="connsiteX873" fmla="*/ 209283 w 511468"/>
                <a:gd name="connsiteY873" fmla="*/ 115891 h 857029"/>
                <a:gd name="connsiteX874" fmla="*/ 209680 w 511468"/>
                <a:gd name="connsiteY874" fmla="*/ 114375 h 857029"/>
                <a:gd name="connsiteX875" fmla="*/ 213137 w 511468"/>
                <a:gd name="connsiteY875" fmla="*/ 109690 h 857029"/>
                <a:gd name="connsiteX876" fmla="*/ 216329 w 511468"/>
                <a:gd name="connsiteY876" fmla="*/ 105773 h 857029"/>
                <a:gd name="connsiteX877" fmla="*/ 220410 w 511468"/>
                <a:gd name="connsiteY877" fmla="*/ 101168 h 857029"/>
                <a:gd name="connsiteX878" fmla="*/ 224353 w 511468"/>
                <a:gd name="connsiteY878" fmla="*/ 97338 h 857029"/>
                <a:gd name="connsiteX879" fmla="*/ 228568 w 511468"/>
                <a:gd name="connsiteY879" fmla="*/ 92786 h 857029"/>
                <a:gd name="connsiteX880" fmla="*/ 229605 w 511468"/>
                <a:gd name="connsiteY880" fmla="*/ 88232 h 857029"/>
                <a:gd name="connsiteX881" fmla="*/ 229409 w 511468"/>
                <a:gd name="connsiteY881" fmla="*/ 87465 h 857029"/>
                <a:gd name="connsiteX882" fmla="*/ 225923 w 511468"/>
                <a:gd name="connsiteY882" fmla="*/ 84993 h 857029"/>
                <a:gd name="connsiteX883" fmla="*/ 219348 w 511468"/>
                <a:gd name="connsiteY883" fmla="*/ 78363 h 857029"/>
                <a:gd name="connsiteX884" fmla="*/ 215359 w 511468"/>
                <a:gd name="connsiteY884" fmla="*/ 73320 h 857029"/>
                <a:gd name="connsiteX885" fmla="*/ 209149 w 511468"/>
                <a:gd name="connsiteY885" fmla="*/ 71185 h 857029"/>
                <a:gd name="connsiteX886" fmla="*/ 200794 w 511468"/>
                <a:gd name="connsiteY886" fmla="*/ 68448 h 857029"/>
                <a:gd name="connsiteX887" fmla="*/ 198030 w 511468"/>
                <a:gd name="connsiteY887" fmla="*/ 62279 h 857029"/>
                <a:gd name="connsiteX888" fmla="*/ 196052 w 511468"/>
                <a:gd name="connsiteY888" fmla="*/ 57031 h 857029"/>
                <a:gd name="connsiteX889" fmla="*/ 196242 w 511468"/>
                <a:gd name="connsiteY889" fmla="*/ 55141 h 857029"/>
                <a:gd name="connsiteX890" fmla="*/ 202273 w 511468"/>
                <a:gd name="connsiteY890" fmla="*/ 46145 h 857029"/>
                <a:gd name="connsiteX891" fmla="*/ 202839 w 511468"/>
                <a:gd name="connsiteY891" fmla="*/ 44510 h 857029"/>
                <a:gd name="connsiteX892" fmla="*/ 202733 w 511468"/>
                <a:gd name="connsiteY892" fmla="*/ 43497 h 857029"/>
                <a:gd name="connsiteX893" fmla="*/ 202114 w 511468"/>
                <a:gd name="connsiteY893" fmla="*/ 42863 h 857029"/>
                <a:gd name="connsiteX894" fmla="*/ 201254 w 511468"/>
                <a:gd name="connsiteY894" fmla="*/ 42513 h 857029"/>
                <a:gd name="connsiteX895" fmla="*/ 195672 w 511468"/>
                <a:gd name="connsiteY895" fmla="*/ 42252 h 857029"/>
                <a:gd name="connsiteX896" fmla="*/ 194800 w 511468"/>
                <a:gd name="connsiteY896" fmla="*/ 41019 h 857029"/>
                <a:gd name="connsiteX897" fmla="*/ 198160 w 511468"/>
                <a:gd name="connsiteY897" fmla="*/ 40088 h 857029"/>
                <a:gd name="connsiteX898" fmla="*/ 200950 w 511468"/>
                <a:gd name="connsiteY898" fmla="*/ 38818 h 857029"/>
                <a:gd name="connsiteX899" fmla="*/ 205521 w 511468"/>
                <a:gd name="connsiteY899" fmla="*/ 36935 h 857029"/>
                <a:gd name="connsiteX900" fmla="*/ 207001 w 511468"/>
                <a:gd name="connsiteY900" fmla="*/ 36458 h 857029"/>
                <a:gd name="connsiteX901" fmla="*/ 210378 w 511468"/>
                <a:gd name="connsiteY901" fmla="*/ 35373 h 857029"/>
                <a:gd name="connsiteX902" fmla="*/ 211535 w 511468"/>
                <a:gd name="connsiteY902" fmla="*/ 34536 h 857029"/>
                <a:gd name="connsiteX903" fmla="*/ 212399 w 511468"/>
                <a:gd name="connsiteY903" fmla="*/ 33547 h 857029"/>
                <a:gd name="connsiteX904" fmla="*/ 215562 w 511468"/>
                <a:gd name="connsiteY904" fmla="*/ 26796 h 857029"/>
                <a:gd name="connsiteX905" fmla="*/ 216342 w 511468"/>
                <a:gd name="connsiteY905" fmla="*/ 25723 h 857029"/>
                <a:gd name="connsiteX906" fmla="*/ 226169 w 511468"/>
                <a:gd name="connsiteY906" fmla="*/ 23293 h 857029"/>
                <a:gd name="connsiteX907" fmla="*/ 229737 w 511468"/>
                <a:gd name="connsiteY907" fmla="*/ 22043 h 857029"/>
                <a:gd name="connsiteX908" fmla="*/ 231799 w 511468"/>
                <a:gd name="connsiteY908" fmla="*/ 20465 h 857029"/>
                <a:gd name="connsiteX909" fmla="*/ 232784 w 511468"/>
                <a:gd name="connsiteY909" fmla="*/ 19237 h 857029"/>
                <a:gd name="connsiteX910" fmla="*/ 233490 w 511468"/>
                <a:gd name="connsiteY910" fmla="*/ 17776 h 857029"/>
                <a:gd name="connsiteX911" fmla="*/ 233997 w 511468"/>
                <a:gd name="connsiteY911" fmla="*/ 16164 h 857029"/>
                <a:gd name="connsiteX912" fmla="*/ 234213 w 511468"/>
                <a:gd name="connsiteY912" fmla="*/ 14683 h 857029"/>
                <a:gd name="connsiteX913" fmla="*/ 233401 w 511468"/>
                <a:gd name="connsiteY913" fmla="*/ 12749 h 857029"/>
                <a:gd name="connsiteX914" fmla="*/ 233852 w 511468"/>
                <a:gd name="connsiteY914" fmla="*/ 12515 h 857029"/>
                <a:gd name="connsiteX915" fmla="*/ 234900 w 511468"/>
                <a:gd name="connsiteY915" fmla="*/ 12596 h 857029"/>
                <a:gd name="connsiteX916" fmla="*/ 238264 w 511468"/>
                <a:gd name="connsiteY916" fmla="*/ 14521 h 857029"/>
                <a:gd name="connsiteX917" fmla="*/ 243477 w 511468"/>
                <a:gd name="connsiteY917" fmla="*/ 16564 h 857029"/>
                <a:gd name="connsiteX918" fmla="*/ 247312 w 511468"/>
                <a:gd name="connsiteY918" fmla="*/ 16723 h 857029"/>
                <a:gd name="connsiteX919" fmla="*/ 248901 w 511468"/>
                <a:gd name="connsiteY919" fmla="*/ 16334 h 857029"/>
                <a:gd name="connsiteX920" fmla="*/ 249696 w 511468"/>
                <a:gd name="connsiteY920" fmla="*/ 15441 h 857029"/>
                <a:gd name="connsiteX921" fmla="*/ 250266 w 511468"/>
                <a:gd name="connsiteY921" fmla="*/ 13693 h 857029"/>
                <a:gd name="connsiteX922" fmla="*/ 250303 w 511468"/>
                <a:gd name="connsiteY922" fmla="*/ 11890 h 857029"/>
                <a:gd name="connsiteX923" fmla="*/ 249100 w 511468"/>
                <a:gd name="connsiteY923" fmla="*/ 6713 h 857029"/>
                <a:gd name="connsiteX924" fmla="*/ 253075 w 511468"/>
                <a:gd name="connsiteY924" fmla="*/ 7272 h 857029"/>
                <a:gd name="connsiteX925" fmla="*/ 261991 w 511468"/>
                <a:gd name="connsiteY925" fmla="*/ 10404 h 857029"/>
                <a:gd name="connsiteX926" fmla="*/ 264075 w 511468"/>
                <a:gd name="connsiteY926" fmla="*/ 10116 h 857029"/>
                <a:gd name="connsiteX927" fmla="*/ 266712 w 511468"/>
                <a:gd name="connsiteY927" fmla="*/ 9170 h 857029"/>
                <a:gd name="connsiteX928" fmla="*/ 269417 w 511468"/>
                <a:gd name="connsiteY928" fmla="*/ 5440 h 857029"/>
                <a:gd name="connsiteX929" fmla="*/ 271426 w 511468"/>
                <a:gd name="connsiteY929" fmla="*/ 4801 h 857029"/>
                <a:gd name="connsiteX930" fmla="*/ 274047 w 511468"/>
                <a:gd name="connsiteY930" fmla="*/ 5671 h 857029"/>
                <a:gd name="connsiteX931" fmla="*/ 274769 w 511468"/>
                <a:gd name="connsiteY931" fmla="*/ 4670 h 857029"/>
                <a:gd name="connsiteX932" fmla="*/ 273414 w 511468"/>
                <a:gd name="connsiteY932" fmla="*/ 1570 h 85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Lst>
              <a:rect l="l" t="t" r="r" b="b"/>
              <a:pathLst>
                <a:path w="511468" h="857029">
                  <a:moveTo>
                    <a:pt x="28644" y="509016"/>
                  </a:moveTo>
                  <a:lnTo>
                    <a:pt x="29927" y="509255"/>
                  </a:lnTo>
                  <a:lnTo>
                    <a:pt x="27750" y="512193"/>
                  </a:lnTo>
                  <a:lnTo>
                    <a:pt x="21900" y="518387"/>
                  </a:lnTo>
                  <a:lnTo>
                    <a:pt x="23733" y="519208"/>
                  </a:lnTo>
                  <a:lnTo>
                    <a:pt x="25862" y="519473"/>
                  </a:lnTo>
                  <a:lnTo>
                    <a:pt x="28372" y="520626"/>
                  </a:lnTo>
                  <a:lnTo>
                    <a:pt x="30769" y="520834"/>
                  </a:lnTo>
                  <a:lnTo>
                    <a:pt x="35036" y="519836"/>
                  </a:lnTo>
                  <a:lnTo>
                    <a:pt x="35787" y="514530"/>
                  </a:lnTo>
                  <a:lnTo>
                    <a:pt x="36072" y="509712"/>
                  </a:lnTo>
                  <a:lnTo>
                    <a:pt x="37439" y="509701"/>
                  </a:lnTo>
                  <a:lnTo>
                    <a:pt x="39467" y="509360"/>
                  </a:lnTo>
                  <a:lnTo>
                    <a:pt x="40745" y="510627"/>
                  </a:lnTo>
                  <a:lnTo>
                    <a:pt x="43125" y="511833"/>
                  </a:lnTo>
                  <a:lnTo>
                    <a:pt x="45955" y="512911"/>
                  </a:lnTo>
                  <a:lnTo>
                    <a:pt x="50184" y="514747"/>
                  </a:lnTo>
                  <a:lnTo>
                    <a:pt x="54572" y="515887"/>
                  </a:lnTo>
                  <a:lnTo>
                    <a:pt x="56020" y="516019"/>
                  </a:lnTo>
                  <a:lnTo>
                    <a:pt x="60631" y="515869"/>
                  </a:lnTo>
                  <a:lnTo>
                    <a:pt x="65515" y="516027"/>
                  </a:lnTo>
                  <a:lnTo>
                    <a:pt x="66846" y="518746"/>
                  </a:lnTo>
                  <a:lnTo>
                    <a:pt x="69257" y="520031"/>
                  </a:lnTo>
                  <a:lnTo>
                    <a:pt x="71207" y="521798"/>
                  </a:lnTo>
                  <a:lnTo>
                    <a:pt x="71352" y="522805"/>
                  </a:lnTo>
                  <a:lnTo>
                    <a:pt x="68664" y="529110"/>
                  </a:lnTo>
                  <a:lnTo>
                    <a:pt x="68107" y="531241"/>
                  </a:lnTo>
                  <a:lnTo>
                    <a:pt x="68005" y="533376"/>
                  </a:lnTo>
                  <a:lnTo>
                    <a:pt x="68988" y="536043"/>
                  </a:lnTo>
                  <a:lnTo>
                    <a:pt x="69914" y="537532"/>
                  </a:lnTo>
                  <a:lnTo>
                    <a:pt x="69154" y="537736"/>
                  </a:lnTo>
                  <a:lnTo>
                    <a:pt x="56696" y="537438"/>
                  </a:lnTo>
                  <a:lnTo>
                    <a:pt x="44883" y="536932"/>
                  </a:lnTo>
                  <a:lnTo>
                    <a:pt x="33967" y="536465"/>
                  </a:lnTo>
                  <a:lnTo>
                    <a:pt x="23446" y="536012"/>
                  </a:lnTo>
                  <a:lnTo>
                    <a:pt x="13351" y="535582"/>
                  </a:lnTo>
                  <a:lnTo>
                    <a:pt x="7074" y="535178"/>
                  </a:lnTo>
                  <a:lnTo>
                    <a:pt x="881" y="534779"/>
                  </a:lnTo>
                  <a:lnTo>
                    <a:pt x="0" y="534410"/>
                  </a:lnTo>
                  <a:lnTo>
                    <a:pt x="3407" y="531794"/>
                  </a:lnTo>
                  <a:lnTo>
                    <a:pt x="5627" y="529073"/>
                  </a:lnTo>
                  <a:lnTo>
                    <a:pt x="7512" y="525517"/>
                  </a:lnTo>
                  <a:lnTo>
                    <a:pt x="7713" y="523051"/>
                  </a:lnTo>
                  <a:lnTo>
                    <a:pt x="8184" y="520266"/>
                  </a:lnTo>
                  <a:lnTo>
                    <a:pt x="11127" y="519182"/>
                  </a:lnTo>
                  <a:lnTo>
                    <a:pt x="17519" y="519343"/>
                  </a:lnTo>
                  <a:lnTo>
                    <a:pt x="20252" y="518003"/>
                  </a:lnTo>
                  <a:lnTo>
                    <a:pt x="23759" y="514688"/>
                  </a:lnTo>
                  <a:lnTo>
                    <a:pt x="27448" y="510701"/>
                  </a:lnTo>
                  <a:close/>
                  <a:moveTo>
                    <a:pt x="356551" y="179341"/>
                  </a:moveTo>
                  <a:lnTo>
                    <a:pt x="358475" y="179899"/>
                  </a:lnTo>
                  <a:lnTo>
                    <a:pt x="359190" y="181318"/>
                  </a:lnTo>
                  <a:lnTo>
                    <a:pt x="359410" y="183648"/>
                  </a:lnTo>
                  <a:lnTo>
                    <a:pt x="358723" y="185139"/>
                  </a:lnTo>
                  <a:lnTo>
                    <a:pt x="359054" y="186396"/>
                  </a:lnTo>
                  <a:lnTo>
                    <a:pt x="357648" y="187287"/>
                  </a:lnTo>
                  <a:lnTo>
                    <a:pt x="355467" y="184379"/>
                  </a:lnTo>
                  <a:lnTo>
                    <a:pt x="354169" y="184337"/>
                  </a:lnTo>
                  <a:lnTo>
                    <a:pt x="352780" y="183084"/>
                  </a:lnTo>
                  <a:lnTo>
                    <a:pt x="352124" y="181016"/>
                  </a:lnTo>
                  <a:lnTo>
                    <a:pt x="353381" y="180439"/>
                  </a:lnTo>
                  <a:lnTo>
                    <a:pt x="353889" y="180798"/>
                  </a:lnTo>
                  <a:close/>
                  <a:moveTo>
                    <a:pt x="507319" y="120897"/>
                  </a:moveTo>
                  <a:lnTo>
                    <a:pt x="509176" y="121390"/>
                  </a:lnTo>
                  <a:lnTo>
                    <a:pt x="510487" y="123131"/>
                  </a:lnTo>
                  <a:lnTo>
                    <a:pt x="510994" y="124376"/>
                  </a:lnTo>
                  <a:lnTo>
                    <a:pt x="510152" y="124880"/>
                  </a:lnTo>
                  <a:lnTo>
                    <a:pt x="505769" y="123140"/>
                  </a:lnTo>
                  <a:lnTo>
                    <a:pt x="505387" y="121830"/>
                  </a:lnTo>
                  <a:lnTo>
                    <a:pt x="505574" y="121267"/>
                  </a:lnTo>
                  <a:close/>
                  <a:moveTo>
                    <a:pt x="273751" y="0"/>
                  </a:moveTo>
                  <a:lnTo>
                    <a:pt x="282752" y="3354"/>
                  </a:lnTo>
                  <a:lnTo>
                    <a:pt x="286595" y="5805"/>
                  </a:lnTo>
                  <a:lnTo>
                    <a:pt x="294915" y="7956"/>
                  </a:lnTo>
                  <a:lnTo>
                    <a:pt x="296377" y="9126"/>
                  </a:lnTo>
                  <a:lnTo>
                    <a:pt x="296483" y="11154"/>
                  </a:lnTo>
                  <a:lnTo>
                    <a:pt x="296086" y="12894"/>
                  </a:lnTo>
                  <a:lnTo>
                    <a:pt x="294326" y="13854"/>
                  </a:lnTo>
                  <a:lnTo>
                    <a:pt x="290771" y="13697"/>
                  </a:lnTo>
                  <a:lnTo>
                    <a:pt x="278001" y="11016"/>
                  </a:lnTo>
                  <a:lnTo>
                    <a:pt x="276116" y="12644"/>
                  </a:lnTo>
                  <a:lnTo>
                    <a:pt x="277660" y="14053"/>
                  </a:lnTo>
                  <a:lnTo>
                    <a:pt x="281402" y="15715"/>
                  </a:lnTo>
                  <a:lnTo>
                    <a:pt x="282445" y="18657"/>
                  </a:lnTo>
                  <a:lnTo>
                    <a:pt x="288174" y="18252"/>
                  </a:lnTo>
                  <a:lnTo>
                    <a:pt x="293635" y="19371"/>
                  </a:lnTo>
                  <a:lnTo>
                    <a:pt x="296200" y="19008"/>
                  </a:lnTo>
                  <a:lnTo>
                    <a:pt x="296669" y="19967"/>
                  </a:lnTo>
                  <a:lnTo>
                    <a:pt x="294913" y="22399"/>
                  </a:lnTo>
                  <a:lnTo>
                    <a:pt x="295738" y="23024"/>
                  </a:lnTo>
                  <a:lnTo>
                    <a:pt x="301862" y="20665"/>
                  </a:lnTo>
                  <a:lnTo>
                    <a:pt x="304715" y="20018"/>
                  </a:lnTo>
                  <a:lnTo>
                    <a:pt x="306250" y="20648"/>
                  </a:lnTo>
                  <a:lnTo>
                    <a:pt x="306457" y="22601"/>
                  </a:lnTo>
                  <a:lnTo>
                    <a:pt x="305447" y="25055"/>
                  </a:lnTo>
                  <a:lnTo>
                    <a:pt x="305337" y="26920"/>
                  </a:lnTo>
                  <a:lnTo>
                    <a:pt x="303452" y="31417"/>
                  </a:lnTo>
                  <a:lnTo>
                    <a:pt x="300547" y="32777"/>
                  </a:lnTo>
                  <a:lnTo>
                    <a:pt x="299327" y="34646"/>
                  </a:lnTo>
                  <a:lnTo>
                    <a:pt x="303577" y="33501"/>
                  </a:lnTo>
                  <a:lnTo>
                    <a:pt x="305838" y="32252"/>
                  </a:lnTo>
                  <a:lnTo>
                    <a:pt x="310070" y="26073"/>
                  </a:lnTo>
                  <a:lnTo>
                    <a:pt x="311338" y="25251"/>
                  </a:lnTo>
                  <a:lnTo>
                    <a:pt x="323389" y="25139"/>
                  </a:lnTo>
                  <a:lnTo>
                    <a:pt x="326117" y="25537"/>
                  </a:lnTo>
                  <a:lnTo>
                    <a:pt x="337421" y="28452"/>
                  </a:lnTo>
                  <a:lnTo>
                    <a:pt x="340640" y="28719"/>
                  </a:lnTo>
                  <a:lnTo>
                    <a:pt x="344318" y="28346"/>
                  </a:lnTo>
                  <a:lnTo>
                    <a:pt x="345586" y="26992"/>
                  </a:lnTo>
                  <a:lnTo>
                    <a:pt x="346838" y="26608"/>
                  </a:lnTo>
                  <a:lnTo>
                    <a:pt x="359399" y="29866"/>
                  </a:lnTo>
                  <a:lnTo>
                    <a:pt x="376212" y="37175"/>
                  </a:lnTo>
                  <a:lnTo>
                    <a:pt x="400807" y="49201"/>
                  </a:lnTo>
                  <a:lnTo>
                    <a:pt x="414673" y="59838"/>
                  </a:lnTo>
                  <a:lnTo>
                    <a:pt x="416277" y="62116"/>
                  </a:lnTo>
                  <a:lnTo>
                    <a:pt x="421289" y="63406"/>
                  </a:lnTo>
                  <a:lnTo>
                    <a:pt x="422367" y="62533"/>
                  </a:lnTo>
                  <a:lnTo>
                    <a:pt x="425152" y="63290"/>
                  </a:lnTo>
                  <a:lnTo>
                    <a:pt x="441458" y="72945"/>
                  </a:lnTo>
                  <a:lnTo>
                    <a:pt x="447083" y="73444"/>
                  </a:lnTo>
                  <a:lnTo>
                    <a:pt x="446340" y="71406"/>
                  </a:lnTo>
                  <a:lnTo>
                    <a:pt x="445379" y="69500"/>
                  </a:lnTo>
                  <a:lnTo>
                    <a:pt x="446772" y="69933"/>
                  </a:lnTo>
                  <a:lnTo>
                    <a:pt x="448681" y="71317"/>
                  </a:lnTo>
                  <a:lnTo>
                    <a:pt x="451780" y="75087"/>
                  </a:lnTo>
                  <a:lnTo>
                    <a:pt x="455559" y="77877"/>
                  </a:lnTo>
                  <a:lnTo>
                    <a:pt x="459407" y="82047"/>
                  </a:lnTo>
                  <a:lnTo>
                    <a:pt x="462616" y="83643"/>
                  </a:lnTo>
                  <a:lnTo>
                    <a:pt x="465507" y="84234"/>
                  </a:lnTo>
                  <a:lnTo>
                    <a:pt x="467934" y="85408"/>
                  </a:lnTo>
                  <a:lnTo>
                    <a:pt x="472359" y="86525"/>
                  </a:lnTo>
                  <a:lnTo>
                    <a:pt x="474449" y="96670"/>
                  </a:lnTo>
                  <a:lnTo>
                    <a:pt x="476062" y="98855"/>
                  </a:lnTo>
                  <a:lnTo>
                    <a:pt x="476062" y="103320"/>
                  </a:lnTo>
                  <a:lnTo>
                    <a:pt x="478889" y="105135"/>
                  </a:lnTo>
                  <a:lnTo>
                    <a:pt x="481035" y="105464"/>
                  </a:lnTo>
                  <a:lnTo>
                    <a:pt x="480936" y="108762"/>
                  </a:lnTo>
                  <a:lnTo>
                    <a:pt x="479195" y="116483"/>
                  </a:lnTo>
                  <a:lnTo>
                    <a:pt x="477280" y="119759"/>
                  </a:lnTo>
                  <a:lnTo>
                    <a:pt x="462523" y="133805"/>
                  </a:lnTo>
                  <a:lnTo>
                    <a:pt x="453274" y="139207"/>
                  </a:lnTo>
                  <a:lnTo>
                    <a:pt x="435269" y="145372"/>
                  </a:lnTo>
                  <a:lnTo>
                    <a:pt x="421224" y="147680"/>
                  </a:lnTo>
                  <a:lnTo>
                    <a:pt x="415556" y="147848"/>
                  </a:lnTo>
                  <a:lnTo>
                    <a:pt x="404569" y="146708"/>
                  </a:lnTo>
                  <a:lnTo>
                    <a:pt x="398544" y="145462"/>
                  </a:lnTo>
                  <a:lnTo>
                    <a:pt x="391172" y="141959"/>
                  </a:lnTo>
                  <a:lnTo>
                    <a:pt x="384292" y="140214"/>
                  </a:lnTo>
                  <a:lnTo>
                    <a:pt x="379566" y="139442"/>
                  </a:lnTo>
                  <a:lnTo>
                    <a:pt x="370798" y="139120"/>
                  </a:lnTo>
                  <a:lnTo>
                    <a:pt x="351783" y="135678"/>
                  </a:lnTo>
                  <a:lnTo>
                    <a:pt x="348477" y="134467"/>
                  </a:lnTo>
                  <a:lnTo>
                    <a:pt x="336550" y="127729"/>
                  </a:lnTo>
                  <a:lnTo>
                    <a:pt x="331811" y="129634"/>
                  </a:lnTo>
                  <a:lnTo>
                    <a:pt x="328988" y="129977"/>
                  </a:lnTo>
                  <a:lnTo>
                    <a:pt x="327075" y="127653"/>
                  </a:lnTo>
                  <a:lnTo>
                    <a:pt x="327844" y="127039"/>
                  </a:lnTo>
                  <a:lnTo>
                    <a:pt x="328302" y="126246"/>
                  </a:lnTo>
                  <a:lnTo>
                    <a:pt x="321547" y="124318"/>
                  </a:lnTo>
                  <a:lnTo>
                    <a:pt x="315965" y="124189"/>
                  </a:lnTo>
                  <a:lnTo>
                    <a:pt x="313000" y="122550"/>
                  </a:lnTo>
                  <a:lnTo>
                    <a:pt x="309370" y="121301"/>
                  </a:lnTo>
                  <a:lnTo>
                    <a:pt x="307768" y="122053"/>
                  </a:lnTo>
                  <a:lnTo>
                    <a:pt x="306863" y="122046"/>
                  </a:lnTo>
                  <a:lnTo>
                    <a:pt x="299526" y="119098"/>
                  </a:lnTo>
                  <a:lnTo>
                    <a:pt x="296248" y="116706"/>
                  </a:lnTo>
                  <a:lnTo>
                    <a:pt x="292834" y="112490"/>
                  </a:lnTo>
                  <a:lnTo>
                    <a:pt x="293667" y="111013"/>
                  </a:lnTo>
                  <a:lnTo>
                    <a:pt x="294667" y="110055"/>
                  </a:lnTo>
                  <a:lnTo>
                    <a:pt x="282935" y="107594"/>
                  </a:lnTo>
                  <a:lnTo>
                    <a:pt x="271778" y="107268"/>
                  </a:lnTo>
                  <a:lnTo>
                    <a:pt x="273717" y="108448"/>
                  </a:lnTo>
                  <a:lnTo>
                    <a:pt x="278549" y="109068"/>
                  </a:lnTo>
                  <a:lnTo>
                    <a:pt x="281624" y="110762"/>
                  </a:lnTo>
                  <a:lnTo>
                    <a:pt x="285170" y="113148"/>
                  </a:lnTo>
                  <a:lnTo>
                    <a:pt x="284345" y="116408"/>
                  </a:lnTo>
                  <a:lnTo>
                    <a:pt x="289271" y="119633"/>
                  </a:lnTo>
                  <a:lnTo>
                    <a:pt x="293050" y="122700"/>
                  </a:lnTo>
                  <a:lnTo>
                    <a:pt x="293162" y="123646"/>
                  </a:lnTo>
                  <a:lnTo>
                    <a:pt x="294628" y="124287"/>
                  </a:lnTo>
                  <a:lnTo>
                    <a:pt x="300197" y="125183"/>
                  </a:lnTo>
                  <a:lnTo>
                    <a:pt x="301167" y="127998"/>
                  </a:lnTo>
                  <a:lnTo>
                    <a:pt x="300249" y="129107"/>
                  </a:lnTo>
                  <a:lnTo>
                    <a:pt x="301012" y="130668"/>
                  </a:lnTo>
                  <a:lnTo>
                    <a:pt x="305166" y="132416"/>
                  </a:lnTo>
                  <a:lnTo>
                    <a:pt x="307651" y="132892"/>
                  </a:lnTo>
                  <a:lnTo>
                    <a:pt x="310709" y="133952"/>
                  </a:lnTo>
                  <a:lnTo>
                    <a:pt x="309323" y="136092"/>
                  </a:lnTo>
                  <a:lnTo>
                    <a:pt x="306751" y="137480"/>
                  </a:lnTo>
                  <a:lnTo>
                    <a:pt x="304177" y="138118"/>
                  </a:lnTo>
                  <a:lnTo>
                    <a:pt x="305399" y="138630"/>
                  </a:lnTo>
                  <a:lnTo>
                    <a:pt x="308735" y="138432"/>
                  </a:lnTo>
                  <a:lnTo>
                    <a:pt x="320809" y="141952"/>
                  </a:lnTo>
                  <a:lnTo>
                    <a:pt x="327157" y="145505"/>
                  </a:lnTo>
                  <a:lnTo>
                    <a:pt x="333614" y="151967"/>
                  </a:lnTo>
                  <a:lnTo>
                    <a:pt x="335704" y="155155"/>
                  </a:lnTo>
                  <a:lnTo>
                    <a:pt x="335855" y="156912"/>
                  </a:lnTo>
                  <a:lnTo>
                    <a:pt x="335497" y="158664"/>
                  </a:lnTo>
                  <a:lnTo>
                    <a:pt x="334564" y="160556"/>
                  </a:lnTo>
                  <a:lnTo>
                    <a:pt x="334139" y="162455"/>
                  </a:lnTo>
                  <a:lnTo>
                    <a:pt x="331932" y="168051"/>
                  </a:lnTo>
                  <a:lnTo>
                    <a:pt x="330349" y="169979"/>
                  </a:lnTo>
                  <a:lnTo>
                    <a:pt x="327304" y="172185"/>
                  </a:lnTo>
                  <a:lnTo>
                    <a:pt x="330167" y="176442"/>
                  </a:lnTo>
                  <a:lnTo>
                    <a:pt x="333156" y="180402"/>
                  </a:lnTo>
                  <a:lnTo>
                    <a:pt x="336084" y="186952"/>
                  </a:lnTo>
                  <a:lnTo>
                    <a:pt x="336607" y="189582"/>
                  </a:lnTo>
                  <a:lnTo>
                    <a:pt x="336728" y="193613"/>
                  </a:lnTo>
                  <a:lnTo>
                    <a:pt x="339373" y="195195"/>
                  </a:lnTo>
                  <a:lnTo>
                    <a:pt x="338339" y="195813"/>
                  </a:lnTo>
                  <a:lnTo>
                    <a:pt x="337296" y="196956"/>
                  </a:lnTo>
                  <a:lnTo>
                    <a:pt x="337544" y="202190"/>
                  </a:lnTo>
                  <a:lnTo>
                    <a:pt x="341211" y="206454"/>
                  </a:lnTo>
                  <a:lnTo>
                    <a:pt x="346711" y="209215"/>
                  </a:lnTo>
                  <a:lnTo>
                    <a:pt x="349982" y="209775"/>
                  </a:lnTo>
                  <a:lnTo>
                    <a:pt x="354737" y="208655"/>
                  </a:lnTo>
                  <a:lnTo>
                    <a:pt x="358164" y="210180"/>
                  </a:lnTo>
                  <a:lnTo>
                    <a:pt x="365780" y="215368"/>
                  </a:lnTo>
                  <a:lnTo>
                    <a:pt x="369218" y="220836"/>
                  </a:lnTo>
                  <a:lnTo>
                    <a:pt x="370611" y="221949"/>
                  </a:lnTo>
                  <a:lnTo>
                    <a:pt x="378324" y="223987"/>
                  </a:lnTo>
                  <a:lnTo>
                    <a:pt x="384105" y="225239"/>
                  </a:lnTo>
                  <a:lnTo>
                    <a:pt x="392895" y="228506"/>
                  </a:lnTo>
                  <a:lnTo>
                    <a:pt x="394431" y="228624"/>
                  </a:lnTo>
                  <a:lnTo>
                    <a:pt x="398702" y="225807"/>
                  </a:lnTo>
                  <a:lnTo>
                    <a:pt x="406057" y="223844"/>
                  </a:lnTo>
                  <a:lnTo>
                    <a:pt x="408331" y="221137"/>
                  </a:lnTo>
                  <a:lnTo>
                    <a:pt x="408141" y="218835"/>
                  </a:lnTo>
                  <a:lnTo>
                    <a:pt x="406260" y="214730"/>
                  </a:lnTo>
                  <a:lnTo>
                    <a:pt x="405742" y="210721"/>
                  </a:lnTo>
                  <a:lnTo>
                    <a:pt x="403306" y="209081"/>
                  </a:lnTo>
                  <a:lnTo>
                    <a:pt x="401030" y="207992"/>
                  </a:lnTo>
                  <a:lnTo>
                    <a:pt x="394152" y="208823"/>
                  </a:lnTo>
                  <a:lnTo>
                    <a:pt x="391056" y="208668"/>
                  </a:lnTo>
                  <a:lnTo>
                    <a:pt x="388715" y="207582"/>
                  </a:lnTo>
                  <a:lnTo>
                    <a:pt x="385547" y="204713"/>
                  </a:lnTo>
                  <a:lnTo>
                    <a:pt x="379552" y="197722"/>
                  </a:lnTo>
                  <a:lnTo>
                    <a:pt x="376344" y="195389"/>
                  </a:lnTo>
                  <a:lnTo>
                    <a:pt x="375338" y="193943"/>
                  </a:lnTo>
                  <a:lnTo>
                    <a:pt x="374221" y="191924"/>
                  </a:lnTo>
                  <a:lnTo>
                    <a:pt x="374361" y="188652"/>
                  </a:lnTo>
                  <a:lnTo>
                    <a:pt x="376979" y="188766"/>
                  </a:lnTo>
                  <a:lnTo>
                    <a:pt x="379920" y="186910"/>
                  </a:lnTo>
                  <a:lnTo>
                    <a:pt x="382062" y="180249"/>
                  </a:lnTo>
                  <a:lnTo>
                    <a:pt x="385763" y="179401"/>
                  </a:lnTo>
                  <a:lnTo>
                    <a:pt x="387767" y="179459"/>
                  </a:lnTo>
                  <a:lnTo>
                    <a:pt x="396331" y="182557"/>
                  </a:lnTo>
                  <a:lnTo>
                    <a:pt x="406972" y="190799"/>
                  </a:lnTo>
                  <a:lnTo>
                    <a:pt x="409324" y="191665"/>
                  </a:lnTo>
                  <a:lnTo>
                    <a:pt x="411812" y="191786"/>
                  </a:lnTo>
                  <a:lnTo>
                    <a:pt x="415878" y="191576"/>
                  </a:lnTo>
                  <a:lnTo>
                    <a:pt x="416539" y="192648"/>
                  </a:lnTo>
                  <a:lnTo>
                    <a:pt x="418726" y="193932"/>
                  </a:lnTo>
                  <a:lnTo>
                    <a:pt x="420322" y="194097"/>
                  </a:lnTo>
                  <a:lnTo>
                    <a:pt x="430061" y="196698"/>
                  </a:lnTo>
                  <a:lnTo>
                    <a:pt x="441423" y="201814"/>
                  </a:lnTo>
                  <a:lnTo>
                    <a:pt x="445638" y="201583"/>
                  </a:lnTo>
                  <a:lnTo>
                    <a:pt x="447297" y="198752"/>
                  </a:lnTo>
                  <a:lnTo>
                    <a:pt x="447642" y="197533"/>
                  </a:lnTo>
                  <a:lnTo>
                    <a:pt x="452268" y="194666"/>
                  </a:lnTo>
                  <a:lnTo>
                    <a:pt x="455494" y="194191"/>
                  </a:lnTo>
                  <a:lnTo>
                    <a:pt x="460007" y="195234"/>
                  </a:lnTo>
                  <a:lnTo>
                    <a:pt x="460828" y="194381"/>
                  </a:lnTo>
                  <a:lnTo>
                    <a:pt x="459290" y="190171"/>
                  </a:lnTo>
                  <a:lnTo>
                    <a:pt x="457209" y="186518"/>
                  </a:lnTo>
                  <a:lnTo>
                    <a:pt x="454144" y="184175"/>
                  </a:lnTo>
                  <a:lnTo>
                    <a:pt x="448701" y="177277"/>
                  </a:lnTo>
                  <a:lnTo>
                    <a:pt x="446524" y="173844"/>
                  </a:lnTo>
                  <a:lnTo>
                    <a:pt x="445442" y="170296"/>
                  </a:lnTo>
                  <a:lnTo>
                    <a:pt x="446150" y="167152"/>
                  </a:lnTo>
                  <a:lnTo>
                    <a:pt x="446932" y="164857"/>
                  </a:lnTo>
                  <a:lnTo>
                    <a:pt x="458238" y="159267"/>
                  </a:lnTo>
                  <a:lnTo>
                    <a:pt x="462328" y="155912"/>
                  </a:lnTo>
                  <a:lnTo>
                    <a:pt x="466282" y="151544"/>
                  </a:lnTo>
                  <a:lnTo>
                    <a:pt x="468113" y="150650"/>
                  </a:lnTo>
                  <a:lnTo>
                    <a:pt x="474783" y="149435"/>
                  </a:lnTo>
                  <a:lnTo>
                    <a:pt x="483622" y="145688"/>
                  </a:lnTo>
                  <a:lnTo>
                    <a:pt x="490368" y="140700"/>
                  </a:lnTo>
                  <a:lnTo>
                    <a:pt x="497062" y="133093"/>
                  </a:lnTo>
                  <a:lnTo>
                    <a:pt x="499869" y="131109"/>
                  </a:lnTo>
                  <a:lnTo>
                    <a:pt x="502150" y="131291"/>
                  </a:lnTo>
                  <a:lnTo>
                    <a:pt x="505181" y="132484"/>
                  </a:lnTo>
                  <a:lnTo>
                    <a:pt x="508528" y="134694"/>
                  </a:lnTo>
                  <a:lnTo>
                    <a:pt x="511468" y="134962"/>
                  </a:lnTo>
                  <a:lnTo>
                    <a:pt x="511468" y="856713"/>
                  </a:lnTo>
                  <a:lnTo>
                    <a:pt x="509813" y="856922"/>
                  </a:lnTo>
                  <a:lnTo>
                    <a:pt x="507730" y="857029"/>
                  </a:lnTo>
                  <a:lnTo>
                    <a:pt x="504480" y="855174"/>
                  </a:lnTo>
                  <a:lnTo>
                    <a:pt x="501398" y="855070"/>
                  </a:lnTo>
                  <a:lnTo>
                    <a:pt x="497917" y="855627"/>
                  </a:lnTo>
                  <a:lnTo>
                    <a:pt x="497155" y="855848"/>
                  </a:lnTo>
                  <a:lnTo>
                    <a:pt x="496319" y="856089"/>
                  </a:lnTo>
                  <a:lnTo>
                    <a:pt x="485939" y="855307"/>
                  </a:lnTo>
                  <a:lnTo>
                    <a:pt x="483290" y="853774"/>
                  </a:lnTo>
                  <a:lnTo>
                    <a:pt x="481022" y="852240"/>
                  </a:lnTo>
                  <a:lnTo>
                    <a:pt x="474939" y="851136"/>
                  </a:lnTo>
                  <a:lnTo>
                    <a:pt x="471819" y="849963"/>
                  </a:lnTo>
                  <a:lnTo>
                    <a:pt x="468716" y="848298"/>
                  </a:lnTo>
                  <a:lnTo>
                    <a:pt x="465319" y="846845"/>
                  </a:lnTo>
                  <a:lnTo>
                    <a:pt x="462464" y="847434"/>
                  </a:lnTo>
                  <a:lnTo>
                    <a:pt x="458558" y="846606"/>
                  </a:lnTo>
                  <a:lnTo>
                    <a:pt x="454311" y="845878"/>
                  </a:lnTo>
                  <a:lnTo>
                    <a:pt x="452860" y="846326"/>
                  </a:lnTo>
                  <a:lnTo>
                    <a:pt x="451514" y="848165"/>
                  </a:lnTo>
                  <a:lnTo>
                    <a:pt x="450510" y="849915"/>
                  </a:lnTo>
                  <a:lnTo>
                    <a:pt x="448195" y="848490"/>
                  </a:lnTo>
                  <a:lnTo>
                    <a:pt x="440303" y="841614"/>
                  </a:lnTo>
                  <a:lnTo>
                    <a:pt x="436161" y="837039"/>
                  </a:lnTo>
                  <a:lnTo>
                    <a:pt x="422626" y="826453"/>
                  </a:lnTo>
                  <a:lnTo>
                    <a:pt x="420825" y="825641"/>
                  </a:lnTo>
                  <a:lnTo>
                    <a:pt x="413660" y="824109"/>
                  </a:lnTo>
                  <a:lnTo>
                    <a:pt x="410773" y="822880"/>
                  </a:lnTo>
                  <a:lnTo>
                    <a:pt x="403481" y="815284"/>
                  </a:lnTo>
                  <a:lnTo>
                    <a:pt x="400240" y="816304"/>
                  </a:lnTo>
                  <a:lnTo>
                    <a:pt x="397311" y="816046"/>
                  </a:lnTo>
                  <a:lnTo>
                    <a:pt x="395601" y="815381"/>
                  </a:lnTo>
                  <a:lnTo>
                    <a:pt x="393748" y="814289"/>
                  </a:lnTo>
                  <a:lnTo>
                    <a:pt x="392444" y="812843"/>
                  </a:lnTo>
                  <a:lnTo>
                    <a:pt x="390935" y="809659"/>
                  </a:lnTo>
                  <a:lnTo>
                    <a:pt x="389181" y="807831"/>
                  </a:lnTo>
                  <a:lnTo>
                    <a:pt x="383424" y="805162"/>
                  </a:lnTo>
                  <a:lnTo>
                    <a:pt x="376931" y="803606"/>
                  </a:lnTo>
                  <a:lnTo>
                    <a:pt x="376419" y="802926"/>
                  </a:lnTo>
                  <a:lnTo>
                    <a:pt x="376231" y="801990"/>
                  </a:lnTo>
                  <a:lnTo>
                    <a:pt x="381846" y="800175"/>
                  </a:lnTo>
                  <a:lnTo>
                    <a:pt x="383353" y="799135"/>
                  </a:lnTo>
                  <a:lnTo>
                    <a:pt x="380474" y="797755"/>
                  </a:lnTo>
                  <a:lnTo>
                    <a:pt x="379382" y="797527"/>
                  </a:lnTo>
                  <a:lnTo>
                    <a:pt x="378471" y="796881"/>
                  </a:lnTo>
                  <a:lnTo>
                    <a:pt x="380092" y="795843"/>
                  </a:lnTo>
                  <a:lnTo>
                    <a:pt x="381688" y="795367"/>
                  </a:lnTo>
                  <a:lnTo>
                    <a:pt x="384163" y="796560"/>
                  </a:lnTo>
                  <a:lnTo>
                    <a:pt x="386942" y="798774"/>
                  </a:lnTo>
                  <a:lnTo>
                    <a:pt x="389375" y="799612"/>
                  </a:lnTo>
                  <a:lnTo>
                    <a:pt x="390496" y="798553"/>
                  </a:lnTo>
                  <a:lnTo>
                    <a:pt x="398963" y="796735"/>
                  </a:lnTo>
                  <a:lnTo>
                    <a:pt x="399533" y="795294"/>
                  </a:lnTo>
                  <a:lnTo>
                    <a:pt x="399510" y="793683"/>
                  </a:lnTo>
                  <a:lnTo>
                    <a:pt x="398680" y="793740"/>
                  </a:lnTo>
                  <a:lnTo>
                    <a:pt x="398140" y="793377"/>
                  </a:lnTo>
                  <a:lnTo>
                    <a:pt x="398195" y="791586"/>
                  </a:lnTo>
                  <a:lnTo>
                    <a:pt x="399451" y="789128"/>
                  </a:lnTo>
                  <a:lnTo>
                    <a:pt x="403248" y="785122"/>
                  </a:lnTo>
                  <a:lnTo>
                    <a:pt x="405286" y="779545"/>
                  </a:lnTo>
                  <a:lnTo>
                    <a:pt x="407081" y="778273"/>
                  </a:lnTo>
                  <a:lnTo>
                    <a:pt x="408398" y="779121"/>
                  </a:lnTo>
                  <a:lnTo>
                    <a:pt x="408307" y="780424"/>
                  </a:lnTo>
                  <a:lnTo>
                    <a:pt x="408525" y="781392"/>
                  </a:lnTo>
                  <a:lnTo>
                    <a:pt x="409702" y="779514"/>
                  </a:lnTo>
                  <a:lnTo>
                    <a:pt x="410825" y="776973"/>
                  </a:lnTo>
                  <a:lnTo>
                    <a:pt x="413660" y="776958"/>
                  </a:lnTo>
                  <a:lnTo>
                    <a:pt x="415618" y="777382"/>
                  </a:lnTo>
                  <a:lnTo>
                    <a:pt x="417651" y="777091"/>
                  </a:lnTo>
                  <a:lnTo>
                    <a:pt x="413736" y="772903"/>
                  </a:lnTo>
                  <a:lnTo>
                    <a:pt x="408484" y="768680"/>
                  </a:lnTo>
                  <a:lnTo>
                    <a:pt x="406269" y="768998"/>
                  </a:lnTo>
                  <a:lnTo>
                    <a:pt x="404861" y="768343"/>
                  </a:lnTo>
                  <a:lnTo>
                    <a:pt x="402555" y="764858"/>
                  </a:lnTo>
                  <a:lnTo>
                    <a:pt x="401602" y="761967"/>
                  </a:lnTo>
                  <a:lnTo>
                    <a:pt x="403833" y="762032"/>
                  </a:lnTo>
                  <a:lnTo>
                    <a:pt x="406057" y="762470"/>
                  </a:lnTo>
                  <a:lnTo>
                    <a:pt x="410292" y="760450"/>
                  </a:lnTo>
                  <a:lnTo>
                    <a:pt x="411850" y="760155"/>
                  </a:lnTo>
                  <a:lnTo>
                    <a:pt x="414360" y="760794"/>
                  </a:lnTo>
                  <a:lnTo>
                    <a:pt x="417843" y="761201"/>
                  </a:lnTo>
                  <a:lnTo>
                    <a:pt x="417556" y="759295"/>
                  </a:lnTo>
                  <a:lnTo>
                    <a:pt x="416465" y="757043"/>
                  </a:lnTo>
                  <a:lnTo>
                    <a:pt x="420713" y="755372"/>
                  </a:lnTo>
                  <a:lnTo>
                    <a:pt x="424479" y="754449"/>
                  </a:lnTo>
                  <a:lnTo>
                    <a:pt x="431680" y="751177"/>
                  </a:lnTo>
                  <a:lnTo>
                    <a:pt x="434863" y="750599"/>
                  </a:lnTo>
                  <a:lnTo>
                    <a:pt x="435269" y="749852"/>
                  </a:lnTo>
                  <a:lnTo>
                    <a:pt x="435366" y="748878"/>
                  </a:lnTo>
                  <a:lnTo>
                    <a:pt x="434284" y="746257"/>
                  </a:lnTo>
                  <a:lnTo>
                    <a:pt x="433205" y="744317"/>
                  </a:lnTo>
                  <a:lnTo>
                    <a:pt x="429402" y="744223"/>
                  </a:lnTo>
                  <a:lnTo>
                    <a:pt x="427292" y="746924"/>
                  </a:lnTo>
                  <a:lnTo>
                    <a:pt x="421540" y="747811"/>
                  </a:lnTo>
                  <a:lnTo>
                    <a:pt x="418981" y="747632"/>
                  </a:lnTo>
                  <a:lnTo>
                    <a:pt x="421013" y="745902"/>
                  </a:lnTo>
                  <a:lnTo>
                    <a:pt x="423040" y="745241"/>
                  </a:lnTo>
                  <a:lnTo>
                    <a:pt x="423613" y="744520"/>
                  </a:lnTo>
                  <a:lnTo>
                    <a:pt x="419529" y="745149"/>
                  </a:lnTo>
                  <a:lnTo>
                    <a:pt x="417484" y="746928"/>
                  </a:lnTo>
                  <a:lnTo>
                    <a:pt x="411505" y="749278"/>
                  </a:lnTo>
                  <a:lnTo>
                    <a:pt x="411317" y="748044"/>
                  </a:lnTo>
                  <a:lnTo>
                    <a:pt x="411218" y="746936"/>
                  </a:lnTo>
                  <a:lnTo>
                    <a:pt x="411656" y="745887"/>
                  </a:lnTo>
                  <a:lnTo>
                    <a:pt x="412632" y="745209"/>
                  </a:lnTo>
                  <a:lnTo>
                    <a:pt x="412973" y="744592"/>
                  </a:lnTo>
                  <a:lnTo>
                    <a:pt x="412973" y="744098"/>
                  </a:lnTo>
                  <a:lnTo>
                    <a:pt x="412095" y="743789"/>
                  </a:lnTo>
                  <a:lnTo>
                    <a:pt x="411364" y="743542"/>
                  </a:lnTo>
                  <a:lnTo>
                    <a:pt x="411218" y="742863"/>
                  </a:lnTo>
                  <a:lnTo>
                    <a:pt x="411462" y="742247"/>
                  </a:lnTo>
                  <a:lnTo>
                    <a:pt x="412144" y="741381"/>
                  </a:lnTo>
                  <a:lnTo>
                    <a:pt x="412438" y="740393"/>
                  </a:lnTo>
                  <a:lnTo>
                    <a:pt x="412488" y="738413"/>
                  </a:lnTo>
                  <a:lnTo>
                    <a:pt x="413120" y="736178"/>
                  </a:lnTo>
                  <a:lnTo>
                    <a:pt x="414921" y="734752"/>
                  </a:lnTo>
                  <a:lnTo>
                    <a:pt x="418063" y="734402"/>
                  </a:lnTo>
                  <a:lnTo>
                    <a:pt x="420931" y="733179"/>
                  </a:lnTo>
                  <a:lnTo>
                    <a:pt x="422663" y="731824"/>
                  </a:lnTo>
                  <a:lnTo>
                    <a:pt x="424947" y="728365"/>
                  </a:lnTo>
                  <a:lnTo>
                    <a:pt x="426672" y="727855"/>
                  </a:lnTo>
                  <a:lnTo>
                    <a:pt x="430156" y="728042"/>
                  </a:lnTo>
                  <a:lnTo>
                    <a:pt x="432382" y="728354"/>
                  </a:lnTo>
                  <a:lnTo>
                    <a:pt x="437523" y="728457"/>
                  </a:lnTo>
                  <a:lnTo>
                    <a:pt x="443438" y="728247"/>
                  </a:lnTo>
                  <a:lnTo>
                    <a:pt x="445150" y="728145"/>
                  </a:lnTo>
                  <a:lnTo>
                    <a:pt x="446096" y="726941"/>
                  </a:lnTo>
                  <a:lnTo>
                    <a:pt x="446031" y="724773"/>
                  </a:lnTo>
                  <a:lnTo>
                    <a:pt x="446876" y="722774"/>
                  </a:lnTo>
                  <a:lnTo>
                    <a:pt x="448448" y="719015"/>
                  </a:lnTo>
                  <a:lnTo>
                    <a:pt x="450128" y="717048"/>
                  </a:lnTo>
                  <a:lnTo>
                    <a:pt x="450059" y="716172"/>
                  </a:lnTo>
                  <a:lnTo>
                    <a:pt x="449180" y="715803"/>
                  </a:lnTo>
                  <a:lnTo>
                    <a:pt x="448033" y="715619"/>
                  </a:lnTo>
                  <a:lnTo>
                    <a:pt x="447617" y="715213"/>
                  </a:lnTo>
                  <a:lnTo>
                    <a:pt x="447670" y="714387"/>
                  </a:lnTo>
                  <a:lnTo>
                    <a:pt x="448554" y="713580"/>
                  </a:lnTo>
                  <a:lnTo>
                    <a:pt x="448394" y="711918"/>
                  </a:lnTo>
                  <a:lnTo>
                    <a:pt x="447839" y="710071"/>
                  </a:lnTo>
                  <a:lnTo>
                    <a:pt x="447355" y="708409"/>
                  </a:lnTo>
                  <a:lnTo>
                    <a:pt x="445803" y="707583"/>
                  </a:lnTo>
                  <a:lnTo>
                    <a:pt x="443133" y="707034"/>
                  </a:lnTo>
                  <a:lnTo>
                    <a:pt x="443702" y="705010"/>
                  </a:lnTo>
                  <a:lnTo>
                    <a:pt x="444457" y="702823"/>
                  </a:lnTo>
                  <a:lnTo>
                    <a:pt x="445591" y="701607"/>
                  </a:lnTo>
                  <a:lnTo>
                    <a:pt x="446409" y="700877"/>
                  </a:lnTo>
                  <a:lnTo>
                    <a:pt x="448869" y="701275"/>
                  </a:lnTo>
                  <a:lnTo>
                    <a:pt x="450646" y="700887"/>
                  </a:lnTo>
                  <a:lnTo>
                    <a:pt x="451069" y="700468"/>
                  </a:lnTo>
                  <a:lnTo>
                    <a:pt x="450750" y="699633"/>
                  </a:lnTo>
                  <a:lnTo>
                    <a:pt x="447977" y="698876"/>
                  </a:lnTo>
                  <a:lnTo>
                    <a:pt x="445535" y="697836"/>
                  </a:lnTo>
                  <a:lnTo>
                    <a:pt x="444481" y="696550"/>
                  </a:lnTo>
                  <a:lnTo>
                    <a:pt x="444058" y="695171"/>
                  </a:lnTo>
                  <a:lnTo>
                    <a:pt x="445671" y="694353"/>
                  </a:lnTo>
                  <a:lnTo>
                    <a:pt x="448551" y="693568"/>
                  </a:lnTo>
                  <a:lnTo>
                    <a:pt x="450467" y="691689"/>
                  </a:lnTo>
                  <a:lnTo>
                    <a:pt x="452538" y="689675"/>
                  </a:lnTo>
                  <a:lnTo>
                    <a:pt x="453395" y="688208"/>
                  </a:lnTo>
                  <a:lnTo>
                    <a:pt x="453827" y="686615"/>
                  </a:lnTo>
                  <a:lnTo>
                    <a:pt x="453779" y="684850"/>
                  </a:lnTo>
                  <a:lnTo>
                    <a:pt x="452268" y="683053"/>
                  </a:lnTo>
                  <a:lnTo>
                    <a:pt x="452268" y="681173"/>
                  </a:lnTo>
                  <a:lnTo>
                    <a:pt x="453088" y="679864"/>
                  </a:lnTo>
                  <a:lnTo>
                    <a:pt x="452773" y="678882"/>
                  </a:lnTo>
                  <a:lnTo>
                    <a:pt x="451667" y="678312"/>
                  </a:lnTo>
                  <a:lnTo>
                    <a:pt x="450072" y="678483"/>
                  </a:lnTo>
                  <a:lnTo>
                    <a:pt x="448266" y="679146"/>
                  </a:lnTo>
                  <a:lnTo>
                    <a:pt x="446137" y="679021"/>
                  </a:lnTo>
                  <a:lnTo>
                    <a:pt x="442732" y="676761"/>
                  </a:lnTo>
                  <a:lnTo>
                    <a:pt x="439110" y="674536"/>
                  </a:lnTo>
                  <a:lnTo>
                    <a:pt x="437025" y="674461"/>
                  </a:lnTo>
                  <a:lnTo>
                    <a:pt x="435576" y="674133"/>
                  </a:lnTo>
                  <a:lnTo>
                    <a:pt x="434317" y="672985"/>
                  </a:lnTo>
                  <a:lnTo>
                    <a:pt x="433561" y="671508"/>
                  </a:lnTo>
                  <a:lnTo>
                    <a:pt x="432743" y="670853"/>
                  </a:lnTo>
                  <a:lnTo>
                    <a:pt x="431419" y="671262"/>
                  </a:lnTo>
                  <a:lnTo>
                    <a:pt x="429490" y="671934"/>
                  </a:lnTo>
                  <a:lnTo>
                    <a:pt x="427072" y="671753"/>
                  </a:lnTo>
                  <a:lnTo>
                    <a:pt x="423939" y="670035"/>
                  </a:lnTo>
                  <a:lnTo>
                    <a:pt x="421088" y="668058"/>
                  </a:lnTo>
                  <a:lnTo>
                    <a:pt x="418970" y="668009"/>
                  </a:lnTo>
                  <a:lnTo>
                    <a:pt x="416742" y="667735"/>
                  </a:lnTo>
                  <a:lnTo>
                    <a:pt x="412483" y="665187"/>
                  </a:lnTo>
                  <a:lnTo>
                    <a:pt x="411380" y="665212"/>
                  </a:lnTo>
                  <a:lnTo>
                    <a:pt x="410691" y="665965"/>
                  </a:lnTo>
                  <a:lnTo>
                    <a:pt x="410363" y="668010"/>
                  </a:lnTo>
                  <a:lnTo>
                    <a:pt x="410011" y="668447"/>
                  </a:lnTo>
                  <a:lnTo>
                    <a:pt x="409253" y="668781"/>
                  </a:lnTo>
                  <a:lnTo>
                    <a:pt x="407802" y="669006"/>
                  </a:lnTo>
                  <a:lnTo>
                    <a:pt x="405666" y="667731"/>
                  </a:lnTo>
                  <a:lnTo>
                    <a:pt x="400224" y="663548"/>
                  </a:lnTo>
                  <a:lnTo>
                    <a:pt x="398033" y="660486"/>
                  </a:lnTo>
                  <a:lnTo>
                    <a:pt x="397530" y="658260"/>
                  </a:lnTo>
                  <a:lnTo>
                    <a:pt x="395739" y="656844"/>
                  </a:lnTo>
                  <a:lnTo>
                    <a:pt x="394003" y="654792"/>
                  </a:lnTo>
                  <a:lnTo>
                    <a:pt x="392241" y="654614"/>
                  </a:lnTo>
                  <a:lnTo>
                    <a:pt x="390289" y="655271"/>
                  </a:lnTo>
                  <a:lnTo>
                    <a:pt x="388436" y="656259"/>
                  </a:lnTo>
                  <a:lnTo>
                    <a:pt x="387555" y="656531"/>
                  </a:lnTo>
                  <a:lnTo>
                    <a:pt x="384398" y="656877"/>
                  </a:lnTo>
                  <a:lnTo>
                    <a:pt x="379326" y="658260"/>
                  </a:lnTo>
                  <a:lnTo>
                    <a:pt x="377939" y="659580"/>
                  </a:lnTo>
                  <a:lnTo>
                    <a:pt x="376238" y="660651"/>
                  </a:lnTo>
                  <a:lnTo>
                    <a:pt x="374916" y="659909"/>
                  </a:lnTo>
                  <a:lnTo>
                    <a:pt x="373593" y="658589"/>
                  </a:lnTo>
                  <a:lnTo>
                    <a:pt x="370697" y="658115"/>
                  </a:lnTo>
                  <a:lnTo>
                    <a:pt x="369309" y="658589"/>
                  </a:lnTo>
                  <a:lnTo>
                    <a:pt x="367922" y="657682"/>
                  </a:lnTo>
                  <a:lnTo>
                    <a:pt x="366730" y="656058"/>
                  </a:lnTo>
                  <a:lnTo>
                    <a:pt x="365115" y="654877"/>
                  </a:lnTo>
                  <a:lnTo>
                    <a:pt x="362714" y="654554"/>
                  </a:lnTo>
                  <a:lnTo>
                    <a:pt x="360114" y="654049"/>
                  </a:lnTo>
                  <a:lnTo>
                    <a:pt x="358034" y="654958"/>
                  </a:lnTo>
                  <a:lnTo>
                    <a:pt x="355326" y="656691"/>
                  </a:lnTo>
                  <a:lnTo>
                    <a:pt x="353500" y="656031"/>
                  </a:lnTo>
                  <a:lnTo>
                    <a:pt x="352491" y="653965"/>
                  </a:lnTo>
                  <a:lnTo>
                    <a:pt x="351230" y="653387"/>
                  </a:lnTo>
                  <a:lnTo>
                    <a:pt x="349531" y="651070"/>
                  </a:lnTo>
                  <a:lnTo>
                    <a:pt x="349090" y="649000"/>
                  </a:lnTo>
                  <a:lnTo>
                    <a:pt x="349531" y="648090"/>
                  </a:lnTo>
                  <a:lnTo>
                    <a:pt x="350161" y="646930"/>
                  </a:lnTo>
                  <a:lnTo>
                    <a:pt x="350161" y="645603"/>
                  </a:lnTo>
                  <a:lnTo>
                    <a:pt x="349658" y="644441"/>
                  </a:lnTo>
                  <a:lnTo>
                    <a:pt x="348902" y="643528"/>
                  </a:lnTo>
                  <a:lnTo>
                    <a:pt x="348082" y="640455"/>
                  </a:lnTo>
                  <a:lnTo>
                    <a:pt x="347389" y="639124"/>
                  </a:lnTo>
                  <a:lnTo>
                    <a:pt x="347263" y="638044"/>
                  </a:lnTo>
                  <a:lnTo>
                    <a:pt x="347831" y="637044"/>
                  </a:lnTo>
                  <a:lnTo>
                    <a:pt x="347326" y="636379"/>
                  </a:lnTo>
                  <a:lnTo>
                    <a:pt x="346380" y="636295"/>
                  </a:lnTo>
                  <a:lnTo>
                    <a:pt x="344808" y="636379"/>
                  </a:lnTo>
                  <a:lnTo>
                    <a:pt x="343925" y="635879"/>
                  </a:lnTo>
                  <a:lnTo>
                    <a:pt x="342979" y="634129"/>
                  </a:lnTo>
                  <a:lnTo>
                    <a:pt x="342476" y="632379"/>
                  </a:lnTo>
                  <a:lnTo>
                    <a:pt x="341845" y="631712"/>
                  </a:lnTo>
                  <a:lnTo>
                    <a:pt x="340213" y="631761"/>
                  </a:lnTo>
                  <a:lnTo>
                    <a:pt x="337522" y="632128"/>
                  </a:lnTo>
                  <a:lnTo>
                    <a:pt x="335130" y="632710"/>
                  </a:lnTo>
                  <a:lnTo>
                    <a:pt x="334067" y="632626"/>
                  </a:lnTo>
                  <a:lnTo>
                    <a:pt x="331955" y="631721"/>
                  </a:lnTo>
                  <a:lnTo>
                    <a:pt x="329174" y="630727"/>
                  </a:lnTo>
                  <a:lnTo>
                    <a:pt x="323495" y="630530"/>
                  </a:lnTo>
                  <a:lnTo>
                    <a:pt x="323046" y="630191"/>
                  </a:lnTo>
                  <a:lnTo>
                    <a:pt x="323368" y="629561"/>
                  </a:lnTo>
                  <a:lnTo>
                    <a:pt x="324523" y="628540"/>
                  </a:lnTo>
                  <a:lnTo>
                    <a:pt x="324398" y="627704"/>
                  </a:lnTo>
                  <a:lnTo>
                    <a:pt x="323400" y="627028"/>
                  </a:lnTo>
                  <a:lnTo>
                    <a:pt x="322884" y="625364"/>
                  </a:lnTo>
                  <a:lnTo>
                    <a:pt x="322944" y="623480"/>
                  </a:lnTo>
                  <a:lnTo>
                    <a:pt x="322759" y="621430"/>
                  </a:lnTo>
                  <a:lnTo>
                    <a:pt x="321562" y="619837"/>
                  </a:lnTo>
                  <a:lnTo>
                    <a:pt x="320869" y="618748"/>
                  </a:lnTo>
                  <a:lnTo>
                    <a:pt x="320994" y="617741"/>
                  </a:lnTo>
                  <a:lnTo>
                    <a:pt x="323605" y="617356"/>
                  </a:lnTo>
                  <a:lnTo>
                    <a:pt x="326704" y="616641"/>
                  </a:lnTo>
                  <a:lnTo>
                    <a:pt x="327222" y="615904"/>
                  </a:lnTo>
                  <a:lnTo>
                    <a:pt x="327114" y="614757"/>
                  </a:lnTo>
                  <a:lnTo>
                    <a:pt x="320817" y="608875"/>
                  </a:lnTo>
                  <a:lnTo>
                    <a:pt x="318656" y="603657"/>
                  </a:lnTo>
                  <a:lnTo>
                    <a:pt x="316594" y="600825"/>
                  </a:lnTo>
                  <a:lnTo>
                    <a:pt x="314311" y="598921"/>
                  </a:lnTo>
                  <a:lnTo>
                    <a:pt x="312463" y="598056"/>
                  </a:lnTo>
                  <a:lnTo>
                    <a:pt x="309768" y="598417"/>
                  </a:lnTo>
                  <a:lnTo>
                    <a:pt x="306196" y="598382"/>
                  </a:lnTo>
                  <a:lnTo>
                    <a:pt x="302553" y="597795"/>
                  </a:lnTo>
                  <a:lnTo>
                    <a:pt x="299487" y="598185"/>
                  </a:lnTo>
                  <a:lnTo>
                    <a:pt x="293987" y="600681"/>
                  </a:lnTo>
                  <a:lnTo>
                    <a:pt x="291925" y="600791"/>
                  </a:lnTo>
                  <a:lnTo>
                    <a:pt x="288364" y="600006"/>
                  </a:lnTo>
                  <a:lnTo>
                    <a:pt x="285324" y="599132"/>
                  </a:lnTo>
                  <a:lnTo>
                    <a:pt x="283721" y="599171"/>
                  </a:lnTo>
                  <a:lnTo>
                    <a:pt x="282745" y="599539"/>
                  </a:lnTo>
                  <a:lnTo>
                    <a:pt x="282119" y="600213"/>
                  </a:lnTo>
                  <a:lnTo>
                    <a:pt x="280346" y="604899"/>
                  </a:lnTo>
                  <a:lnTo>
                    <a:pt x="278887" y="605819"/>
                  </a:lnTo>
                  <a:lnTo>
                    <a:pt x="276796" y="606776"/>
                  </a:lnTo>
                  <a:lnTo>
                    <a:pt x="275012" y="606941"/>
                  </a:lnTo>
                  <a:lnTo>
                    <a:pt x="273514" y="606893"/>
                  </a:lnTo>
                  <a:lnTo>
                    <a:pt x="271342" y="606175"/>
                  </a:lnTo>
                  <a:lnTo>
                    <a:pt x="269281" y="605331"/>
                  </a:lnTo>
                  <a:lnTo>
                    <a:pt x="268860" y="605282"/>
                  </a:lnTo>
                  <a:lnTo>
                    <a:pt x="268755" y="604549"/>
                  </a:lnTo>
                  <a:lnTo>
                    <a:pt x="267252" y="601739"/>
                  </a:lnTo>
                  <a:lnTo>
                    <a:pt x="266351" y="600507"/>
                  </a:lnTo>
                  <a:lnTo>
                    <a:pt x="265282" y="599836"/>
                  </a:lnTo>
                  <a:lnTo>
                    <a:pt x="264747" y="599020"/>
                  </a:lnTo>
                  <a:lnTo>
                    <a:pt x="264730" y="595642"/>
                  </a:lnTo>
                  <a:lnTo>
                    <a:pt x="264928" y="592475"/>
                  </a:lnTo>
                  <a:lnTo>
                    <a:pt x="265600" y="592067"/>
                  </a:lnTo>
                  <a:lnTo>
                    <a:pt x="263615" y="589481"/>
                  </a:lnTo>
                  <a:lnTo>
                    <a:pt x="263466" y="587521"/>
                  </a:lnTo>
                  <a:lnTo>
                    <a:pt x="264440" y="586545"/>
                  </a:lnTo>
                  <a:lnTo>
                    <a:pt x="264470" y="585716"/>
                  </a:lnTo>
                  <a:lnTo>
                    <a:pt x="263814" y="584551"/>
                  </a:lnTo>
                  <a:lnTo>
                    <a:pt x="261771" y="582651"/>
                  </a:lnTo>
                  <a:lnTo>
                    <a:pt x="259787" y="580509"/>
                  </a:lnTo>
                  <a:lnTo>
                    <a:pt x="258506" y="578823"/>
                  </a:lnTo>
                  <a:lnTo>
                    <a:pt x="257703" y="578017"/>
                  </a:lnTo>
                  <a:lnTo>
                    <a:pt x="258679" y="576693"/>
                  </a:lnTo>
                  <a:lnTo>
                    <a:pt x="260042" y="574352"/>
                  </a:lnTo>
                  <a:lnTo>
                    <a:pt x="260568" y="572977"/>
                  </a:lnTo>
                  <a:lnTo>
                    <a:pt x="261221" y="572640"/>
                  </a:lnTo>
                  <a:lnTo>
                    <a:pt x="264429" y="572446"/>
                  </a:lnTo>
                  <a:lnTo>
                    <a:pt x="266757" y="572493"/>
                  </a:lnTo>
                  <a:lnTo>
                    <a:pt x="268508" y="572996"/>
                  </a:lnTo>
                  <a:lnTo>
                    <a:pt x="269171" y="574115"/>
                  </a:lnTo>
                  <a:lnTo>
                    <a:pt x="270769" y="575335"/>
                  </a:lnTo>
                  <a:lnTo>
                    <a:pt x="275319" y="575837"/>
                  </a:lnTo>
                  <a:lnTo>
                    <a:pt x="277232" y="575786"/>
                  </a:lnTo>
                  <a:lnTo>
                    <a:pt x="279636" y="574670"/>
                  </a:lnTo>
                  <a:lnTo>
                    <a:pt x="283518" y="572203"/>
                  </a:lnTo>
                  <a:lnTo>
                    <a:pt x="284471" y="570409"/>
                  </a:lnTo>
                  <a:lnTo>
                    <a:pt x="286874" y="569144"/>
                  </a:lnTo>
                  <a:lnTo>
                    <a:pt x="288342" y="568648"/>
                  </a:lnTo>
                  <a:lnTo>
                    <a:pt x="289666" y="568425"/>
                  </a:lnTo>
                  <a:lnTo>
                    <a:pt x="289798" y="567369"/>
                  </a:lnTo>
                  <a:lnTo>
                    <a:pt x="289713" y="565924"/>
                  </a:lnTo>
                  <a:lnTo>
                    <a:pt x="289256" y="565060"/>
                  </a:lnTo>
                  <a:lnTo>
                    <a:pt x="284477" y="562081"/>
                  </a:lnTo>
                  <a:lnTo>
                    <a:pt x="283875" y="561108"/>
                  </a:lnTo>
                  <a:lnTo>
                    <a:pt x="283494" y="559960"/>
                  </a:lnTo>
                  <a:lnTo>
                    <a:pt x="284064" y="558872"/>
                  </a:lnTo>
                  <a:lnTo>
                    <a:pt x="284047" y="557676"/>
                  </a:lnTo>
                  <a:lnTo>
                    <a:pt x="278524" y="555006"/>
                  </a:lnTo>
                  <a:lnTo>
                    <a:pt x="273920" y="554533"/>
                  </a:lnTo>
                  <a:lnTo>
                    <a:pt x="270130" y="554683"/>
                  </a:lnTo>
                  <a:lnTo>
                    <a:pt x="268657" y="554123"/>
                  </a:lnTo>
                  <a:lnTo>
                    <a:pt x="269294" y="552775"/>
                  </a:lnTo>
                  <a:lnTo>
                    <a:pt x="270229" y="550351"/>
                  </a:lnTo>
                  <a:lnTo>
                    <a:pt x="270506" y="548356"/>
                  </a:lnTo>
                  <a:lnTo>
                    <a:pt x="270244" y="547448"/>
                  </a:lnTo>
                  <a:lnTo>
                    <a:pt x="269493" y="546684"/>
                  </a:lnTo>
                  <a:lnTo>
                    <a:pt x="265876" y="545005"/>
                  </a:lnTo>
                  <a:lnTo>
                    <a:pt x="260905" y="542429"/>
                  </a:lnTo>
                  <a:lnTo>
                    <a:pt x="258595" y="539515"/>
                  </a:lnTo>
                  <a:lnTo>
                    <a:pt x="257409" y="536469"/>
                  </a:lnTo>
                  <a:lnTo>
                    <a:pt x="256066" y="534599"/>
                  </a:lnTo>
                  <a:lnTo>
                    <a:pt x="253635" y="533414"/>
                  </a:lnTo>
                  <a:lnTo>
                    <a:pt x="253792" y="532641"/>
                  </a:lnTo>
                  <a:lnTo>
                    <a:pt x="255405" y="529773"/>
                  </a:lnTo>
                  <a:lnTo>
                    <a:pt x="255345" y="529333"/>
                  </a:lnTo>
                  <a:lnTo>
                    <a:pt x="254662" y="528625"/>
                  </a:lnTo>
                  <a:lnTo>
                    <a:pt x="251630" y="527174"/>
                  </a:lnTo>
                  <a:lnTo>
                    <a:pt x="247532" y="524498"/>
                  </a:lnTo>
                  <a:lnTo>
                    <a:pt x="247359" y="523800"/>
                  </a:lnTo>
                  <a:lnTo>
                    <a:pt x="247657" y="522116"/>
                  </a:lnTo>
                  <a:lnTo>
                    <a:pt x="248219" y="520457"/>
                  </a:lnTo>
                  <a:lnTo>
                    <a:pt x="249035" y="519666"/>
                  </a:lnTo>
                  <a:lnTo>
                    <a:pt x="251488" y="516293"/>
                  </a:lnTo>
                  <a:lnTo>
                    <a:pt x="251488" y="515145"/>
                  </a:lnTo>
                  <a:lnTo>
                    <a:pt x="251071" y="513612"/>
                  </a:lnTo>
                  <a:lnTo>
                    <a:pt x="249270" y="510966"/>
                  </a:lnTo>
                  <a:lnTo>
                    <a:pt x="247878" y="509262"/>
                  </a:lnTo>
                  <a:lnTo>
                    <a:pt x="247791" y="508389"/>
                  </a:lnTo>
                  <a:lnTo>
                    <a:pt x="248022" y="507670"/>
                  </a:lnTo>
                  <a:lnTo>
                    <a:pt x="248925" y="506740"/>
                  </a:lnTo>
                  <a:lnTo>
                    <a:pt x="249782" y="505596"/>
                  </a:lnTo>
                  <a:lnTo>
                    <a:pt x="249963" y="501639"/>
                  </a:lnTo>
                  <a:lnTo>
                    <a:pt x="249920" y="500255"/>
                  </a:lnTo>
                  <a:lnTo>
                    <a:pt x="249376" y="499438"/>
                  </a:lnTo>
                  <a:lnTo>
                    <a:pt x="248795" y="499093"/>
                  </a:lnTo>
                  <a:lnTo>
                    <a:pt x="247575" y="499291"/>
                  </a:lnTo>
                  <a:lnTo>
                    <a:pt x="245826" y="498641"/>
                  </a:lnTo>
                  <a:lnTo>
                    <a:pt x="244513" y="497607"/>
                  </a:lnTo>
                  <a:lnTo>
                    <a:pt x="243701" y="497272"/>
                  </a:lnTo>
                  <a:lnTo>
                    <a:pt x="242842" y="496216"/>
                  </a:lnTo>
                  <a:lnTo>
                    <a:pt x="240380" y="494089"/>
                  </a:lnTo>
                  <a:lnTo>
                    <a:pt x="239957" y="493529"/>
                  </a:lnTo>
                  <a:lnTo>
                    <a:pt x="235033" y="491714"/>
                  </a:lnTo>
                  <a:lnTo>
                    <a:pt x="230812" y="491987"/>
                  </a:lnTo>
                  <a:lnTo>
                    <a:pt x="228476" y="491712"/>
                  </a:lnTo>
                  <a:lnTo>
                    <a:pt x="227251" y="492115"/>
                  </a:lnTo>
                  <a:lnTo>
                    <a:pt x="225975" y="493271"/>
                  </a:lnTo>
                  <a:lnTo>
                    <a:pt x="224211" y="494039"/>
                  </a:lnTo>
                  <a:lnTo>
                    <a:pt x="222893" y="494060"/>
                  </a:lnTo>
                  <a:lnTo>
                    <a:pt x="221688" y="494636"/>
                  </a:lnTo>
                  <a:lnTo>
                    <a:pt x="218419" y="496704"/>
                  </a:lnTo>
                  <a:lnTo>
                    <a:pt x="216888" y="495454"/>
                  </a:lnTo>
                  <a:lnTo>
                    <a:pt x="215571" y="493605"/>
                  </a:lnTo>
                  <a:lnTo>
                    <a:pt x="216007" y="492040"/>
                  </a:lnTo>
                  <a:lnTo>
                    <a:pt x="216556" y="490599"/>
                  </a:lnTo>
                  <a:lnTo>
                    <a:pt x="216515" y="489630"/>
                  </a:lnTo>
                  <a:lnTo>
                    <a:pt x="216048" y="488804"/>
                  </a:lnTo>
                  <a:lnTo>
                    <a:pt x="214014" y="487896"/>
                  </a:lnTo>
                  <a:lnTo>
                    <a:pt x="209689" y="486237"/>
                  </a:lnTo>
                  <a:lnTo>
                    <a:pt x="208458" y="486217"/>
                  </a:lnTo>
                  <a:lnTo>
                    <a:pt x="206594" y="486830"/>
                  </a:lnTo>
                  <a:lnTo>
                    <a:pt x="203217" y="488684"/>
                  </a:lnTo>
                  <a:lnTo>
                    <a:pt x="202025" y="488286"/>
                  </a:lnTo>
                  <a:lnTo>
                    <a:pt x="200920" y="486813"/>
                  </a:lnTo>
                  <a:lnTo>
                    <a:pt x="199728" y="484970"/>
                  </a:lnTo>
                  <a:lnTo>
                    <a:pt x="198115" y="484027"/>
                  </a:lnTo>
                  <a:lnTo>
                    <a:pt x="194644" y="484120"/>
                  </a:lnTo>
                  <a:lnTo>
                    <a:pt x="194314" y="484191"/>
                  </a:lnTo>
                  <a:lnTo>
                    <a:pt x="192638" y="485258"/>
                  </a:lnTo>
                  <a:lnTo>
                    <a:pt x="191930" y="485152"/>
                  </a:lnTo>
                  <a:lnTo>
                    <a:pt x="188916" y="482437"/>
                  </a:lnTo>
                  <a:lnTo>
                    <a:pt x="189477" y="480956"/>
                  </a:lnTo>
                  <a:lnTo>
                    <a:pt x="190112" y="478766"/>
                  </a:lnTo>
                  <a:lnTo>
                    <a:pt x="189883" y="477040"/>
                  </a:lnTo>
                  <a:lnTo>
                    <a:pt x="189386" y="474807"/>
                  </a:lnTo>
                  <a:lnTo>
                    <a:pt x="188095" y="470924"/>
                  </a:lnTo>
                  <a:lnTo>
                    <a:pt x="187924" y="469825"/>
                  </a:lnTo>
                  <a:lnTo>
                    <a:pt x="185810" y="468124"/>
                  </a:lnTo>
                  <a:lnTo>
                    <a:pt x="185458" y="466695"/>
                  </a:lnTo>
                  <a:lnTo>
                    <a:pt x="184348" y="464858"/>
                  </a:lnTo>
                  <a:lnTo>
                    <a:pt x="183258" y="463682"/>
                  </a:lnTo>
                  <a:lnTo>
                    <a:pt x="183025" y="461064"/>
                  </a:lnTo>
                  <a:lnTo>
                    <a:pt x="182297" y="460142"/>
                  </a:lnTo>
                  <a:lnTo>
                    <a:pt x="181356" y="459710"/>
                  </a:lnTo>
                  <a:lnTo>
                    <a:pt x="178030" y="460463"/>
                  </a:lnTo>
                  <a:lnTo>
                    <a:pt x="177672" y="460386"/>
                  </a:lnTo>
                  <a:lnTo>
                    <a:pt x="179257" y="456207"/>
                  </a:lnTo>
                  <a:lnTo>
                    <a:pt x="179395" y="453786"/>
                  </a:lnTo>
                  <a:lnTo>
                    <a:pt x="180399" y="451240"/>
                  </a:lnTo>
                  <a:lnTo>
                    <a:pt x="181543" y="450233"/>
                  </a:lnTo>
                  <a:lnTo>
                    <a:pt x="181891" y="449359"/>
                  </a:lnTo>
                  <a:lnTo>
                    <a:pt x="182068" y="447671"/>
                  </a:lnTo>
                  <a:lnTo>
                    <a:pt x="181854" y="446224"/>
                  </a:lnTo>
                  <a:lnTo>
                    <a:pt x="181153" y="445474"/>
                  </a:lnTo>
                  <a:lnTo>
                    <a:pt x="178408" y="443849"/>
                  </a:lnTo>
                  <a:lnTo>
                    <a:pt x="175443" y="441889"/>
                  </a:lnTo>
                  <a:lnTo>
                    <a:pt x="174834" y="439396"/>
                  </a:lnTo>
                  <a:lnTo>
                    <a:pt x="173918" y="438890"/>
                  </a:lnTo>
                  <a:lnTo>
                    <a:pt x="171314" y="438760"/>
                  </a:lnTo>
                  <a:lnTo>
                    <a:pt x="171366" y="438054"/>
                  </a:lnTo>
                  <a:lnTo>
                    <a:pt x="171753" y="436069"/>
                  </a:lnTo>
                  <a:lnTo>
                    <a:pt x="172377" y="434339"/>
                  </a:lnTo>
                  <a:lnTo>
                    <a:pt x="174411" y="432483"/>
                  </a:lnTo>
                  <a:lnTo>
                    <a:pt x="174914" y="431229"/>
                  </a:lnTo>
                  <a:lnTo>
                    <a:pt x="175519" y="430103"/>
                  </a:lnTo>
                  <a:lnTo>
                    <a:pt x="180179" y="428773"/>
                  </a:lnTo>
                  <a:lnTo>
                    <a:pt x="180712" y="428270"/>
                  </a:lnTo>
                  <a:lnTo>
                    <a:pt x="180747" y="427823"/>
                  </a:lnTo>
                  <a:lnTo>
                    <a:pt x="180530" y="427393"/>
                  </a:lnTo>
                  <a:lnTo>
                    <a:pt x="179496" y="426710"/>
                  </a:lnTo>
                  <a:lnTo>
                    <a:pt x="178423" y="425777"/>
                  </a:lnTo>
                  <a:lnTo>
                    <a:pt x="177775" y="423235"/>
                  </a:lnTo>
                  <a:lnTo>
                    <a:pt x="176160" y="419249"/>
                  </a:lnTo>
                  <a:lnTo>
                    <a:pt x="174642" y="416573"/>
                  </a:lnTo>
                  <a:lnTo>
                    <a:pt x="174318" y="415005"/>
                  </a:lnTo>
                  <a:lnTo>
                    <a:pt x="174711" y="413194"/>
                  </a:lnTo>
                  <a:lnTo>
                    <a:pt x="175253" y="411415"/>
                  </a:lnTo>
                  <a:lnTo>
                    <a:pt x="175281" y="409681"/>
                  </a:lnTo>
                  <a:lnTo>
                    <a:pt x="172975" y="400049"/>
                  </a:lnTo>
                  <a:lnTo>
                    <a:pt x="173132" y="398291"/>
                  </a:lnTo>
                  <a:lnTo>
                    <a:pt x="173802" y="396537"/>
                  </a:lnTo>
                  <a:lnTo>
                    <a:pt x="174877" y="395076"/>
                  </a:lnTo>
                  <a:lnTo>
                    <a:pt x="177281" y="393169"/>
                  </a:lnTo>
                  <a:lnTo>
                    <a:pt x="180284" y="389686"/>
                  </a:lnTo>
                  <a:lnTo>
                    <a:pt x="182316" y="385099"/>
                  </a:lnTo>
                  <a:lnTo>
                    <a:pt x="183381" y="382324"/>
                  </a:lnTo>
                  <a:lnTo>
                    <a:pt x="184277" y="381691"/>
                  </a:lnTo>
                  <a:lnTo>
                    <a:pt x="186007" y="381537"/>
                  </a:lnTo>
                  <a:lnTo>
                    <a:pt x="186663" y="380683"/>
                  </a:lnTo>
                  <a:lnTo>
                    <a:pt x="187000" y="380178"/>
                  </a:lnTo>
                  <a:lnTo>
                    <a:pt x="188482" y="379710"/>
                  </a:lnTo>
                  <a:lnTo>
                    <a:pt x="188985" y="379159"/>
                  </a:lnTo>
                  <a:lnTo>
                    <a:pt x="188585" y="378221"/>
                  </a:lnTo>
                  <a:lnTo>
                    <a:pt x="187099" y="376580"/>
                  </a:lnTo>
                  <a:lnTo>
                    <a:pt x="185920" y="375560"/>
                  </a:lnTo>
                  <a:lnTo>
                    <a:pt x="187058" y="373273"/>
                  </a:lnTo>
                  <a:lnTo>
                    <a:pt x="186668" y="370213"/>
                  </a:lnTo>
                  <a:lnTo>
                    <a:pt x="185953" y="367662"/>
                  </a:lnTo>
                  <a:lnTo>
                    <a:pt x="186927" y="365792"/>
                  </a:lnTo>
                  <a:lnTo>
                    <a:pt x="188544" y="365628"/>
                  </a:lnTo>
                  <a:lnTo>
                    <a:pt x="190343" y="367665"/>
                  </a:lnTo>
                  <a:lnTo>
                    <a:pt x="193042" y="368722"/>
                  </a:lnTo>
                  <a:lnTo>
                    <a:pt x="195014" y="367355"/>
                  </a:lnTo>
                  <a:lnTo>
                    <a:pt x="195681" y="364714"/>
                  </a:lnTo>
                  <a:lnTo>
                    <a:pt x="197102" y="363551"/>
                  </a:lnTo>
                  <a:lnTo>
                    <a:pt x="198998" y="364589"/>
                  </a:lnTo>
                  <a:lnTo>
                    <a:pt x="202176" y="364964"/>
                  </a:lnTo>
                  <a:lnTo>
                    <a:pt x="204813" y="364792"/>
                  </a:lnTo>
                  <a:lnTo>
                    <a:pt x="206590" y="364237"/>
                  </a:lnTo>
                  <a:lnTo>
                    <a:pt x="207348" y="363378"/>
                  </a:lnTo>
                  <a:lnTo>
                    <a:pt x="208052" y="361836"/>
                  </a:lnTo>
                  <a:lnTo>
                    <a:pt x="209505" y="359874"/>
                  </a:lnTo>
                  <a:lnTo>
                    <a:pt x="211013" y="358593"/>
                  </a:lnTo>
                  <a:lnTo>
                    <a:pt x="222565" y="360050"/>
                  </a:lnTo>
                  <a:lnTo>
                    <a:pt x="232578" y="362759"/>
                  </a:lnTo>
                  <a:lnTo>
                    <a:pt x="233336" y="361745"/>
                  </a:lnTo>
                  <a:lnTo>
                    <a:pt x="233686" y="360001"/>
                  </a:lnTo>
                  <a:lnTo>
                    <a:pt x="231194" y="358500"/>
                  </a:lnTo>
                  <a:lnTo>
                    <a:pt x="229354" y="357714"/>
                  </a:lnTo>
                  <a:lnTo>
                    <a:pt x="227044" y="354588"/>
                  </a:lnTo>
                  <a:lnTo>
                    <a:pt x="223703" y="352121"/>
                  </a:lnTo>
                  <a:lnTo>
                    <a:pt x="220346" y="351904"/>
                  </a:lnTo>
                  <a:lnTo>
                    <a:pt x="215947" y="352763"/>
                  </a:lnTo>
                  <a:lnTo>
                    <a:pt x="209285" y="352249"/>
                  </a:lnTo>
                  <a:lnTo>
                    <a:pt x="203614" y="347601"/>
                  </a:lnTo>
                  <a:lnTo>
                    <a:pt x="199866" y="346147"/>
                  </a:lnTo>
                  <a:lnTo>
                    <a:pt x="197193" y="342565"/>
                  </a:lnTo>
                  <a:lnTo>
                    <a:pt x="196514" y="340661"/>
                  </a:lnTo>
                  <a:lnTo>
                    <a:pt x="199408" y="342277"/>
                  </a:lnTo>
                  <a:lnTo>
                    <a:pt x="199803" y="340569"/>
                  </a:lnTo>
                  <a:lnTo>
                    <a:pt x="200030" y="338298"/>
                  </a:lnTo>
                  <a:lnTo>
                    <a:pt x="198421" y="336911"/>
                  </a:lnTo>
                  <a:lnTo>
                    <a:pt x="196983" y="336085"/>
                  </a:lnTo>
                  <a:lnTo>
                    <a:pt x="189609" y="339632"/>
                  </a:lnTo>
                  <a:lnTo>
                    <a:pt x="181170" y="340794"/>
                  </a:lnTo>
                  <a:lnTo>
                    <a:pt x="189004" y="333794"/>
                  </a:lnTo>
                  <a:lnTo>
                    <a:pt x="194653" y="328737"/>
                  </a:lnTo>
                  <a:lnTo>
                    <a:pt x="195707" y="327975"/>
                  </a:lnTo>
                  <a:lnTo>
                    <a:pt x="198207" y="326615"/>
                  </a:lnTo>
                  <a:lnTo>
                    <a:pt x="200302" y="325184"/>
                  </a:lnTo>
                  <a:lnTo>
                    <a:pt x="201986" y="323306"/>
                  </a:lnTo>
                  <a:lnTo>
                    <a:pt x="207601" y="319597"/>
                  </a:lnTo>
                  <a:lnTo>
                    <a:pt x="213321" y="315596"/>
                  </a:lnTo>
                  <a:lnTo>
                    <a:pt x="218644" y="310313"/>
                  </a:lnTo>
                  <a:lnTo>
                    <a:pt x="220568" y="308648"/>
                  </a:lnTo>
                  <a:lnTo>
                    <a:pt x="223017" y="306866"/>
                  </a:lnTo>
                  <a:lnTo>
                    <a:pt x="228391" y="301255"/>
                  </a:lnTo>
                  <a:lnTo>
                    <a:pt x="230089" y="299699"/>
                  </a:lnTo>
                  <a:lnTo>
                    <a:pt x="236645" y="292637"/>
                  </a:lnTo>
                  <a:lnTo>
                    <a:pt x="240475" y="289109"/>
                  </a:lnTo>
                  <a:lnTo>
                    <a:pt x="242376" y="287080"/>
                  </a:lnTo>
                  <a:lnTo>
                    <a:pt x="250560" y="280362"/>
                  </a:lnTo>
                  <a:lnTo>
                    <a:pt x="256109" y="274948"/>
                  </a:lnTo>
                  <a:lnTo>
                    <a:pt x="258297" y="271974"/>
                  </a:lnTo>
                  <a:lnTo>
                    <a:pt x="260436" y="267705"/>
                  </a:lnTo>
                  <a:lnTo>
                    <a:pt x="261650" y="264788"/>
                  </a:lnTo>
                  <a:lnTo>
                    <a:pt x="263788" y="261008"/>
                  </a:lnTo>
                  <a:lnTo>
                    <a:pt x="263844" y="259753"/>
                  </a:lnTo>
                  <a:lnTo>
                    <a:pt x="263242" y="258585"/>
                  </a:lnTo>
                  <a:lnTo>
                    <a:pt x="261644" y="256769"/>
                  </a:lnTo>
                  <a:lnTo>
                    <a:pt x="259426" y="254674"/>
                  </a:lnTo>
                  <a:lnTo>
                    <a:pt x="257452" y="252108"/>
                  </a:lnTo>
                  <a:lnTo>
                    <a:pt x="255980" y="249797"/>
                  </a:lnTo>
                  <a:lnTo>
                    <a:pt x="251423" y="246581"/>
                  </a:lnTo>
                  <a:lnTo>
                    <a:pt x="244358" y="242503"/>
                  </a:lnTo>
                  <a:lnTo>
                    <a:pt x="239123" y="239476"/>
                  </a:lnTo>
                  <a:lnTo>
                    <a:pt x="231093" y="232994"/>
                  </a:lnTo>
                  <a:lnTo>
                    <a:pt x="229681" y="231374"/>
                  </a:lnTo>
                  <a:lnTo>
                    <a:pt x="229959" y="230947"/>
                  </a:lnTo>
                  <a:lnTo>
                    <a:pt x="234518" y="228978"/>
                  </a:lnTo>
                  <a:lnTo>
                    <a:pt x="239052" y="223901"/>
                  </a:lnTo>
                  <a:lnTo>
                    <a:pt x="241011" y="221322"/>
                  </a:lnTo>
                  <a:lnTo>
                    <a:pt x="241501" y="219320"/>
                  </a:lnTo>
                  <a:lnTo>
                    <a:pt x="241542" y="217063"/>
                  </a:lnTo>
                  <a:lnTo>
                    <a:pt x="241229" y="214979"/>
                  </a:lnTo>
                  <a:lnTo>
                    <a:pt x="240657" y="213685"/>
                  </a:lnTo>
                  <a:lnTo>
                    <a:pt x="238506" y="212058"/>
                  </a:lnTo>
                  <a:lnTo>
                    <a:pt x="232259" y="209088"/>
                  </a:lnTo>
                  <a:lnTo>
                    <a:pt x="230794" y="206343"/>
                  </a:lnTo>
                  <a:lnTo>
                    <a:pt x="229572" y="203463"/>
                  </a:lnTo>
                  <a:lnTo>
                    <a:pt x="229549" y="202272"/>
                  </a:lnTo>
                  <a:lnTo>
                    <a:pt x="232524" y="199172"/>
                  </a:lnTo>
                  <a:lnTo>
                    <a:pt x="232658" y="197621"/>
                  </a:lnTo>
                  <a:lnTo>
                    <a:pt x="232306" y="196031"/>
                  </a:lnTo>
                  <a:lnTo>
                    <a:pt x="231479" y="194870"/>
                  </a:lnTo>
                  <a:lnTo>
                    <a:pt x="225075" y="193466"/>
                  </a:lnTo>
                  <a:lnTo>
                    <a:pt x="223271" y="191982"/>
                  </a:lnTo>
                  <a:lnTo>
                    <a:pt x="221853" y="189616"/>
                  </a:lnTo>
                  <a:lnTo>
                    <a:pt x="221116" y="187583"/>
                  </a:lnTo>
                  <a:lnTo>
                    <a:pt x="221043" y="186379"/>
                  </a:lnTo>
                  <a:lnTo>
                    <a:pt x="221520" y="185030"/>
                  </a:lnTo>
                  <a:lnTo>
                    <a:pt x="223677" y="183562"/>
                  </a:lnTo>
                  <a:lnTo>
                    <a:pt x="225685" y="182570"/>
                  </a:lnTo>
                  <a:lnTo>
                    <a:pt x="226042" y="181232"/>
                  </a:lnTo>
                  <a:lnTo>
                    <a:pt x="226025" y="179783"/>
                  </a:lnTo>
                  <a:lnTo>
                    <a:pt x="225679" y="179082"/>
                  </a:lnTo>
                  <a:lnTo>
                    <a:pt x="221680" y="178392"/>
                  </a:lnTo>
                  <a:lnTo>
                    <a:pt x="221298" y="178000"/>
                  </a:lnTo>
                  <a:lnTo>
                    <a:pt x="221200" y="177498"/>
                  </a:lnTo>
                  <a:lnTo>
                    <a:pt x="221404" y="176897"/>
                  </a:lnTo>
                  <a:lnTo>
                    <a:pt x="223563" y="174310"/>
                  </a:lnTo>
                  <a:lnTo>
                    <a:pt x="223854" y="169373"/>
                  </a:lnTo>
                  <a:lnTo>
                    <a:pt x="225876" y="165917"/>
                  </a:lnTo>
                  <a:lnTo>
                    <a:pt x="223587" y="163891"/>
                  </a:lnTo>
                  <a:lnTo>
                    <a:pt x="223764" y="163534"/>
                  </a:lnTo>
                  <a:lnTo>
                    <a:pt x="227273" y="162472"/>
                  </a:lnTo>
                  <a:lnTo>
                    <a:pt x="230510" y="162214"/>
                  </a:lnTo>
                  <a:lnTo>
                    <a:pt x="231976" y="161815"/>
                  </a:lnTo>
                  <a:lnTo>
                    <a:pt x="232140" y="160193"/>
                  </a:lnTo>
                  <a:lnTo>
                    <a:pt x="231803" y="157999"/>
                  </a:lnTo>
                  <a:lnTo>
                    <a:pt x="228467" y="149368"/>
                  </a:lnTo>
                  <a:lnTo>
                    <a:pt x="227733" y="146874"/>
                  </a:lnTo>
                  <a:lnTo>
                    <a:pt x="225523" y="143721"/>
                  </a:lnTo>
                  <a:lnTo>
                    <a:pt x="223693" y="141599"/>
                  </a:lnTo>
                  <a:lnTo>
                    <a:pt x="222591" y="140083"/>
                  </a:lnTo>
                  <a:lnTo>
                    <a:pt x="220818" y="137113"/>
                  </a:lnTo>
                  <a:lnTo>
                    <a:pt x="219792" y="134061"/>
                  </a:lnTo>
                  <a:lnTo>
                    <a:pt x="218024" y="130648"/>
                  </a:lnTo>
                  <a:lnTo>
                    <a:pt x="215964" y="127511"/>
                  </a:lnTo>
                  <a:lnTo>
                    <a:pt x="214241" y="124605"/>
                  </a:lnTo>
                  <a:lnTo>
                    <a:pt x="209814" y="118903"/>
                  </a:lnTo>
                  <a:lnTo>
                    <a:pt x="209220" y="117322"/>
                  </a:lnTo>
                  <a:lnTo>
                    <a:pt x="209283" y="115891"/>
                  </a:lnTo>
                  <a:lnTo>
                    <a:pt x="209680" y="114375"/>
                  </a:lnTo>
                  <a:lnTo>
                    <a:pt x="213137" y="109690"/>
                  </a:lnTo>
                  <a:lnTo>
                    <a:pt x="216329" y="105773"/>
                  </a:lnTo>
                  <a:lnTo>
                    <a:pt x="220410" y="101168"/>
                  </a:lnTo>
                  <a:lnTo>
                    <a:pt x="224353" y="97338"/>
                  </a:lnTo>
                  <a:lnTo>
                    <a:pt x="228568" y="92786"/>
                  </a:lnTo>
                  <a:lnTo>
                    <a:pt x="229605" y="88232"/>
                  </a:lnTo>
                  <a:lnTo>
                    <a:pt x="229409" y="87465"/>
                  </a:lnTo>
                  <a:lnTo>
                    <a:pt x="225923" y="84993"/>
                  </a:lnTo>
                  <a:lnTo>
                    <a:pt x="219348" y="78363"/>
                  </a:lnTo>
                  <a:lnTo>
                    <a:pt x="215359" y="73320"/>
                  </a:lnTo>
                  <a:lnTo>
                    <a:pt x="209149" y="71185"/>
                  </a:lnTo>
                  <a:lnTo>
                    <a:pt x="200794" y="68448"/>
                  </a:lnTo>
                  <a:lnTo>
                    <a:pt x="198030" y="62279"/>
                  </a:lnTo>
                  <a:lnTo>
                    <a:pt x="196052" y="57031"/>
                  </a:lnTo>
                  <a:lnTo>
                    <a:pt x="196242" y="55141"/>
                  </a:lnTo>
                  <a:lnTo>
                    <a:pt x="202273" y="46145"/>
                  </a:lnTo>
                  <a:lnTo>
                    <a:pt x="202839" y="44510"/>
                  </a:lnTo>
                  <a:lnTo>
                    <a:pt x="202733" y="43497"/>
                  </a:lnTo>
                  <a:lnTo>
                    <a:pt x="202114" y="42863"/>
                  </a:lnTo>
                  <a:lnTo>
                    <a:pt x="201254" y="42513"/>
                  </a:lnTo>
                  <a:lnTo>
                    <a:pt x="195672" y="42252"/>
                  </a:lnTo>
                  <a:lnTo>
                    <a:pt x="194800" y="41019"/>
                  </a:lnTo>
                  <a:lnTo>
                    <a:pt x="198160" y="40088"/>
                  </a:lnTo>
                  <a:lnTo>
                    <a:pt x="200950" y="38818"/>
                  </a:lnTo>
                  <a:lnTo>
                    <a:pt x="205521" y="36935"/>
                  </a:lnTo>
                  <a:lnTo>
                    <a:pt x="207001" y="36458"/>
                  </a:lnTo>
                  <a:lnTo>
                    <a:pt x="210378" y="35373"/>
                  </a:lnTo>
                  <a:lnTo>
                    <a:pt x="211535" y="34536"/>
                  </a:lnTo>
                  <a:lnTo>
                    <a:pt x="212399" y="33547"/>
                  </a:lnTo>
                  <a:lnTo>
                    <a:pt x="215562" y="26796"/>
                  </a:lnTo>
                  <a:lnTo>
                    <a:pt x="216342" y="25723"/>
                  </a:lnTo>
                  <a:lnTo>
                    <a:pt x="226169" y="23293"/>
                  </a:lnTo>
                  <a:lnTo>
                    <a:pt x="229737" y="22043"/>
                  </a:lnTo>
                  <a:lnTo>
                    <a:pt x="231799" y="20465"/>
                  </a:lnTo>
                  <a:lnTo>
                    <a:pt x="232784" y="19237"/>
                  </a:lnTo>
                  <a:lnTo>
                    <a:pt x="233490" y="17776"/>
                  </a:lnTo>
                  <a:lnTo>
                    <a:pt x="233997" y="16164"/>
                  </a:lnTo>
                  <a:lnTo>
                    <a:pt x="234213" y="14683"/>
                  </a:lnTo>
                  <a:lnTo>
                    <a:pt x="233401" y="12749"/>
                  </a:lnTo>
                  <a:lnTo>
                    <a:pt x="233852" y="12515"/>
                  </a:lnTo>
                  <a:lnTo>
                    <a:pt x="234900" y="12596"/>
                  </a:lnTo>
                  <a:lnTo>
                    <a:pt x="238264" y="14521"/>
                  </a:lnTo>
                  <a:lnTo>
                    <a:pt x="243477" y="16564"/>
                  </a:lnTo>
                  <a:lnTo>
                    <a:pt x="247312" y="16723"/>
                  </a:lnTo>
                  <a:lnTo>
                    <a:pt x="248901" y="16334"/>
                  </a:lnTo>
                  <a:lnTo>
                    <a:pt x="249696" y="15441"/>
                  </a:lnTo>
                  <a:lnTo>
                    <a:pt x="250266" y="13693"/>
                  </a:lnTo>
                  <a:lnTo>
                    <a:pt x="250303" y="11890"/>
                  </a:lnTo>
                  <a:lnTo>
                    <a:pt x="249100" y="6713"/>
                  </a:lnTo>
                  <a:lnTo>
                    <a:pt x="253075" y="7272"/>
                  </a:lnTo>
                  <a:lnTo>
                    <a:pt x="261991" y="10404"/>
                  </a:lnTo>
                  <a:lnTo>
                    <a:pt x="264075" y="10116"/>
                  </a:lnTo>
                  <a:lnTo>
                    <a:pt x="266712" y="9170"/>
                  </a:lnTo>
                  <a:lnTo>
                    <a:pt x="269417" y="5440"/>
                  </a:lnTo>
                  <a:lnTo>
                    <a:pt x="271426" y="4801"/>
                  </a:lnTo>
                  <a:lnTo>
                    <a:pt x="274047" y="5671"/>
                  </a:lnTo>
                  <a:lnTo>
                    <a:pt x="274769" y="4670"/>
                  </a:lnTo>
                  <a:lnTo>
                    <a:pt x="273414" y="15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2" name="ee4p_AL_1_15912">
              <a:extLst>
                <a:ext uri="{FF2B5EF4-FFF2-40B4-BE49-F238E27FC236}">
                  <a16:creationId xmlns:a16="http://schemas.microsoft.com/office/drawing/2014/main" id="{E4A7B02F-121E-D048-6998-ECEB364F7949}"/>
                </a:ext>
              </a:extLst>
            </p:cNvPr>
            <p:cNvSpPr>
              <a:spLocks noChangeAspect="1"/>
            </p:cNvSpPr>
            <p:nvPr>
              <p:custDataLst>
                <p:tags r:id="rId12"/>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3" name="ee4p_AD_1_15912">
              <a:extLst>
                <a:ext uri="{FF2B5EF4-FFF2-40B4-BE49-F238E27FC236}">
                  <a16:creationId xmlns:a16="http://schemas.microsoft.com/office/drawing/2014/main" id="{E19686EE-CE71-0E84-F7EA-04923402C60C}"/>
                </a:ext>
              </a:extLst>
            </p:cNvPr>
            <p:cNvSpPr>
              <a:spLocks noChangeAspect="1"/>
            </p:cNvSpPr>
            <p:nvPr>
              <p:custDataLst>
                <p:tags r:id="rId13"/>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4" name="ee4p_AT_1_15912">
              <a:extLst>
                <a:ext uri="{FF2B5EF4-FFF2-40B4-BE49-F238E27FC236}">
                  <a16:creationId xmlns:a16="http://schemas.microsoft.com/office/drawing/2014/main" id="{423E4FE8-87B0-264E-4559-EB9DF332552C}"/>
                </a:ext>
              </a:extLst>
            </p:cNvPr>
            <p:cNvSpPr>
              <a:spLocks noChangeAspect="1"/>
            </p:cNvSpPr>
            <p:nvPr>
              <p:custDataLst>
                <p:tags r:id="rId14"/>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5" name="ee4p_BE_1_15912">
              <a:extLst>
                <a:ext uri="{FF2B5EF4-FFF2-40B4-BE49-F238E27FC236}">
                  <a16:creationId xmlns:a16="http://schemas.microsoft.com/office/drawing/2014/main" id="{E35F5E2C-BE57-51C9-BFE3-9E5F26EFD209}"/>
                </a:ext>
              </a:extLst>
            </p:cNvPr>
            <p:cNvSpPr>
              <a:spLocks noChangeAspect="1"/>
            </p:cNvSpPr>
            <p:nvPr>
              <p:custDataLst>
                <p:tags r:id="rId15"/>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6" name="ee4p_BG_1_15912">
              <a:extLst>
                <a:ext uri="{FF2B5EF4-FFF2-40B4-BE49-F238E27FC236}">
                  <a16:creationId xmlns:a16="http://schemas.microsoft.com/office/drawing/2014/main" id="{F9B0DB5A-40BD-728A-3358-BBD3A34A2B97}"/>
                </a:ext>
              </a:extLst>
            </p:cNvPr>
            <p:cNvSpPr>
              <a:spLocks noChangeAspect="1"/>
            </p:cNvSpPr>
            <p:nvPr>
              <p:custDataLst>
                <p:tags r:id="rId16"/>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7" name="ee4p_BA_1_15912">
              <a:extLst>
                <a:ext uri="{FF2B5EF4-FFF2-40B4-BE49-F238E27FC236}">
                  <a16:creationId xmlns:a16="http://schemas.microsoft.com/office/drawing/2014/main" id="{E34AE037-6809-009A-424F-6E236A223263}"/>
                </a:ext>
              </a:extLst>
            </p:cNvPr>
            <p:cNvSpPr>
              <a:spLocks noChangeAspect="1"/>
            </p:cNvSpPr>
            <p:nvPr>
              <p:custDataLst>
                <p:tags r:id="rId17"/>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8" name="ee4p_BY_1_15912">
              <a:extLst>
                <a:ext uri="{FF2B5EF4-FFF2-40B4-BE49-F238E27FC236}">
                  <a16:creationId xmlns:a16="http://schemas.microsoft.com/office/drawing/2014/main" id="{5E509E3A-C312-9894-750B-00C7370F1151}"/>
                </a:ext>
              </a:extLst>
            </p:cNvPr>
            <p:cNvSpPr>
              <a:spLocks noChangeAspect="1"/>
            </p:cNvSpPr>
            <p:nvPr>
              <p:custDataLst>
                <p:tags r:id="rId18"/>
              </p:custDataLst>
            </p:nvPr>
          </p:nvSpPr>
          <p:spPr>
            <a:xfrm>
              <a:off x="5803181" y="3800795"/>
              <a:ext cx="835834" cy="584966"/>
            </a:xfrm>
            <a:custGeom>
              <a:avLst/>
              <a:gdLst/>
              <a:ahLst/>
              <a:cxnLst/>
              <a:rect l="0" t="0" r="0" b="0"/>
              <a:pathLst>
                <a:path w="210844" h="147561">
                  <a:moveTo>
                    <a:pt x="109961" y="90"/>
                  </a:moveTo>
                  <a:lnTo>
                    <a:pt x="112975" y="2805"/>
                  </a:lnTo>
                  <a:lnTo>
                    <a:pt x="113683" y="2911"/>
                  </a:lnTo>
                  <a:lnTo>
                    <a:pt x="115359" y="1844"/>
                  </a:lnTo>
                  <a:lnTo>
                    <a:pt x="115689" y="1773"/>
                  </a:lnTo>
                  <a:lnTo>
                    <a:pt x="119160" y="1680"/>
                  </a:lnTo>
                  <a:lnTo>
                    <a:pt x="120773" y="2623"/>
                  </a:lnTo>
                  <a:lnTo>
                    <a:pt x="121965" y="4466"/>
                  </a:lnTo>
                  <a:lnTo>
                    <a:pt x="123070" y="5939"/>
                  </a:lnTo>
                  <a:lnTo>
                    <a:pt x="124262" y="6337"/>
                  </a:lnTo>
                  <a:lnTo>
                    <a:pt x="127639" y="4483"/>
                  </a:lnTo>
                  <a:lnTo>
                    <a:pt x="129503" y="3870"/>
                  </a:lnTo>
                  <a:lnTo>
                    <a:pt x="130734" y="3890"/>
                  </a:lnTo>
                  <a:lnTo>
                    <a:pt x="135059" y="5549"/>
                  </a:lnTo>
                  <a:lnTo>
                    <a:pt x="137093" y="6457"/>
                  </a:lnTo>
                  <a:lnTo>
                    <a:pt x="137560" y="7283"/>
                  </a:lnTo>
                  <a:lnTo>
                    <a:pt x="137601" y="8252"/>
                  </a:lnTo>
                  <a:lnTo>
                    <a:pt x="137052" y="9693"/>
                  </a:lnTo>
                  <a:lnTo>
                    <a:pt x="136616" y="11258"/>
                  </a:lnTo>
                  <a:lnTo>
                    <a:pt x="137933" y="13107"/>
                  </a:lnTo>
                  <a:lnTo>
                    <a:pt x="139464" y="14357"/>
                  </a:lnTo>
                  <a:lnTo>
                    <a:pt x="142733" y="12289"/>
                  </a:lnTo>
                  <a:lnTo>
                    <a:pt x="143938" y="11713"/>
                  </a:lnTo>
                  <a:lnTo>
                    <a:pt x="145256" y="11692"/>
                  </a:lnTo>
                  <a:lnTo>
                    <a:pt x="147020" y="10924"/>
                  </a:lnTo>
                  <a:lnTo>
                    <a:pt x="148296" y="9768"/>
                  </a:lnTo>
                  <a:lnTo>
                    <a:pt x="149521" y="9365"/>
                  </a:lnTo>
                  <a:lnTo>
                    <a:pt x="151857" y="9640"/>
                  </a:lnTo>
                  <a:lnTo>
                    <a:pt x="156078" y="9367"/>
                  </a:lnTo>
                  <a:lnTo>
                    <a:pt x="161002" y="11182"/>
                  </a:lnTo>
                  <a:lnTo>
                    <a:pt x="161425" y="11742"/>
                  </a:lnTo>
                  <a:lnTo>
                    <a:pt x="163887" y="13869"/>
                  </a:lnTo>
                  <a:lnTo>
                    <a:pt x="164746" y="14925"/>
                  </a:lnTo>
                  <a:lnTo>
                    <a:pt x="165558" y="15260"/>
                  </a:lnTo>
                  <a:lnTo>
                    <a:pt x="166871" y="16294"/>
                  </a:lnTo>
                  <a:lnTo>
                    <a:pt x="168620" y="16944"/>
                  </a:lnTo>
                  <a:lnTo>
                    <a:pt x="169840" y="16746"/>
                  </a:lnTo>
                  <a:lnTo>
                    <a:pt x="170421" y="17091"/>
                  </a:lnTo>
                  <a:lnTo>
                    <a:pt x="170965" y="17908"/>
                  </a:lnTo>
                  <a:lnTo>
                    <a:pt x="171008" y="19292"/>
                  </a:lnTo>
                  <a:lnTo>
                    <a:pt x="170827" y="23249"/>
                  </a:lnTo>
                  <a:lnTo>
                    <a:pt x="169970" y="24393"/>
                  </a:lnTo>
                  <a:lnTo>
                    <a:pt x="169067" y="25323"/>
                  </a:lnTo>
                  <a:lnTo>
                    <a:pt x="168836" y="26042"/>
                  </a:lnTo>
                  <a:lnTo>
                    <a:pt x="168923" y="26915"/>
                  </a:lnTo>
                  <a:lnTo>
                    <a:pt x="170315" y="28619"/>
                  </a:lnTo>
                  <a:lnTo>
                    <a:pt x="172116" y="31265"/>
                  </a:lnTo>
                  <a:lnTo>
                    <a:pt x="172533" y="32798"/>
                  </a:lnTo>
                  <a:lnTo>
                    <a:pt x="172533" y="33946"/>
                  </a:lnTo>
                  <a:lnTo>
                    <a:pt x="170080" y="37319"/>
                  </a:lnTo>
                  <a:lnTo>
                    <a:pt x="169264" y="38110"/>
                  </a:lnTo>
                  <a:lnTo>
                    <a:pt x="168702" y="39769"/>
                  </a:lnTo>
                  <a:lnTo>
                    <a:pt x="168404" y="41453"/>
                  </a:lnTo>
                  <a:lnTo>
                    <a:pt x="168577" y="42151"/>
                  </a:lnTo>
                  <a:lnTo>
                    <a:pt x="172675" y="44827"/>
                  </a:lnTo>
                  <a:lnTo>
                    <a:pt x="175707" y="46278"/>
                  </a:lnTo>
                  <a:lnTo>
                    <a:pt x="176390" y="46986"/>
                  </a:lnTo>
                  <a:lnTo>
                    <a:pt x="176450" y="47426"/>
                  </a:lnTo>
                  <a:lnTo>
                    <a:pt x="174837" y="50294"/>
                  </a:lnTo>
                  <a:lnTo>
                    <a:pt x="174680" y="51067"/>
                  </a:lnTo>
                  <a:lnTo>
                    <a:pt x="177111" y="52252"/>
                  </a:lnTo>
                  <a:lnTo>
                    <a:pt x="178454" y="54122"/>
                  </a:lnTo>
                  <a:lnTo>
                    <a:pt x="179640" y="57168"/>
                  </a:lnTo>
                  <a:lnTo>
                    <a:pt x="181950" y="60082"/>
                  </a:lnTo>
                  <a:lnTo>
                    <a:pt x="186921" y="62658"/>
                  </a:lnTo>
                  <a:lnTo>
                    <a:pt x="190538" y="64337"/>
                  </a:lnTo>
                  <a:lnTo>
                    <a:pt x="191289" y="65101"/>
                  </a:lnTo>
                  <a:lnTo>
                    <a:pt x="191551" y="66009"/>
                  </a:lnTo>
                  <a:lnTo>
                    <a:pt x="191274" y="68004"/>
                  </a:lnTo>
                  <a:lnTo>
                    <a:pt x="190339" y="70428"/>
                  </a:lnTo>
                  <a:lnTo>
                    <a:pt x="189702" y="71776"/>
                  </a:lnTo>
                  <a:lnTo>
                    <a:pt x="191175" y="72336"/>
                  </a:lnTo>
                  <a:lnTo>
                    <a:pt x="194965" y="72186"/>
                  </a:lnTo>
                  <a:lnTo>
                    <a:pt x="199569" y="72659"/>
                  </a:lnTo>
                  <a:lnTo>
                    <a:pt x="205092" y="75329"/>
                  </a:lnTo>
                  <a:lnTo>
                    <a:pt x="205109" y="76525"/>
                  </a:lnTo>
                  <a:lnTo>
                    <a:pt x="204539" y="77613"/>
                  </a:lnTo>
                  <a:lnTo>
                    <a:pt x="204920" y="78761"/>
                  </a:lnTo>
                  <a:lnTo>
                    <a:pt x="205522" y="79734"/>
                  </a:lnTo>
                  <a:lnTo>
                    <a:pt x="210301" y="82713"/>
                  </a:lnTo>
                  <a:lnTo>
                    <a:pt x="210758" y="83577"/>
                  </a:lnTo>
                  <a:lnTo>
                    <a:pt x="210843" y="85022"/>
                  </a:lnTo>
                  <a:lnTo>
                    <a:pt x="210711" y="86078"/>
                  </a:lnTo>
                  <a:lnTo>
                    <a:pt x="209387" y="86301"/>
                  </a:lnTo>
                  <a:lnTo>
                    <a:pt x="207919" y="86797"/>
                  </a:lnTo>
                  <a:lnTo>
                    <a:pt x="205516" y="88062"/>
                  </a:lnTo>
                  <a:lnTo>
                    <a:pt x="204563" y="89856"/>
                  </a:lnTo>
                  <a:lnTo>
                    <a:pt x="200681" y="92323"/>
                  </a:lnTo>
                  <a:lnTo>
                    <a:pt x="198277" y="93439"/>
                  </a:lnTo>
                  <a:lnTo>
                    <a:pt x="196364" y="93490"/>
                  </a:lnTo>
                  <a:lnTo>
                    <a:pt x="191814" y="92988"/>
                  </a:lnTo>
                  <a:lnTo>
                    <a:pt x="190216" y="91768"/>
                  </a:lnTo>
                  <a:lnTo>
                    <a:pt x="189553" y="90649"/>
                  </a:lnTo>
                  <a:lnTo>
                    <a:pt x="187802" y="90146"/>
                  </a:lnTo>
                  <a:lnTo>
                    <a:pt x="185474" y="90099"/>
                  </a:lnTo>
                  <a:lnTo>
                    <a:pt x="182266" y="90293"/>
                  </a:lnTo>
                  <a:lnTo>
                    <a:pt x="181613" y="90630"/>
                  </a:lnTo>
                  <a:lnTo>
                    <a:pt x="181087" y="92005"/>
                  </a:lnTo>
                  <a:lnTo>
                    <a:pt x="179724" y="94346"/>
                  </a:lnTo>
                  <a:lnTo>
                    <a:pt x="178748" y="95670"/>
                  </a:lnTo>
                  <a:lnTo>
                    <a:pt x="179551" y="96476"/>
                  </a:lnTo>
                  <a:lnTo>
                    <a:pt x="180832" y="98162"/>
                  </a:lnTo>
                  <a:lnTo>
                    <a:pt x="182816" y="100304"/>
                  </a:lnTo>
                  <a:lnTo>
                    <a:pt x="184859" y="102204"/>
                  </a:lnTo>
                  <a:lnTo>
                    <a:pt x="185515" y="103369"/>
                  </a:lnTo>
                  <a:lnTo>
                    <a:pt x="185485" y="104198"/>
                  </a:lnTo>
                  <a:lnTo>
                    <a:pt x="184511" y="105174"/>
                  </a:lnTo>
                  <a:lnTo>
                    <a:pt x="184660" y="107134"/>
                  </a:lnTo>
                  <a:lnTo>
                    <a:pt x="186645" y="109720"/>
                  </a:lnTo>
                  <a:lnTo>
                    <a:pt x="185973" y="110128"/>
                  </a:lnTo>
                  <a:lnTo>
                    <a:pt x="185775" y="113295"/>
                  </a:lnTo>
                  <a:lnTo>
                    <a:pt x="185792" y="116673"/>
                  </a:lnTo>
                  <a:lnTo>
                    <a:pt x="186327" y="117489"/>
                  </a:lnTo>
                  <a:lnTo>
                    <a:pt x="187396" y="118160"/>
                  </a:lnTo>
                  <a:lnTo>
                    <a:pt x="188297" y="119392"/>
                  </a:lnTo>
                  <a:lnTo>
                    <a:pt x="189800" y="122202"/>
                  </a:lnTo>
                  <a:lnTo>
                    <a:pt x="189905" y="122935"/>
                  </a:lnTo>
                  <a:lnTo>
                    <a:pt x="185712" y="122727"/>
                  </a:lnTo>
                  <a:lnTo>
                    <a:pt x="180676" y="122808"/>
                  </a:lnTo>
                  <a:lnTo>
                    <a:pt x="177845" y="124440"/>
                  </a:lnTo>
                  <a:lnTo>
                    <a:pt x="176750" y="124064"/>
                  </a:lnTo>
                  <a:lnTo>
                    <a:pt x="174779" y="123649"/>
                  </a:lnTo>
                  <a:lnTo>
                    <a:pt x="172598" y="124559"/>
                  </a:lnTo>
                  <a:lnTo>
                    <a:pt x="169614" y="127313"/>
                  </a:lnTo>
                  <a:lnTo>
                    <a:pt x="167614" y="129024"/>
                  </a:lnTo>
                  <a:lnTo>
                    <a:pt x="165668" y="131416"/>
                  </a:lnTo>
                  <a:lnTo>
                    <a:pt x="165053" y="132715"/>
                  </a:lnTo>
                  <a:lnTo>
                    <a:pt x="163824" y="135105"/>
                  </a:lnTo>
                  <a:lnTo>
                    <a:pt x="162699" y="137832"/>
                  </a:lnTo>
                  <a:lnTo>
                    <a:pt x="163312" y="139739"/>
                  </a:lnTo>
                  <a:lnTo>
                    <a:pt x="164233" y="141510"/>
                  </a:lnTo>
                  <a:lnTo>
                    <a:pt x="164440" y="143416"/>
                  </a:lnTo>
                  <a:lnTo>
                    <a:pt x="164900" y="144910"/>
                  </a:lnTo>
                  <a:lnTo>
                    <a:pt x="163671" y="145997"/>
                  </a:lnTo>
                  <a:lnTo>
                    <a:pt x="162954" y="147560"/>
                  </a:lnTo>
                  <a:lnTo>
                    <a:pt x="160853" y="147289"/>
                  </a:lnTo>
                  <a:lnTo>
                    <a:pt x="158286" y="145787"/>
                  </a:lnTo>
                  <a:lnTo>
                    <a:pt x="157746" y="143614"/>
                  </a:lnTo>
                  <a:lnTo>
                    <a:pt x="155768" y="142098"/>
                  </a:lnTo>
                  <a:lnTo>
                    <a:pt x="154468" y="141315"/>
                  </a:lnTo>
                  <a:lnTo>
                    <a:pt x="152324" y="141193"/>
                  </a:lnTo>
                  <a:lnTo>
                    <a:pt x="148896" y="141899"/>
                  </a:lnTo>
                  <a:lnTo>
                    <a:pt x="144414" y="142441"/>
                  </a:lnTo>
                  <a:lnTo>
                    <a:pt x="141032" y="142587"/>
                  </a:lnTo>
                  <a:lnTo>
                    <a:pt x="139186" y="143357"/>
                  </a:lnTo>
                  <a:lnTo>
                    <a:pt x="136463" y="144114"/>
                  </a:lnTo>
                  <a:lnTo>
                    <a:pt x="135409" y="143219"/>
                  </a:lnTo>
                  <a:lnTo>
                    <a:pt x="133897" y="140753"/>
                  </a:lnTo>
                  <a:lnTo>
                    <a:pt x="132653" y="138295"/>
                  </a:lnTo>
                  <a:lnTo>
                    <a:pt x="131800" y="137216"/>
                  </a:lnTo>
                  <a:lnTo>
                    <a:pt x="131058" y="136914"/>
                  </a:lnTo>
                  <a:lnTo>
                    <a:pt x="130144" y="136976"/>
                  </a:lnTo>
                  <a:lnTo>
                    <a:pt x="129090" y="137756"/>
                  </a:lnTo>
                  <a:lnTo>
                    <a:pt x="128309" y="138555"/>
                  </a:lnTo>
                  <a:lnTo>
                    <a:pt x="127199" y="138838"/>
                  </a:lnTo>
                  <a:lnTo>
                    <a:pt x="125474" y="139484"/>
                  </a:lnTo>
                  <a:lnTo>
                    <a:pt x="124230" y="140361"/>
                  </a:lnTo>
                  <a:lnTo>
                    <a:pt x="122859" y="142622"/>
                  </a:lnTo>
                  <a:lnTo>
                    <a:pt x="121952" y="142461"/>
                  </a:lnTo>
                  <a:lnTo>
                    <a:pt x="121012" y="141942"/>
                  </a:lnTo>
                  <a:lnTo>
                    <a:pt x="119935" y="139412"/>
                  </a:lnTo>
                  <a:lnTo>
                    <a:pt x="118454" y="138829"/>
                  </a:lnTo>
                  <a:lnTo>
                    <a:pt x="116078" y="138795"/>
                  </a:lnTo>
                  <a:lnTo>
                    <a:pt x="113137" y="138259"/>
                  </a:lnTo>
                  <a:lnTo>
                    <a:pt x="110753" y="137493"/>
                  </a:lnTo>
                  <a:lnTo>
                    <a:pt x="109883" y="137676"/>
                  </a:lnTo>
                  <a:lnTo>
                    <a:pt x="108464" y="138753"/>
                  </a:lnTo>
                  <a:lnTo>
                    <a:pt x="106927" y="138908"/>
                  </a:lnTo>
                  <a:lnTo>
                    <a:pt x="103562" y="137949"/>
                  </a:lnTo>
                  <a:lnTo>
                    <a:pt x="102904" y="138388"/>
                  </a:lnTo>
                  <a:lnTo>
                    <a:pt x="102020" y="139808"/>
                  </a:lnTo>
                  <a:lnTo>
                    <a:pt x="100969" y="141177"/>
                  </a:lnTo>
                  <a:lnTo>
                    <a:pt x="100055" y="141312"/>
                  </a:lnTo>
                  <a:lnTo>
                    <a:pt x="99542" y="140961"/>
                  </a:lnTo>
                  <a:lnTo>
                    <a:pt x="99829" y="138536"/>
                  </a:lnTo>
                  <a:lnTo>
                    <a:pt x="97875" y="137677"/>
                  </a:lnTo>
                  <a:lnTo>
                    <a:pt x="94579" y="137545"/>
                  </a:lnTo>
                  <a:lnTo>
                    <a:pt x="92264" y="137897"/>
                  </a:lnTo>
                  <a:lnTo>
                    <a:pt x="91128" y="137801"/>
                  </a:lnTo>
                  <a:lnTo>
                    <a:pt x="90550" y="137325"/>
                  </a:lnTo>
                  <a:lnTo>
                    <a:pt x="87717" y="133246"/>
                  </a:lnTo>
                  <a:lnTo>
                    <a:pt x="86216" y="132987"/>
                  </a:lnTo>
                  <a:lnTo>
                    <a:pt x="83534" y="133189"/>
                  </a:lnTo>
                  <a:lnTo>
                    <a:pt x="79567" y="132696"/>
                  </a:lnTo>
                  <a:lnTo>
                    <a:pt x="75000" y="131776"/>
                  </a:lnTo>
                  <a:lnTo>
                    <a:pt x="72491" y="131436"/>
                  </a:lnTo>
                  <a:lnTo>
                    <a:pt x="71184" y="130522"/>
                  </a:lnTo>
                  <a:lnTo>
                    <a:pt x="68371" y="130209"/>
                  </a:lnTo>
                  <a:lnTo>
                    <a:pt x="60813" y="128482"/>
                  </a:lnTo>
                  <a:lnTo>
                    <a:pt x="57727" y="128177"/>
                  </a:lnTo>
                  <a:lnTo>
                    <a:pt x="53184" y="128150"/>
                  </a:lnTo>
                  <a:lnTo>
                    <a:pt x="46261" y="127766"/>
                  </a:lnTo>
                  <a:lnTo>
                    <a:pt x="41828" y="127979"/>
                  </a:lnTo>
                  <a:lnTo>
                    <a:pt x="39774" y="128552"/>
                  </a:lnTo>
                  <a:lnTo>
                    <a:pt x="37399" y="128907"/>
                  </a:lnTo>
                  <a:lnTo>
                    <a:pt x="33391" y="129227"/>
                  </a:lnTo>
                  <a:lnTo>
                    <a:pt x="31758" y="129191"/>
                  </a:lnTo>
                  <a:lnTo>
                    <a:pt x="29191" y="129381"/>
                  </a:lnTo>
                  <a:lnTo>
                    <a:pt x="26243" y="129840"/>
                  </a:lnTo>
                  <a:lnTo>
                    <a:pt x="25399" y="130699"/>
                  </a:lnTo>
                  <a:lnTo>
                    <a:pt x="24434" y="132578"/>
                  </a:lnTo>
                  <a:lnTo>
                    <a:pt x="21046" y="135821"/>
                  </a:lnTo>
                  <a:lnTo>
                    <a:pt x="17761" y="137980"/>
                  </a:lnTo>
                  <a:lnTo>
                    <a:pt x="17161" y="138164"/>
                  </a:lnTo>
                  <a:lnTo>
                    <a:pt x="15239" y="137019"/>
                  </a:lnTo>
                  <a:lnTo>
                    <a:pt x="13635" y="136632"/>
                  </a:lnTo>
                  <a:lnTo>
                    <a:pt x="11758" y="136509"/>
                  </a:lnTo>
                  <a:lnTo>
                    <a:pt x="10428" y="136875"/>
                  </a:lnTo>
                  <a:lnTo>
                    <a:pt x="9586" y="137416"/>
                  </a:lnTo>
                  <a:lnTo>
                    <a:pt x="9700" y="139919"/>
                  </a:lnTo>
                  <a:lnTo>
                    <a:pt x="9513" y="140138"/>
                  </a:lnTo>
                  <a:lnTo>
                    <a:pt x="8061" y="137168"/>
                  </a:lnTo>
                  <a:lnTo>
                    <a:pt x="8176" y="134478"/>
                  </a:lnTo>
                  <a:lnTo>
                    <a:pt x="8983" y="132941"/>
                  </a:lnTo>
                  <a:lnTo>
                    <a:pt x="9964" y="131557"/>
                  </a:lnTo>
                  <a:lnTo>
                    <a:pt x="9560" y="129478"/>
                  </a:lnTo>
                  <a:lnTo>
                    <a:pt x="10525" y="126724"/>
                  </a:lnTo>
                  <a:lnTo>
                    <a:pt x="10555" y="124731"/>
                  </a:lnTo>
                  <a:lnTo>
                    <a:pt x="10132" y="123867"/>
                  </a:lnTo>
                  <a:lnTo>
                    <a:pt x="9351" y="122876"/>
                  </a:lnTo>
                  <a:lnTo>
                    <a:pt x="7210" y="121771"/>
                  </a:lnTo>
                  <a:lnTo>
                    <a:pt x="6265" y="120908"/>
                  </a:lnTo>
                  <a:lnTo>
                    <a:pt x="3362" y="119754"/>
                  </a:lnTo>
                  <a:lnTo>
                    <a:pt x="484" y="118316"/>
                  </a:lnTo>
                  <a:lnTo>
                    <a:pt x="0" y="117435"/>
                  </a:lnTo>
                  <a:lnTo>
                    <a:pt x="136" y="116831"/>
                  </a:lnTo>
                  <a:lnTo>
                    <a:pt x="642" y="115913"/>
                  </a:lnTo>
                  <a:lnTo>
                    <a:pt x="2835" y="113225"/>
                  </a:lnTo>
                  <a:lnTo>
                    <a:pt x="5215" y="110612"/>
                  </a:lnTo>
                  <a:lnTo>
                    <a:pt x="6733" y="109560"/>
                  </a:lnTo>
                  <a:lnTo>
                    <a:pt x="14807" y="106204"/>
                  </a:lnTo>
                  <a:lnTo>
                    <a:pt x="16057" y="105029"/>
                  </a:lnTo>
                  <a:lnTo>
                    <a:pt x="16371" y="103040"/>
                  </a:lnTo>
                  <a:lnTo>
                    <a:pt x="16390" y="101591"/>
                  </a:lnTo>
                  <a:lnTo>
                    <a:pt x="16237" y="99017"/>
                  </a:lnTo>
                  <a:lnTo>
                    <a:pt x="15744" y="95346"/>
                  </a:lnTo>
                  <a:lnTo>
                    <a:pt x="15127" y="92811"/>
                  </a:lnTo>
                  <a:lnTo>
                    <a:pt x="13581" y="88043"/>
                  </a:lnTo>
                  <a:lnTo>
                    <a:pt x="9372" y="78158"/>
                  </a:lnTo>
                  <a:lnTo>
                    <a:pt x="6846" y="67858"/>
                  </a:lnTo>
                  <a:lnTo>
                    <a:pt x="8491" y="68464"/>
                  </a:lnTo>
                  <a:lnTo>
                    <a:pt x="12352" y="68693"/>
                  </a:lnTo>
                  <a:lnTo>
                    <a:pt x="15423" y="67983"/>
                  </a:lnTo>
                  <a:lnTo>
                    <a:pt x="17012" y="67884"/>
                  </a:lnTo>
                  <a:lnTo>
                    <a:pt x="18429" y="68106"/>
                  </a:lnTo>
                  <a:lnTo>
                    <a:pt x="20538" y="67700"/>
                  </a:lnTo>
                  <a:lnTo>
                    <a:pt x="22471" y="67536"/>
                  </a:lnTo>
                  <a:lnTo>
                    <a:pt x="23473" y="68459"/>
                  </a:lnTo>
                  <a:lnTo>
                    <a:pt x="25272" y="69278"/>
                  </a:lnTo>
                  <a:lnTo>
                    <a:pt x="28822" y="68100"/>
                  </a:lnTo>
                  <a:lnTo>
                    <a:pt x="31966" y="66645"/>
                  </a:lnTo>
                  <a:lnTo>
                    <a:pt x="35226" y="66802"/>
                  </a:lnTo>
                  <a:lnTo>
                    <a:pt x="35693" y="66086"/>
                  </a:lnTo>
                  <a:lnTo>
                    <a:pt x="36498" y="62421"/>
                  </a:lnTo>
                  <a:lnTo>
                    <a:pt x="37468" y="61626"/>
                  </a:lnTo>
                  <a:lnTo>
                    <a:pt x="41372" y="61994"/>
                  </a:lnTo>
                  <a:lnTo>
                    <a:pt x="42817" y="61329"/>
                  </a:lnTo>
                  <a:lnTo>
                    <a:pt x="44322" y="59525"/>
                  </a:lnTo>
                  <a:lnTo>
                    <a:pt x="46626" y="58399"/>
                  </a:lnTo>
                  <a:lnTo>
                    <a:pt x="48548" y="58400"/>
                  </a:lnTo>
                  <a:lnTo>
                    <a:pt x="50550" y="57135"/>
                  </a:lnTo>
                  <a:lnTo>
                    <a:pt x="51534" y="57983"/>
                  </a:lnTo>
                  <a:lnTo>
                    <a:pt x="52013" y="59498"/>
                  </a:lnTo>
                  <a:lnTo>
                    <a:pt x="51351" y="60711"/>
                  </a:lnTo>
                  <a:lnTo>
                    <a:pt x="51638" y="61186"/>
                  </a:lnTo>
                  <a:lnTo>
                    <a:pt x="53024" y="61786"/>
                  </a:lnTo>
                  <a:lnTo>
                    <a:pt x="55402" y="61768"/>
                  </a:lnTo>
                  <a:lnTo>
                    <a:pt x="56920" y="61266"/>
                  </a:lnTo>
                  <a:lnTo>
                    <a:pt x="57274" y="60573"/>
                  </a:lnTo>
                  <a:lnTo>
                    <a:pt x="57269" y="59314"/>
                  </a:lnTo>
                  <a:lnTo>
                    <a:pt x="56896" y="58143"/>
                  </a:lnTo>
                  <a:lnTo>
                    <a:pt x="55888" y="57129"/>
                  </a:lnTo>
                  <a:lnTo>
                    <a:pt x="53994" y="56607"/>
                  </a:lnTo>
                  <a:lnTo>
                    <a:pt x="52681" y="56590"/>
                  </a:lnTo>
                  <a:lnTo>
                    <a:pt x="52456" y="55945"/>
                  </a:lnTo>
                  <a:lnTo>
                    <a:pt x="52903" y="54567"/>
                  </a:lnTo>
                  <a:lnTo>
                    <a:pt x="54069" y="52025"/>
                  </a:lnTo>
                  <a:lnTo>
                    <a:pt x="55503" y="49723"/>
                  </a:lnTo>
                  <a:lnTo>
                    <a:pt x="56380" y="48853"/>
                  </a:lnTo>
                  <a:lnTo>
                    <a:pt x="56531" y="48055"/>
                  </a:lnTo>
                  <a:lnTo>
                    <a:pt x="56360" y="46659"/>
                  </a:lnTo>
                  <a:lnTo>
                    <a:pt x="56328" y="44154"/>
                  </a:lnTo>
                  <a:lnTo>
                    <a:pt x="57619" y="40618"/>
                  </a:lnTo>
                  <a:lnTo>
                    <a:pt x="59353" y="37978"/>
                  </a:lnTo>
                  <a:lnTo>
                    <a:pt x="61679" y="37122"/>
                  </a:lnTo>
                  <a:lnTo>
                    <a:pt x="64521" y="36657"/>
                  </a:lnTo>
                  <a:lnTo>
                    <a:pt x="66339" y="35397"/>
                  </a:lnTo>
                  <a:lnTo>
                    <a:pt x="67237" y="33949"/>
                  </a:lnTo>
                  <a:lnTo>
                    <a:pt x="67578" y="32726"/>
                  </a:lnTo>
                  <a:lnTo>
                    <a:pt x="68010" y="31667"/>
                  </a:lnTo>
                  <a:lnTo>
                    <a:pt x="68917" y="31203"/>
                  </a:lnTo>
                  <a:lnTo>
                    <a:pt x="75758" y="31493"/>
                  </a:lnTo>
                  <a:lnTo>
                    <a:pt x="76803" y="29212"/>
                  </a:lnTo>
                  <a:lnTo>
                    <a:pt x="77391" y="28574"/>
                  </a:lnTo>
                  <a:lnTo>
                    <a:pt x="78704" y="27900"/>
                  </a:lnTo>
                  <a:lnTo>
                    <a:pt x="79617" y="27088"/>
                  </a:lnTo>
                  <a:lnTo>
                    <a:pt x="79273" y="26463"/>
                  </a:lnTo>
                  <a:lnTo>
                    <a:pt x="77529" y="26058"/>
                  </a:lnTo>
                  <a:lnTo>
                    <a:pt x="73417" y="25701"/>
                  </a:lnTo>
                  <a:lnTo>
                    <a:pt x="72584" y="24946"/>
                  </a:lnTo>
                  <a:lnTo>
                    <a:pt x="72847" y="24036"/>
                  </a:lnTo>
                  <a:lnTo>
                    <a:pt x="73946" y="21680"/>
                  </a:lnTo>
                  <a:lnTo>
                    <a:pt x="74994" y="18637"/>
                  </a:lnTo>
                  <a:lnTo>
                    <a:pt x="75529" y="16277"/>
                  </a:lnTo>
                  <a:lnTo>
                    <a:pt x="75589" y="14885"/>
                  </a:lnTo>
                  <a:lnTo>
                    <a:pt x="76179" y="14510"/>
                  </a:lnTo>
                  <a:lnTo>
                    <a:pt x="79533" y="14064"/>
                  </a:lnTo>
                  <a:lnTo>
                    <a:pt x="80651" y="13591"/>
                  </a:lnTo>
                  <a:lnTo>
                    <a:pt x="83538" y="10370"/>
                  </a:lnTo>
                  <a:lnTo>
                    <a:pt x="85739" y="9822"/>
                  </a:lnTo>
                  <a:lnTo>
                    <a:pt x="91414" y="10651"/>
                  </a:lnTo>
                  <a:lnTo>
                    <a:pt x="94022" y="10587"/>
                  </a:lnTo>
                  <a:lnTo>
                    <a:pt x="94731" y="10663"/>
                  </a:lnTo>
                  <a:lnTo>
                    <a:pt x="97330" y="10810"/>
                  </a:lnTo>
                  <a:lnTo>
                    <a:pt x="97611" y="10487"/>
                  </a:lnTo>
                  <a:lnTo>
                    <a:pt x="98779" y="7298"/>
                  </a:lnTo>
                  <a:lnTo>
                    <a:pt x="99928" y="6369"/>
                  </a:lnTo>
                  <a:lnTo>
                    <a:pt x="104396" y="2174"/>
                  </a:lnTo>
                  <a:lnTo>
                    <a:pt x="107397" y="390"/>
                  </a:lnTo>
                  <a:lnTo>
                    <a:pt x="109296"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9" name="ee4p_CH_1_15912">
              <a:extLst>
                <a:ext uri="{FF2B5EF4-FFF2-40B4-BE49-F238E27FC236}">
                  <a16:creationId xmlns:a16="http://schemas.microsoft.com/office/drawing/2014/main" id="{86E11B8A-533D-B582-CDAD-4CD62BE5769D}"/>
                </a:ext>
              </a:extLst>
            </p:cNvPr>
            <p:cNvSpPr>
              <a:spLocks noChangeAspect="1"/>
            </p:cNvSpPr>
            <p:nvPr>
              <p:custDataLst>
                <p:tags r:id="rId19"/>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0" name="ee4p_CZ_1_15912">
              <a:extLst>
                <a:ext uri="{FF2B5EF4-FFF2-40B4-BE49-F238E27FC236}">
                  <a16:creationId xmlns:a16="http://schemas.microsoft.com/office/drawing/2014/main" id="{910203F1-7CEE-3B31-F508-04468588EA5B}"/>
                </a:ext>
              </a:extLst>
            </p:cNvPr>
            <p:cNvSpPr>
              <a:spLocks noChangeAspect="1"/>
            </p:cNvSpPr>
            <p:nvPr>
              <p:custDataLst>
                <p:tags r:id="rId20"/>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1" name="ee4p_DE_1_15912">
              <a:extLst>
                <a:ext uri="{FF2B5EF4-FFF2-40B4-BE49-F238E27FC236}">
                  <a16:creationId xmlns:a16="http://schemas.microsoft.com/office/drawing/2014/main" id="{46548EA5-3348-9202-9C33-E6E52C1C4E92}"/>
                </a:ext>
              </a:extLst>
            </p:cNvPr>
            <p:cNvSpPr>
              <a:spLocks noChangeAspect="1"/>
            </p:cNvSpPr>
            <p:nvPr>
              <p:custDataLst>
                <p:tags r:id="rId21"/>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6"/>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2" name="ee4p_DK_1_15912">
              <a:extLst>
                <a:ext uri="{FF2B5EF4-FFF2-40B4-BE49-F238E27FC236}">
                  <a16:creationId xmlns:a16="http://schemas.microsoft.com/office/drawing/2014/main" id="{C04C80AF-0006-B69B-A8FC-A4AB62F82A11}"/>
                </a:ext>
              </a:extLst>
            </p:cNvPr>
            <p:cNvSpPr>
              <a:spLocks noChangeAspect="1"/>
            </p:cNvSpPr>
            <p:nvPr>
              <p:custDataLst>
                <p:tags r:id="rId22"/>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3" name="ee4p_DK_2_15912">
              <a:extLst>
                <a:ext uri="{FF2B5EF4-FFF2-40B4-BE49-F238E27FC236}">
                  <a16:creationId xmlns:a16="http://schemas.microsoft.com/office/drawing/2014/main" id="{F9221029-5B04-52F2-7016-1E8E96784A11}"/>
                </a:ext>
              </a:extLst>
            </p:cNvPr>
            <p:cNvSpPr>
              <a:spLocks noChangeAspect="1"/>
            </p:cNvSpPr>
            <p:nvPr>
              <p:custDataLst>
                <p:tags r:id="rId23"/>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4" name="ee4p_ES_1_15912">
              <a:extLst>
                <a:ext uri="{FF2B5EF4-FFF2-40B4-BE49-F238E27FC236}">
                  <a16:creationId xmlns:a16="http://schemas.microsoft.com/office/drawing/2014/main" id="{AA0CEAA5-BB6F-A83C-540C-EB3981566300}"/>
                </a:ext>
              </a:extLst>
            </p:cNvPr>
            <p:cNvSpPr>
              <a:spLocks noChangeAspect="1"/>
            </p:cNvSpPr>
            <p:nvPr>
              <p:custDataLst>
                <p:tags r:id="rId24"/>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5" name="ee4p_ES_2_15912">
              <a:extLst>
                <a:ext uri="{FF2B5EF4-FFF2-40B4-BE49-F238E27FC236}">
                  <a16:creationId xmlns:a16="http://schemas.microsoft.com/office/drawing/2014/main" id="{62EC7C5E-F13C-E819-D311-4C224ACF8453}"/>
                </a:ext>
              </a:extLst>
            </p:cNvPr>
            <p:cNvSpPr>
              <a:spLocks noChangeAspect="1"/>
            </p:cNvSpPr>
            <p:nvPr>
              <p:custDataLst>
                <p:tags r:id="rId25"/>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6" name="ee4p_EE_1_15912">
              <a:extLst>
                <a:ext uri="{FF2B5EF4-FFF2-40B4-BE49-F238E27FC236}">
                  <a16:creationId xmlns:a16="http://schemas.microsoft.com/office/drawing/2014/main" id="{AFEAEFBC-E04E-6A42-46E4-48F5B042EB08}"/>
                </a:ext>
              </a:extLst>
            </p:cNvPr>
            <p:cNvSpPr>
              <a:spLocks noChangeAspect="1"/>
            </p:cNvSpPr>
            <p:nvPr>
              <p:custDataLst>
                <p:tags r:id="rId26"/>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7" name="ee4p_FI_1_15912">
              <a:extLst>
                <a:ext uri="{FF2B5EF4-FFF2-40B4-BE49-F238E27FC236}">
                  <a16:creationId xmlns:a16="http://schemas.microsoft.com/office/drawing/2014/main" id="{8517C554-EC73-D717-9E14-7DC89041DF37}"/>
                </a:ext>
              </a:extLst>
            </p:cNvPr>
            <p:cNvSpPr>
              <a:spLocks noChangeAspect="1"/>
            </p:cNvSpPr>
            <p:nvPr>
              <p:custDataLst>
                <p:tags r:id="rId27"/>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8" name="ee4p_FR_1_15912">
              <a:extLst>
                <a:ext uri="{FF2B5EF4-FFF2-40B4-BE49-F238E27FC236}">
                  <a16:creationId xmlns:a16="http://schemas.microsoft.com/office/drawing/2014/main" id="{BB07C393-4386-A38E-87AA-5A222CE3A50B}"/>
                </a:ext>
              </a:extLst>
            </p:cNvPr>
            <p:cNvSpPr>
              <a:spLocks noChangeAspect="1"/>
            </p:cNvSpPr>
            <p:nvPr>
              <p:custDataLst>
                <p:tags r:id="rId28"/>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9" name="ee4p_GB_1_15912">
              <a:extLst>
                <a:ext uri="{FF2B5EF4-FFF2-40B4-BE49-F238E27FC236}">
                  <a16:creationId xmlns:a16="http://schemas.microsoft.com/office/drawing/2014/main" id="{B23476A2-0C85-86D2-E636-696F05404E76}"/>
                </a:ext>
              </a:extLst>
            </p:cNvPr>
            <p:cNvSpPr>
              <a:spLocks noChangeAspect="1"/>
            </p:cNvSpPr>
            <p:nvPr>
              <p:custDataLst>
                <p:tags r:id="rId29"/>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0" name="ee4p_GR_1_15912">
              <a:extLst>
                <a:ext uri="{FF2B5EF4-FFF2-40B4-BE49-F238E27FC236}">
                  <a16:creationId xmlns:a16="http://schemas.microsoft.com/office/drawing/2014/main" id="{8DD285F1-310F-5E63-667B-4E4425EE69E2}"/>
                </a:ext>
              </a:extLst>
            </p:cNvPr>
            <p:cNvSpPr>
              <a:spLocks noChangeAspect="1"/>
            </p:cNvSpPr>
            <p:nvPr>
              <p:custDataLst>
                <p:tags r:id="rId30"/>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1" name="ee4p_HR_1_15912">
              <a:extLst>
                <a:ext uri="{FF2B5EF4-FFF2-40B4-BE49-F238E27FC236}">
                  <a16:creationId xmlns:a16="http://schemas.microsoft.com/office/drawing/2014/main" id="{AF6ACB93-A9E6-8A0A-74E8-369EE3CE1DD7}"/>
                </a:ext>
              </a:extLst>
            </p:cNvPr>
            <p:cNvSpPr>
              <a:spLocks noChangeAspect="1"/>
            </p:cNvSpPr>
            <p:nvPr>
              <p:custDataLst>
                <p:tags r:id="rId31"/>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2" name="ee4p_HU_1_15912">
              <a:extLst>
                <a:ext uri="{FF2B5EF4-FFF2-40B4-BE49-F238E27FC236}">
                  <a16:creationId xmlns:a16="http://schemas.microsoft.com/office/drawing/2014/main" id="{3F12B630-3592-E6E9-9BFC-827F80A3916A}"/>
                </a:ext>
              </a:extLst>
            </p:cNvPr>
            <p:cNvSpPr>
              <a:spLocks noChangeAspect="1"/>
            </p:cNvSpPr>
            <p:nvPr>
              <p:custDataLst>
                <p:tags r:id="rId32"/>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3" name="ee4p_IE_1_15912">
              <a:extLst>
                <a:ext uri="{FF2B5EF4-FFF2-40B4-BE49-F238E27FC236}">
                  <a16:creationId xmlns:a16="http://schemas.microsoft.com/office/drawing/2014/main" id="{B8782764-E61F-DC5D-A34D-9BF2303200C0}"/>
                </a:ext>
              </a:extLst>
            </p:cNvPr>
            <p:cNvSpPr>
              <a:spLocks noChangeAspect="1"/>
            </p:cNvSpPr>
            <p:nvPr>
              <p:custDataLst>
                <p:tags r:id="rId33"/>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4" name="ee4p_IS_1_15912">
              <a:extLst>
                <a:ext uri="{FF2B5EF4-FFF2-40B4-BE49-F238E27FC236}">
                  <a16:creationId xmlns:a16="http://schemas.microsoft.com/office/drawing/2014/main" id="{709919A5-8836-1B68-C95F-354FEEFD196C}"/>
                </a:ext>
              </a:extLst>
            </p:cNvPr>
            <p:cNvSpPr>
              <a:spLocks noChangeAspect="1"/>
            </p:cNvSpPr>
            <p:nvPr>
              <p:custDataLst>
                <p:tags r:id="rId34"/>
              </p:custDataLst>
            </p:nvPr>
          </p:nvSpPr>
          <p:spPr>
            <a:xfrm>
              <a:off x="1626234" y="2407471"/>
              <a:ext cx="957187" cy="444021"/>
            </a:xfrm>
            <a:custGeom>
              <a:avLst/>
              <a:gdLst/>
              <a:ahLst/>
              <a:cxnLst/>
              <a:rect l="0" t="0" r="0" b="0"/>
              <a:pathLst>
                <a:path w="241456" h="112007">
                  <a:moveTo>
                    <a:pt x="197518" y="10959"/>
                  </a:moveTo>
                  <a:lnTo>
                    <a:pt x="200053" y="11095"/>
                  </a:lnTo>
                  <a:lnTo>
                    <a:pt x="204200" y="9834"/>
                  </a:lnTo>
                  <a:lnTo>
                    <a:pt x="205936" y="9005"/>
                  </a:lnTo>
                  <a:lnTo>
                    <a:pt x="210191" y="6134"/>
                  </a:lnTo>
                  <a:lnTo>
                    <a:pt x="212709" y="5334"/>
                  </a:lnTo>
                  <a:lnTo>
                    <a:pt x="216589" y="5530"/>
                  </a:lnTo>
                  <a:lnTo>
                    <a:pt x="218464" y="5330"/>
                  </a:lnTo>
                  <a:lnTo>
                    <a:pt x="218507" y="5609"/>
                  </a:lnTo>
                  <a:lnTo>
                    <a:pt x="216124" y="6776"/>
                  </a:lnTo>
                  <a:lnTo>
                    <a:pt x="214210" y="7175"/>
                  </a:lnTo>
                  <a:lnTo>
                    <a:pt x="211468" y="8910"/>
                  </a:lnTo>
                  <a:lnTo>
                    <a:pt x="208864" y="12818"/>
                  </a:lnTo>
                  <a:lnTo>
                    <a:pt x="206932" y="14734"/>
                  </a:lnTo>
                  <a:lnTo>
                    <a:pt x="206953" y="15584"/>
                  </a:lnTo>
                  <a:lnTo>
                    <a:pt x="209300" y="17092"/>
                  </a:lnTo>
                  <a:lnTo>
                    <a:pt x="211870" y="17948"/>
                  </a:lnTo>
                  <a:lnTo>
                    <a:pt x="214234" y="17172"/>
                  </a:lnTo>
                  <a:lnTo>
                    <a:pt x="215267" y="17474"/>
                  </a:lnTo>
                  <a:lnTo>
                    <a:pt x="216201" y="18595"/>
                  </a:lnTo>
                  <a:lnTo>
                    <a:pt x="216728" y="19704"/>
                  </a:lnTo>
                  <a:lnTo>
                    <a:pt x="216846" y="20802"/>
                  </a:lnTo>
                  <a:lnTo>
                    <a:pt x="216421" y="23099"/>
                  </a:lnTo>
                  <a:lnTo>
                    <a:pt x="214999" y="25404"/>
                  </a:lnTo>
                  <a:lnTo>
                    <a:pt x="213081" y="27331"/>
                  </a:lnTo>
                  <a:lnTo>
                    <a:pt x="213351" y="27937"/>
                  </a:lnTo>
                  <a:lnTo>
                    <a:pt x="214889" y="28250"/>
                  </a:lnTo>
                  <a:lnTo>
                    <a:pt x="222215" y="27002"/>
                  </a:lnTo>
                  <a:lnTo>
                    <a:pt x="222975" y="27094"/>
                  </a:lnTo>
                  <a:lnTo>
                    <a:pt x="223396" y="27715"/>
                  </a:lnTo>
                  <a:lnTo>
                    <a:pt x="223478" y="28867"/>
                  </a:lnTo>
                  <a:lnTo>
                    <a:pt x="223881" y="29908"/>
                  </a:lnTo>
                  <a:lnTo>
                    <a:pt x="224604" y="30841"/>
                  </a:lnTo>
                  <a:lnTo>
                    <a:pt x="224379" y="31794"/>
                  </a:lnTo>
                  <a:lnTo>
                    <a:pt x="221172" y="34805"/>
                  </a:lnTo>
                  <a:lnTo>
                    <a:pt x="224955" y="32910"/>
                  </a:lnTo>
                  <a:lnTo>
                    <a:pt x="227948" y="32374"/>
                  </a:lnTo>
                  <a:lnTo>
                    <a:pt x="233067" y="33327"/>
                  </a:lnTo>
                  <a:lnTo>
                    <a:pt x="235162" y="34420"/>
                  </a:lnTo>
                  <a:lnTo>
                    <a:pt x="236388" y="36341"/>
                  </a:lnTo>
                  <a:lnTo>
                    <a:pt x="238160" y="35705"/>
                  </a:lnTo>
                  <a:lnTo>
                    <a:pt x="238930" y="35742"/>
                  </a:lnTo>
                  <a:lnTo>
                    <a:pt x="240089" y="36836"/>
                  </a:lnTo>
                  <a:lnTo>
                    <a:pt x="240130" y="38003"/>
                  </a:lnTo>
                  <a:lnTo>
                    <a:pt x="239280" y="39663"/>
                  </a:lnTo>
                  <a:lnTo>
                    <a:pt x="238986" y="41195"/>
                  </a:lnTo>
                  <a:lnTo>
                    <a:pt x="238096" y="41824"/>
                  </a:lnTo>
                  <a:lnTo>
                    <a:pt x="236432" y="42279"/>
                  </a:lnTo>
                  <a:lnTo>
                    <a:pt x="235956" y="42793"/>
                  </a:lnTo>
                  <a:lnTo>
                    <a:pt x="236689" y="43959"/>
                  </a:lnTo>
                  <a:lnTo>
                    <a:pt x="237768" y="45098"/>
                  </a:lnTo>
                  <a:lnTo>
                    <a:pt x="239302" y="45151"/>
                  </a:lnTo>
                  <a:lnTo>
                    <a:pt x="239575" y="45675"/>
                  </a:lnTo>
                  <a:lnTo>
                    <a:pt x="239610" y="46308"/>
                  </a:lnTo>
                  <a:lnTo>
                    <a:pt x="239402" y="47047"/>
                  </a:lnTo>
                  <a:lnTo>
                    <a:pt x="238901" y="47556"/>
                  </a:lnTo>
                  <a:lnTo>
                    <a:pt x="238109" y="47834"/>
                  </a:lnTo>
                  <a:lnTo>
                    <a:pt x="237060" y="48649"/>
                  </a:lnTo>
                  <a:lnTo>
                    <a:pt x="240909" y="50433"/>
                  </a:lnTo>
                  <a:lnTo>
                    <a:pt x="241400" y="51094"/>
                  </a:lnTo>
                  <a:lnTo>
                    <a:pt x="241455" y="52066"/>
                  </a:lnTo>
                  <a:lnTo>
                    <a:pt x="241155" y="53128"/>
                  </a:lnTo>
                  <a:lnTo>
                    <a:pt x="240499" y="54285"/>
                  </a:lnTo>
                  <a:lnTo>
                    <a:pt x="239338" y="54971"/>
                  </a:lnTo>
                  <a:lnTo>
                    <a:pt x="236565" y="55083"/>
                  </a:lnTo>
                  <a:lnTo>
                    <a:pt x="234868" y="55832"/>
                  </a:lnTo>
                  <a:lnTo>
                    <a:pt x="235446" y="57084"/>
                  </a:lnTo>
                  <a:lnTo>
                    <a:pt x="235402" y="58662"/>
                  </a:lnTo>
                  <a:lnTo>
                    <a:pt x="234891" y="60521"/>
                  </a:lnTo>
                  <a:lnTo>
                    <a:pt x="232708" y="63332"/>
                  </a:lnTo>
                  <a:lnTo>
                    <a:pt x="230657" y="64825"/>
                  </a:lnTo>
                  <a:lnTo>
                    <a:pt x="228651" y="65793"/>
                  </a:lnTo>
                  <a:lnTo>
                    <a:pt x="225073" y="65452"/>
                  </a:lnTo>
                  <a:lnTo>
                    <a:pt x="223124" y="64706"/>
                  </a:lnTo>
                  <a:lnTo>
                    <a:pt x="223341" y="67128"/>
                  </a:lnTo>
                  <a:lnTo>
                    <a:pt x="221349" y="68618"/>
                  </a:lnTo>
                  <a:lnTo>
                    <a:pt x="221726" y="69862"/>
                  </a:lnTo>
                  <a:lnTo>
                    <a:pt x="222419" y="70494"/>
                  </a:lnTo>
                  <a:lnTo>
                    <a:pt x="222074" y="72090"/>
                  </a:lnTo>
                  <a:lnTo>
                    <a:pt x="221128" y="73668"/>
                  </a:lnTo>
                  <a:lnTo>
                    <a:pt x="219542" y="75378"/>
                  </a:lnTo>
                  <a:lnTo>
                    <a:pt x="217748" y="76444"/>
                  </a:lnTo>
                  <a:lnTo>
                    <a:pt x="214181" y="77728"/>
                  </a:lnTo>
                  <a:lnTo>
                    <a:pt x="211133" y="79863"/>
                  </a:lnTo>
                  <a:lnTo>
                    <a:pt x="209050" y="80707"/>
                  </a:lnTo>
                  <a:lnTo>
                    <a:pt x="203870" y="80671"/>
                  </a:lnTo>
                  <a:lnTo>
                    <a:pt x="198582" y="82044"/>
                  </a:lnTo>
                  <a:lnTo>
                    <a:pt x="191110" y="84933"/>
                  </a:lnTo>
                  <a:lnTo>
                    <a:pt x="186079" y="87247"/>
                  </a:lnTo>
                  <a:lnTo>
                    <a:pt x="182196" y="89863"/>
                  </a:lnTo>
                  <a:lnTo>
                    <a:pt x="177065" y="94126"/>
                  </a:lnTo>
                  <a:lnTo>
                    <a:pt x="173256" y="95918"/>
                  </a:lnTo>
                  <a:lnTo>
                    <a:pt x="171059" y="96401"/>
                  </a:lnTo>
                  <a:lnTo>
                    <a:pt x="166783" y="96782"/>
                  </a:lnTo>
                  <a:lnTo>
                    <a:pt x="163200" y="97937"/>
                  </a:lnTo>
                  <a:lnTo>
                    <a:pt x="151296" y="100099"/>
                  </a:lnTo>
                  <a:lnTo>
                    <a:pt x="147266" y="101279"/>
                  </a:lnTo>
                  <a:lnTo>
                    <a:pt x="146745" y="102354"/>
                  </a:lnTo>
                  <a:lnTo>
                    <a:pt x="145074" y="103968"/>
                  </a:lnTo>
                  <a:lnTo>
                    <a:pt x="144969" y="104551"/>
                  </a:lnTo>
                  <a:lnTo>
                    <a:pt x="145703" y="105002"/>
                  </a:lnTo>
                  <a:lnTo>
                    <a:pt x="145838" y="105587"/>
                  </a:lnTo>
                  <a:lnTo>
                    <a:pt x="144365" y="107494"/>
                  </a:lnTo>
                  <a:lnTo>
                    <a:pt x="141422" y="108873"/>
                  </a:lnTo>
                  <a:lnTo>
                    <a:pt x="140031" y="108850"/>
                  </a:lnTo>
                  <a:lnTo>
                    <a:pt x="138347" y="107664"/>
                  </a:lnTo>
                  <a:lnTo>
                    <a:pt x="137614" y="107706"/>
                  </a:lnTo>
                  <a:lnTo>
                    <a:pt x="137326" y="107887"/>
                  </a:lnTo>
                  <a:lnTo>
                    <a:pt x="137309" y="108259"/>
                  </a:lnTo>
                  <a:lnTo>
                    <a:pt x="138276" y="109682"/>
                  </a:lnTo>
                  <a:lnTo>
                    <a:pt x="136495" y="110345"/>
                  </a:lnTo>
                  <a:lnTo>
                    <a:pt x="128738" y="112006"/>
                  </a:lnTo>
                  <a:lnTo>
                    <a:pt x="115546" y="110773"/>
                  </a:lnTo>
                  <a:lnTo>
                    <a:pt x="110320" y="109496"/>
                  </a:lnTo>
                  <a:lnTo>
                    <a:pt x="103870" y="107465"/>
                  </a:lnTo>
                  <a:lnTo>
                    <a:pt x="100029" y="106923"/>
                  </a:lnTo>
                  <a:lnTo>
                    <a:pt x="94585" y="106791"/>
                  </a:lnTo>
                  <a:lnTo>
                    <a:pt x="90112" y="103942"/>
                  </a:lnTo>
                  <a:lnTo>
                    <a:pt x="88042" y="102179"/>
                  </a:lnTo>
                  <a:lnTo>
                    <a:pt x="87876" y="101447"/>
                  </a:lnTo>
                  <a:lnTo>
                    <a:pt x="88109" y="100612"/>
                  </a:lnTo>
                  <a:lnTo>
                    <a:pt x="88575" y="100043"/>
                  </a:lnTo>
                  <a:lnTo>
                    <a:pt x="89271" y="99734"/>
                  </a:lnTo>
                  <a:lnTo>
                    <a:pt x="90747" y="99703"/>
                  </a:lnTo>
                  <a:lnTo>
                    <a:pt x="90939" y="99454"/>
                  </a:lnTo>
                  <a:lnTo>
                    <a:pt x="89813" y="98040"/>
                  </a:lnTo>
                  <a:lnTo>
                    <a:pt x="88736" y="98498"/>
                  </a:lnTo>
                  <a:lnTo>
                    <a:pt x="85855" y="100494"/>
                  </a:lnTo>
                  <a:lnTo>
                    <a:pt x="84573" y="100422"/>
                  </a:lnTo>
                  <a:lnTo>
                    <a:pt x="82890" y="99425"/>
                  </a:lnTo>
                  <a:lnTo>
                    <a:pt x="82826" y="98455"/>
                  </a:lnTo>
                  <a:lnTo>
                    <a:pt x="79535" y="98084"/>
                  </a:lnTo>
                  <a:lnTo>
                    <a:pt x="76676" y="96872"/>
                  </a:lnTo>
                  <a:lnTo>
                    <a:pt x="73835" y="95127"/>
                  </a:lnTo>
                  <a:lnTo>
                    <a:pt x="73411" y="94461"/>
                  </a:lnTo>
                  <a:lnTo>
                    <a:pt x="74775" y="93489"/>
                  </a:lnTo>
                  <a:lnTo>
                    <a:pt x="74512" y="93298"/>
                  </a:lnTo>
                  <a:lnTo>
                    <a:pt x="73485" y="93133"/>
                  </a:lnTo>
                  <a:lnTo>
                    <a:pt x="71410" y="93453"/>
                  </a:lnTo>
                  <a:lnTo>
                    <a:pt x="68284" y="95660"/>
                  </a:lnTo>
                  <a:lnTo>
                    <a:pt x="66934" y="96167"/>
                  </a:lnTo>
                  <a:lnTo>
                    <a:pt x="46504" y="96683"/>
                  </a:lnTo>
                  <a:lnTo>
                    <a:pt x="41323" y="96911"/>
                  </a:lnTo>
                  <a:lnTo>
                    <a:pt x="40321" y="97246"/>
                  </a:lnTo>
                  <a:lnTo>
                    <a:pt x="39418" y="95811"/>
                  </a:lnTo>
                  <a:lnTo>
                    <a:pt x="38614" y="92606"/>
                  </a:lnTo>
                  <a:lnTo>
                    <a:pt x="38314" y="90492"/>
                  </a:lnTo>
                  <a:lnTo>
                    <a:pt x="38520" y="89468"/>
                  </a:lnTo>
                  <a:lnTo>
                    <a:pt x="39238" y="88238"/>
                  </a:lnTo>
                  <a:lnTo>
                    <a:pt x="40349" y="88447"/>
                  </a:lnTo>
                  <a:lnTo>
                    <a:pt x="41407" y="89425"/>
                  </a:lnTo>
                  <a:lnTo>
                    <a:pt x="42364" y="90811"/>
                  </a:lnTo>
                  <a:lnTo>
                    <a:pt x="43464" y="91478"/>
                  </a:lnTo>
                  <a:lnTo>
                    <a:pt x="50595" y="89792"/>
                  </a:lnTo>
                  <a:lnTo>
                    <a:pt x="53490" y="88657"/>
                  </a:lnTo>
                  <a:lnTo>
                    <a:pt x="54721" y="87579"/>
                  </a:lnTo>
                  <a:lnTo>
                    <a:pt x="56170" y="85743"/>
                  </a:lnTo>
                  <a:lnTo>
                    <a:pt x="57707" y="84803"/>
                  </a:lnTo>
                  <a:lnTo>
                    <a:pt x="58441" y="83914"/>
                  </a:lnTo>
                  <a:lnTo>
                    <a:pt x="59882" y="81098"/>
                  </a:lnTo>
                  <a:lnTo>
                    <a:pt x="60877" y="79789"/>
                  </a:lnTo>
                  <a:lnTo>
                    <a:pt x="62069" y="78822"/>
                  </a:lnTo>
                  <a:lnTo>
                    <a:pt x="63455" y="78198"/>
                  </a:lnTo>
                  <a:lnTo>
                    <a:pt x="66609" y="77752"/>
                  </a:lnTo>
                  <a:lnTo>
                    <a:pt x="64534" y="77088"/>
                  </a:lnTo>
                  <a:lnTo>
                    <a:pt x="62555" y="77088"/>
                  </a:lnTo>
                  <a:lnTo>
                    <a:pt x="55821" y="80068"/>
                  </a:lnTo>
                  <a:lnTo>
                    <a:pt x="53563" y="80068"/>
                  </a:lnTo>
                  <a:lnTo>
                    <a:pt x="53658" y="79604"/>
                  </a:lnTo>
                  <a:lnTo>
                    <a:pt x="54610" y="78763"/>
                  </a:lnTo>
                  <a:lnTo>
                    <a:pt x="56926" y="77310"/>
                  </a:lnTo>
                  <a:lnTo>
                    <a:pt x="55335" y="77200"/>
                  </a:lnTo>
                  <a:lnTo>
                    <a:pt x="54728" y="76543"/>
                  </a:lnTo>
                  <a:lnTo>
                    <a:pt x="54658" y="75156"/>
                  </a:lnTo>
                  <a:lnTo>
                    <a:pt x="55841" y="72921"/>
                  </a:lnTo>
                  <a:lnTo>
                    <a:pt x="61323" y="69970"/>
                  </a:lnTo>
                  <a:lnTo>
                    <a:pt x="63219" y="69535"/>
                  </a:lnTo>
                  <a:lnTo>
                    <a:pt x="63795" y="68951"/>
                  </a:lnTo>
                  <a:lnTo>
                    <a:pt x="63076" y="68474"/>
                  </a:lnTo>
                  <a:lnTo>
                    <a:pt x="61930" y="68190"/>
                  </a:lnTo>
                  <a:lnTo>
                    <a:pt x="56414" y="71227"/>
                  </a:lnTo>
                  <a:lnTo>
                    <a:pt x="52399" y="72277"/>
                  </a:lnTo>
                  <a:lnTo>
                    <a:pt x="51205" y="72072"/>
                  </a:lnTo>
                  <a:lnTo>
                    <a:pt x="49128" y="70894"/>
                  </a:lnTo>
                  <a:lnTo>
                    <a:pt x="48459" y="70370"/>
                  </a:lnTo>
                  <a:lnTo>
                    <a:pt x="47563" y="69021"/>
                  </a:lnTo>
                  <a:lnTo>
                    <a:pt x="47664" y="68207"/>
                  </a:lnTo>
                  <a:lnTo>
                    <a:pt x="49577" y="65823"/>
                  </a:lnTo>
                  <a:lnTo>
                    <a:pt x="49269" y="65361"/>
                  </a:lnTo>
                  <a:lnTo>
                    <a:pt x="47953" y="65125"/>
                  </a:lnTo>
                  <a:lnTo>
                    <a:pt x="44415" y="62927"/>
                  </a:lnTo>
                  <a:lnTo>
                    <a:pt x="38815" y="63147"/>
                  </a:lnTo>
                  <a:lnTo>
                    <a:pt x="24958" y="61874"/>
                  </a:lnTo>
                  <a:lnTo>
                    <a:pt x="22095" y="62414"/>
                  </a:lnTo>
                  <a:lnTo>
                    <a:pt x="17374" y="64301"/>
                  </a:lnTo>
                  <a:lnTo>
                    <a:pt x="14521" y="64923"/>
                  </a:lnTo>
                  <a:lnTo>
                    <a:pt x="13203" y="64512"/>
                  </a:lnTo>
                  <a:lnTo>
                    <a:pt x="12005" y="63515"/>
                  </a:lnTo>
                  <a:lnTo>
                    <a:pt x="10917" y="62170"/>
                  </a:lnTo>
                  <a:lnTo>
                    <a:pt x="9940" y="60475"/>
                  </a:lnTo>
                  <a:lnTo>
                    <a:pt x="10363" y="59292"/>
                  </a:lnTo>
                  <a:lnTo>
                    <a:pt x="12190" y="58618"/>
                  </a:lnTo>
                  <a:lnTo>
                    <a:pt x="13530" y="58298"/>
                  </a:lnTo>
                  <a:lnTo>
                    <a:pt x="17302" y="58708"/>
                  </a:lnTo>
                  <a:lnTo>
                    <a:pt x="21899" y="57520"/>
                  </a:lnTo>
                  <a:lnTo>
                    <a:pt x="24832" y="57271"/>
                  </a:lnTo>
                  <a:lnTo>
                    <a:pt x="25674" y="57084"/>
                  </a:lnTo>
                  <a:lnTo>
                    <a:pt x="27401" y="55818"/>
                  </a:lnTo>
                  <a:lnTo>
                    <a:pt x="28252" y="55499"/>
                  </a:lnTo>
                  <a:lnTo>
                    <a:pt x="29581" y="55943"/>
                  </a:lnTo>
                  <a:lnTo>
                    <a:pt x="30224" y="56802"/>
                  </a:lnTo>
                  <a:lnTo>
                    <a:pt x="34852" y="55467"/>
                  </a:lnTo>
                  <a:lnTo>
                    <a:pt x="36441" y="54797"/>
                  </a:lnTo>
                  <a:lnTo>
                    <a:pt x="36620" y="54387"/>
                  </a:lnTo>
                  <a:lnTo>
                    <a:pt x="37316" y="53906"/>
                  </a:lnTo>
                  <a:lnTo>
                    <a:pt x="39618" y="54629"/>
                  </a:lnTo>
                  <a:lnTo>
                    <a:pt x="41482" y="54652"/>
                  </a:lnTo>
                  <a:lnTo>
                    <a:pt x="43809" y="54155"/>
                  </a:lnTo>
                  <a:lnTo>
                    <a:pt x="47922" y="53936"/>
                  </a:lnTo>
                  <a:lnTo>
                    <a:pt x="57127" y="53823"/>
                  </a:lnTo>
                  <a:lnTo>
                    <a:pt x="58506" y="52733"/>
                  </a:lnTo>
                  <a:lnTo>
                    <a:pt x="59155" y="51769"/>
                  </a:lnTo>
                  <a:lnTo>
                    <a:pt x="59967" y="49327"/>
                  </a:lnTo>
                  <a:lnTo>
                    <a:pt x="59608" y="48823"/>
                  </a:lnTo>
                  <a:lnTo>
                    <a:pt x="53858" y="51073"/>
                  </a:lnTo>
                  <a:lnTo>
                    <a:pt x="52546" y="51038"/>
                  </a:lnTo>
                  <a:lnTo>
                    <a:pt x="45891" y="49846"/>
                  </a:lnTo>
                  <a:lnTo>
                    <a:pt x="43486" y="48496"/>
                  </a:lnTo>
                  <a:lnTo>
                    <a:pt x="44274" y="47412"/>
                  </a:lnTo>
                  <a:lnTo>
                    <a:pt x="47800" y="45075"/>
                  </a:lnTo>
                  <a:lnTo>
                    <a:pt x="51441" y="43199"/>
                  </a:lnTo>
                  <a:lnTo>
                    <a:pt x="56799" y="41169"/>
                  </a:lnTo>
                  <a:lnTo>
                    <a:pt x="58054" y="40379"/>
                  </a:lnTo>
                  <a:lnTo>
                    <a:pt x="58184" y="39444"/>
                  </a:lnTo>
                  <a:lnTo>
                    <a:pt x="54615" y="37775"/>
                  </a:lnTo>
                  <a:lnTo>
                    <a:pt x="47855" y="38236"/>
                  </a:lnTo>
                  <a:lnTo>
                    <a:pt x="46125" y="36254"/>
                  </a:lnTo>
                  <a:lnTo>
                    <a:pt x="40511" y="35080"/>
                  </a:lnTo>
                  <a:lnTo>
                    <a:pt x="36773" y="35818"/>
                  </a:lnTo>
                  <a:lnTo>
                    <a:pt x="34787" y="34619"/>
                  </a:lnTo>
                  <a:lnTo>
                    <a:pt x="29931" y="36277"/>
                  </a:lnTo>
                  <a:lnTo>
                    <a:pt x="19263" y="38675"/>
                  </a:lnTo>
                  <a:lnTo>
                    <a:pt x="15018" y="40335"/>
                  </a:lnTo>
                  <a:lnTo>
                    <a:pt x="12732" y="40884"/>
                  </a:lnTo>
                  <a:lnTo>
                    <a:pt x="10098" y="39529"/>
                  </a:lnTo>
                  <a:lnTo>
                    <a:pt x="5566" y="38001"/>
                  </a:lnTo>
                  <a:lnTo>
                    <a:pt x="462" y="37525"/>
                  </a:lnTo>
                  <a:lnTo>
                    <a:pt x="0" y="36624"/>
                  </a:lnTo>
                  <a:lnTo>
                    <a:pt x="2977" y="33865"/>
                  </a:lnTo>
                  <a:lnTo>
                    <a:pt x="5014" y="33366"/>
                  </a:lnTo>
                  <a:lnTo>
                    <a:pt x="7067" y="33619"/>
                  </a:lnTo>
                  <a:lnTo>
                    <a:pt x="10983" y="35544"/>
                  </a:lnTo>
                  <a:lnTo>
                    <a:pt x="13686" y="36146"/>
                  </a:lnTo>
                  <a:lnTo>
                    <a:pt x="10297" y="33321"/>
                  </a:lnTo>
                  <a:lnTo>
                    <a:pt x="10385" y="32234"/>
                  </a:lnTo>
                  <a:lnTo>
                    <a:pt x="10130" y="30606"/>
                  </a:lnTo>
                  <a:lnTo>
                    <a:pt x="9080" y="29906"/>
                  </a:lnTo>
                  <a:lnTo>
                    <a:pt x="8044" y="28102"/>
                  </a:lnTo>
                  <a:lnTo>
                    <a:pt x="8470" y="27493"/>
                  </a:lnTo>
                  <a:lnTo>
                    <a:pt x="9801" y="27279"/>
                  </a:lnTo>
                  <a:lnTo>
                    <a:pt x="12529" y="27889"/>
                  </a:lnTo>
                  <a:lnTo>
                    <a:pt x="19011" y="31018"/>
                  </a:lnTo>
                  <a:lnTo>
                    <a:pt x="22194" y="30464"/>
                  </a:lnTo>
                  <a:lnTo>
                    <a:pt x="23941" y="29311"/>
                  </a:lnTo>
                  <a:lnTo>
                    <a:pt x="26321" y="28456"/>
                  </a:lnTo>
                  <a:lnTo>
                    <a:pt x="25645" y="28010"/>
                  </a:lnTo>
                  <a:lnTo>
                    <a:pt x="20042" y="27957"/>
                  </a:lnTo>
                  <a:lnTo>
                    <a:pt x="17047" y="27320"/>
                  </a:lnTo>
                  <a:lnTo>
                    <a:pt x="15532" y="26404"/>
                  </a:lnTo>
                  <a:lnTo>
                    <a:pt x="14220" y="24841"/>
                  </a:lnTo>
                  <a:lnTo>
                    <a:pt x="14682" y="24123"/>
                  </a:lnTo>
                  <a:lnTo>
                    <a:pt x="16239" y="23551"/>
                  </a:lnTo>
                  <a:lnTo>
                    <a:pt x="21023" y="23717"/>
                  </a:lnTo>
                  <a:lnTo>
                    <a:pt x="17871" y="21005"/>
                  </a:lnTo>
                  <a:lnTo>
                    <a:pt x="15680" y="19445"/>
                  </a:lnTo>
                  <a:lnTo>
                    <a:pt x="15442" y="18691"/>
                  </a:lnTo>
                  <a:lnTo>
                    <a:pt x="15592" y="17744"/>
                  </a:lnTo>
                  <a:lnTo>
                    <a:pt x="15889" y="17110"/>
                  </a:lnTo>
                  <a:lnTo>
                    <a:pt x="16330" y="16793"/>
                  </a:lnTo>
                  <a:lnTo>
                    <a:pt x="21821" y="18380"/>
                  </a:lnTo>
                  <a:lnTo>
                    <a:pt x="23023" y="18448"/>
                  </a:lnTo>
                  <a:lnTo>
                    <a:pt x="21913" y="17422"/>
                  </a:lnTo>
                  <a:lnTo>
                    <a:pt x="19506" y="15915"/>
                  </a:lnTo>
                  <a:lnTo>
                    <a:pt x="19396" y="15349"/>
                  </a:lnTo>
                  <a:lnTo>
                    <a:pt x="20410" y="14883"/>
                  </a:lnTo>
                  <a:lnTo>
                    <a:pt x="20911" y="14023"/>
                  </a:lnTo>
                  <a:lnTo>
                    <a:pt x="20957" y="13312"/>
                  </a:lnTo>
                  <a:lnTo>
                    <a:pt x="22624" y="12703"/>
                  </a:lnTo>
                  <a:lnTo>
                    <a:pt x="24304" y="12676"/>
                  </a:lnTo>
                  <a:lnTo>
                    <a:pt x="25997" y="13231"/>
                  </a:lnTo>
                  <a:lnTo>
                    <a:pt x="31247" y="16178"/>
                  </a:lnTo>
                  <a:lnTo>
                    <a:pt x="32000" y="17004"/>
                  </a:lnTo>
                  <a:lnTo>
                    <a:pt x="32248" y="18093"/>
                  </a:lnTo>
                  <a:lnTo>
                    <a:pt x="31991" y="19441"/>
                  </a:lnTo>
                  <a:lnTo>
                    <a:pt x="32210" y="19987"/>
                  </a:lnTo>
                  <a:lnTo>
                    <a:pt x="34262" y="19523"/>
                  </a:lnTo>
                  <a:lnTo>
                    <a:pt x="35898" y="20091"/>
                  </a:lnTo>
                  <a:lnTo>
                    <a:pt x="36714" y="19938"/>
                  </a:lnTo>
                  <a:lnTo>
                    <a:pt x="38748" y="17907"/>
                  </a:lnTo>
                  <a:lnTo>
                    <a:pt x="40152" y="18386"/>
                  </a:lnTo>
                  <a:lnTo>
                    <a:pt x="40998" y="19336"/>
                  </a:lnTo>
                  <a:lnTo>
                    <a:pt x="41261" y="20195"/>
                  </a:lnTo>
                  <a:lnTo>
                    <a:pt x="41386" y="21374"/>
                  </a:lnTo>
                  <a:lnTo>
                    <a:pt x="41028" y="23829"/>
                  </a:lnTo>
                  <a:lnTo>
                    <a:pt x="41121" y="24175"/>
                  </a:lnTo>
                  <a:lnTo>
                    <a:pt x="42546" y="22790"/>
                  </a:lnTo>
                  <a:lnTo>
                    <a:pt x="44976" y="22685"/>
                  </a:lnTo>
                  <a:lnTo>
                    <a:pt x="45289" y="21988"/>
                  </a:lnTo>
                  <a:lnTo>
                    <a:pt x="45362" y="19404"/>
                  </a:lnTo>
                  <a:lnTo>
                    <a:pt x="45165" y="17224"/>
                  </a:lnTo>
                  <a:lnTo>
                    <a:pt x="44896" y="16772"/>
                  </a:lnTo>
                  <a:lnTo>
                    <a:pt x="36911" y="13746"/>
                  </a:lnTo>
                  <a:lnTo>
                    <a:pt x="35522" y="13031"/>
                  </a:lnTo>
                  <a:lnTo>
                    <a:pt x="33782" y="11538"/>
                  </a:lnTo>
                  <a:lnTo>
                    <a:pt x="34134" y="10787"/>
                  </a:lnTo>
                  <a:lnTo>
                    <a:pt x="35690" y="10116"/>
                  </a:lnTo>
                  <a:lnTo>
                    <a:pt x="38036" y="9849"/>
                  </a:lnTo>
                  <a:lnTo>
                    <a:pt x="43479" y="9884"/>
                  </a:lnTo>
                  <a:lnTo>
                    <a:pt x="44031" y="9570"/>
                  </a:lnTo>
                  <a:lnTo>
                    <a:pt x="42976" y="8783"/>
                  </a:lnTo>
                  <a:lnTo>
                    <a:pt x="40456" y="8274"/>
                  </a:lnTo>
                  <a:lnTo>
                    <a:pt x="39867" y="7820"/>
                  </a:lnTo>
                  <a:lnTo>
                    <a:pt x="39568" y="6945"/>
                  </a:lnTo>
                  <a:lnTo>
                    <a:pt x="36581" y="7423"/>
                  </a:lnTo>
                  <a:lnTo>
                    <a:pt x="33249" y="7442"/>
                  </a:lnTo>
                  <a:lnTo>
                    <a:pt x="30045" y="6907"/>
                  </a:lnTo>
                  <a:lnTo>
                    <a:pt x="29979" y="6226"/>
                  </a:lnTo>
                  <a:lnTo>
                    <a:pt x="31244" y="5226"/>
                  </a:lnTo>
                  <a:lnTo>
                    <a:pt x="33861" y="3565"/>
                  </a:lnTo>
                  <a:lnTo>
                    <a:pt x="35080" y="3153"/>
                  </a:lnTo>
                  <a:lnTo>
                    <a:pt x="38739" y="3443"/>
                  </a:lnTo>
                  <a:lnTo>
                    <a:pt x="42375" y="2977"/>
                  </a:lnTo>
                  <a:lnTo>
                    <a:pt x="45320" y="3540"/>
                  </a:lnTo>
                  <a:lnTo>
                    <a:pt x="47656" y="5185"/>
                  </a:lnTo>
                  <a:lnTo>
                    <a:pt x="50979" y="8069"/>
                  </a:lnTo>
                  <a:lnTo>
                    <a:pt x="55473" y="9913"/>
                  </a:lnTo>
                  <a:lnTo>
                    <a:pt x="55884" y="10491"/>
                  </a:lnTo>
                  <a:lnTo>
                    <a:pt x="58275" y="11999"/>
                  </a:lnTo>
                  <a:lnTo>
                    <a:pt x="63028" y="16051"/>
                  </a:lnTo>
                  <a:lnTo>
                    <a:pt x="67857" y="18398"/>
                  </a:lnTo>
                  <a:lnTo>
                    <a:pt x="68081" y="18995"/>
                  </a:lnTo>
                  <a:lnTo>
                    <a:pt x="67287" y="19697"/>
                  </a:lnTo>
                  <a:lnTo>
                    <a:pt x="65430" y="20520"/>
                  </a:lnTo>
                  <a:lnTo>
                    <a:pt x="65855" y="20976"/>
                  </a:lnTo>
                  <a:lnTo>
                    <a:pt x="68280" y="21572"/>
                  </a:lnTo>
                  <a:lnTo>
                    <a:pt x="70027" y="23159"/>
                  </a:lnTo>
                  <a:lnTo>
                    <a:pt x="70145" y="23847"/>
                  </a:lnTo>
                  <a:lnTo>
                    <a:pt x="68565" y="28751"/>
                  </a:lnTo>
                  <a:lnTo>
                    <a:pt x="67726" y="29791"/>
                  </a:lnTo>
                  <a:lnTo>
                    <a:pt x="66758" y="30340"/>
                  </a:lnTo>
                  <a:lnTo>
                    <a:pt x="62295" y="29418"/>
                  </a:lnTo>
                  <a:lnTo>
                    <a:pt x="63359" y="30975"/>
                  </a:lnTo>
                  <a:lnTo>
                    <a:pt x="66545" y="32633"/>
                  </a:lnTo>
                  <a:lnTo>
                    <a:pt x="67266" y="33559"/>
                  </a:lnTo>
                  <a:lnTo>
                    <a:pt x="66791" y="34466"/>
                  </a:lnTo>
                  <a:lnTo>
                    <a:pt x="67139" y="34676"/>
                  </a:lnTo>
                  <a:lnTo>
                    <a:pt x="68305" y="34185"/>
                  </a:lnTo>
                  <a:lnTo>
                    <a:pt x="68789" y="34700"/>
                  </a:lnTo>
                  <a:lnTo>
                    <a:pt x="68588" y="36218"/>
                  </a:lnTo>
                  <a:lnTo>
                    <a:pt x="68091" y="37477"/>
                  </a:lnTo>
                  <a:lnTo>
                    <a:pt x="67298" y="38476"/>
                  </a:lnTo>
                  <a:lnTo>
                    <a:pt x="67526" y="38908"/>
                  </a:lnTo>
                  <a:lnTo>
                    <a:pt x="68773" y="38775"/>
                  </a:lnTo>
                  <a:lnTo>
                    <a:pt x="69943" y="39034"/>
                  </a:lnTo>
                  <a:lnTo>
                    <a:pt x="71769" y="40412"/>
                  </a:lnTo>
                  <a:lnTo>
                    <a:pt x="73251" y="44619"/>
                  </a:lnTo>
                  <a:lnTo>
                    <a:pt x="73987" y="45978"/>
                  </a:lnTo>
                  <a:lnTo>
                    <a:pt x="74517" y="44772"/>
                  </a:lnTo>
                  <a:lnTo>
                    <a:pt x="75183" y="41702"/>
                  </a:lnTo>
                  <a:lnTo>
                    <a:pt x="75809" y="40132"/>
                  </a:lnTo>
                  <a:lnTo>
                    <a:pt x="76394" y="40063"/>
                  </a:lnTo>
                  <a:lnTo>
                    <a:pt x="76899" y="39546"/>
                  </a:lnTo>
                  <a:lnTo>
                    <a:pt x="77322" y="38581"/>
                  </a:lnTo>
                  <a:lnTo>
                    <a:pt x="78187" y="35174"/>
                  </a:lnTo>
                  <a:lnTo>
                    <a:pt x="81181" y="32587"/>
                  </a:lnTo>
                  <a:lnTo>
                    <a:pt x="82610" y="31794"/>
                  </a:lnTo>
                  <a:lnTo>
                    <a:pt x="83954" y="31618"/>
                  </a:lnTo>
                  <a:lnTo>
                    <a:pt x="84607" y="31941"/>
                  </a:lnTo>
                  <a:lnTo>
                    <a:pt x="86846" y="34654"/>
                  </a:lnTo>
                  <a:lnTo>
                    <a:pt x="88209" y="35110"/>
                  </a:lnTo>
                  <a:lnTo>
                    <a:pt x="88909" y="34961"/>
                  </a:lnTo>
                  <a:lnTo>
                    <a:pt x="89867" y="33121"/>
                  </a:lnTo>
                  <a:lnTo>
                    <a:pt x="91081" y="29583"/>
                  </a:lnTo>
                  <a:lnTo>
                    <a:pt x="91358" y="25625"/>
                  </a:lnTo>
                  <a:lnTo>
                    <a:pt x="90698" y="21246"/>
                  </a:lnTo>
                  <a:lnTo>
                    <a:pt x="91082" y="18118"/>
                  </a:lnTo>
                  <a:lnTo>
                    <a:pt x="92507" y="16246"/>
                  </a:lnTo>
                  <a:lnTo>
                    <a:pt x="94378" y="15670"/>
                  </a:lnTo>
                  <a:lnTo>
                    <a:pt x="96696" y="16389"/>
                  </a:lnTo>
                  <a:lnTo>
                    <a:pt x="98390" y="17531"/>
                  </a:lnTo>
                  <a:lnTo>
                    <a:pt x="101736" y="21888"/>
                  </a:lnTo>
                  <a:lnTo>
                    <a:pt x="104437" y="24164"/>
                  </a:lnTo>
                  <a:lnTo>
                    <a:pt x="106754" y="26607"/>
                  </a:lnTo>
                  <a:lnTo>
                    <a:pt x="107954" y="27398"/>
                  </a:lnTo>
                  <a:lnTo>
                    <a:pt x="110251" y="27799"/>
                  </a:lnTo>
                  <a:lnTo>
                    <a:pt x="110867" y="27642"/>
                  </a:lnTo>
                  <a:lnTo>
                    <a:pt x="111277" y="27078"/>
                  </a:lnTo>
                  <a:lnTo>
                    <a:pt x="111485" y="26109"/>
                  </a:lnTo>
                  <a:lnTo>
                    <a:pt x="110990" y="19886"/>
                  </a:lnTo>
                  <a:lnTo>
                    <a:pt x="111636" y="17944"/>
                  </a:lnTo>
                  <a:lnTo>
                    <a:pt x="112611" y="16564"/>
                  </a:lnTo>
                  <a:lnTo>
                    <a:pt x="116760" y="15750"/>
                  </a:lnTo>
                  <a:lnTo>
                    <a:pt x="119018" y="14884"/>
                  </a:lnTo>
                  <a:lnTo>
                    <a:pt x="121217" y="13461"/>
                  </a:lnTo>
                  <a:lnTo>
                    <a:pt x="123040" y="12698"/>
                  </a:lnTo>
                  <a:lnTo>
                    <a:pt x="124487" y="12595"/>
                  </a:lnTo>
                  <a:lnTo>
                    <a:pt x="125998" y="13151"/>
                  </a:lnTo>
                  <a:lnTo>
                    <a:pt x="127576" y="14363"/>
                  </a:lnTo>
                  <a:lnTo>
                    <a:pt x="130036" y="16724"/>
                  </a:lnTo>
                  <a:lnTo>
                    <a:pt x="133131" y="20630"/>
                  </a:lnTo>
                  <a:lnTo>
                    <a:pt x="137067" y="23546"/>
                  </a:lnTo>
                  <a:lnTo>
                    <a:pt x="139130" y="28165"/>
                  </a:lnTo>
                  <a:lnTo>
                    <a:pt x="139571" y="28945"/>
                  </a:lnTo>
                  <a:lnTo>
                    <a:pt x="140052" y="29036"/>
                  </a:lnTo>
                  <a:lnTo>
                    <a:pt x="140573" y="28437"/>
                  </a:lnTo>
                  <a:lnTo>
                    <a:pt x="140906" y="27585"/>
                  </a:lnTo>
                  <a:lnTo>
                    <a:pt x="141001" y="25532"/>
                  </a:lnTo>
                  <a:lnTo>
                    <a:pt x="139899" y="22804"/>
                  </a:lnTo>
                  <a:lnTo>
                    <a:pt x="136218" y="15924"/>
                  </a:lnTo>
                  <a:lnTo>
                    <a:pt x="136155" y="14618"/>
                  </a:lnTo>
                  <a:lnTo>
                    <a:pt x="136620" y="13568"/>
                  </a:lnTo>
                  <a:lnTo>
                    <a:pt x="139214" y="13454"/>
                  </a:lnTo>
                  <a:lnTo>
                    <a:pt x="145248" y="14086"/>
                  </a:lnTo>
                  <a:lnTo>
                    <a:pt x="147175" y="15156"/>
                  </a:lnTo>
                  <a:lnTo>
                    <a:pt x="151277" y="19365"/>
                  </a:lnTo>
                  <a:lnTo>
                    <a:pt x="152429" y="20380"/>
                  </a:lnTo>
                  <a:lnTo>
                    <a:pt x="153132" y="20636"/>
                  </a:lnTo>
                  <a:lnTo>
                    <a:pt x="153384" y="20127"/>
                  </a:lnTo>
                  <a:lnTo>
                    <a:pt x="154976" y="19347"/>
                  </a:lnTo>
                  <a:lnTo>
                    <a:pt x="156077" y="18400"/>
                  </a:lnTo>
                  <a:lnTo>
                    <a:pt x="157912" y="16081"/>
                  </a:lnTo>
                  <a:lnTo>
                    <a:pt x="161920" y="11902"/>
                  </a:lnTo>
                  <a:lnTo>
                    <a:pt x="162752" y="11778"/>
                  </a:lnTo>
                  <a:lnTo>
                    <a:pt x="163922" y="12108"/>
                  </a:lnTo>
                  <a:lnTo>
                    <a:pt x="165977" y="13203"/>
                  </a:lnTo>
                  <a:lnTo>
                    <a:pt x="166952" y="14080"/>
                  </a:lnTo>
                  <a:lnTo>
                    <a:pt x="168885" y="14748"/>
                  </a:lnTo>
                  <a:lnTo>
                    <a:pt x="170866" y="14514"/>
                  </a:lnTo>
                  <a:lnTo>
                    <a:pt x="173601" y="13049"/>
                  </a:lnTo>
                  <a:lnTo>
                    <a:pt x="176691" y="12155"/>
                  </a:lnTo>
                  <a:lnTo>
                    <a:pt x="177750" y="10076"/>
                  </a:lnTo>
                  <a:lnTo>
                    <a:pt x="177950" y="9127"/>
                  </a:lnTo>
                  <a:lnTo>
                    <a:pt x="175460" y="2928"/>
                  </a:lnTo>
                  <a:lnTo>
                    <a:pt x="176506" y="1658"/>
                  </a:lnTo>
                  <a:lnTo>
                    <a:pt x="181902" y="117"/>
                  </a:lnTo>
                  <a:lnTo>
                    <a:pt x="186622" y="0"/>
                  </a:lnTo>
                  <a:lnTo>
                    <a:pt x="187738" y="422"/>
                  </a:lnTo>
                  <a:lnTo>
                    <a:pt x="190712" y="3439"/>
                  </a:lnTo>
                  <a:lnTo>
                    <a:pt x="192727" y="4956"/>
                  </a:lnTo>
                  <a:lnTo>
                    <a:pt x="193744" y="6176"/>
                  </a:lnTo>
                  <a:lnTo>
                    <a:pt x="193987" y="8856"/>
                  </a:lnTo>
                  <a:lnTo>
                    <a:pt x="195213" y="984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5" name="ee4p_IT_1_15912">
              <a:extLst>
                <a:ext uri="{FF2B5EF4-FFF2-40B4-BE49-F238E27FC236}">
                  <a16:creationId xmlns:a16="http://schemas.microsoft.com/office/drawing/2014/main" id="{F60B2F0F-BF71-7BD5-3B67-A134905A1339}"/>
                </a:ext>
              </a:extLst>
            </p:cNvPr>
            <p:cNvSpPr>
              <a:spLocks noChangeAspect="1"/>
            </p:cNvSpPr>
            <p:nvPr>
              <p:custDataLst>
                <p:tags r:id="rId35"/>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6" name="ee4p_SM_1_15912">
              <a:extLst>
                <a:ext uri="{FF2B5EF4-FFF2-40B4-BE49-F238E27FC236}">
                  <a16:creationId xmlns:a16="http://schemas.microsoft.com/office/drawing/2014/main" id="{3517CEAB-FBA5-5F6C-B49A-01C8F7E3F6F7}"/>
                </a:ext>
              </a:extLst>
            </p:cNvPr>
            <p:cNvSpPr>
              <a:spLocks noChangeAspect="1"/>
            </p:cNvSpPr>
            <p:nvPr>
              <p:custDataLst>
                <p:tags r:id="rId36"/>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7" name="ee4p_XK_1_15912">
              <a:extLst>
                <a:ext uri="{FF2B5EF4-FFF2-40B4-BE49-F238E27FC236}">
                  <a16:creationId xmlns:a16="http://schemas.microsoft.com/office/drawing/2014/main" id="{BA333D1F-13F5-2264-A451-62D5EF2631CC}"/>
                </a:ext>
              </a:extLst>
            </p:cNvPr>
            <p:cNvSpPr>
              <a:spLocks noChangeAspect="1"/>
            </p:cNvSpPr>
            <p:nvPr>
              <p:custDataLst>
                <p:tags r:id="rId37"/>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8" name="ee4p_LI_1_15912">
              <a:extLst>
                <a:ext uri="{FF2B5EF4-FFF2-40B4-BE49-F238E27FC236}">
                  <a16:creationId xmlns:a16="http://schemas.microsoft.com/office/drawing/2014/main" id="{FB74B0A1-B76A-A203-6EF7-DE7B9E9FFA04}"/>
                </a:ext>
              </a:extLst>
            </p:cNvPr>
            <p:cNvSpPr>
              <a:spLocks noChangeAspect="1"/>
            </p:cNvSpPr>
            <p:nvPr>
              <p:custDataLst>
                <p:tags r:id="rId38"/>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9" name="ee4p_LT_1_15912">
              <a:extLst>
                <a:ext uri="{FF2B5EF4-FFF2-40B4-BE49-F238E27FC236}">
                  <a16:creationId xmlns:a16="http://schemas.microsoft.com/office/drawing/2014/main" id="{0EB225A2-EFC5-058C-66B8-BE4BC39D159A}"/>
                </a:ext>
              </a:extLst>
            </p:cNvPr>
            <p:cNvSpPr>
              <a:spLocks noChangeAspect="1"/>
            </p:cNvSpPr>
            <p:nvPr>
              <p:custDataLst>
                <p:tags r:id="rId39"/>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0" name="ee4p_LU_1_15912">
              <a:extLst>
                <a:ext uri="{FF2B5EF4-FFF2-40B4-BE49-F238E27FC236}">
                  <a16:creationId xmlns:a16="http://schemas.microsoft.com/office/drawing/2014/main" id="{D37DCFD4-ED63-7E0C-4FCB-735998D828C7}"/>
                </a:ext>
              </a:extLst>
            </p:cNvPr>
            <p:cNvSpPr>
              <a:spLocks noChangeAspect="1"/>
            </p:cNvSpPr>
            <p:nvPr>
              <p:custDataLst>
                <p:tags r:id="rId40"/>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1" name="ee4p_LV_1_15912">
              <a:extLst>
                <a:ext uri="{FF2B5EF4-FFF2-40B4-BE49-F238E27FC236}">
                  <a16:creationId xmlns:a16="http://schemas.microsoft.com/office/drawing/2014/main" id="{376673BD-6265-AD99-78AB-CB5CD6D432BD}"/>
                </a:ext>
              </a:extLst>
            </p:cNvPr>
            <p:cNvSpPr>
              <a:spLocks noChangeAspect="1"/>
            </p:cNvSpPr>
            <p:nvPr>
              <p:custDataLst>
                <p:tags r:id="rId41"/>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2" name="ee4p_MC_1_15912">
              <a:extLst>
                <a:ext uri="{FF2B5EF4-FFF2-40B4-BE49-F238E27FC236}">
                  <a16:creationId xmlns:a16="http://schemas.microsoft.com/office/drawing/2014/main" id="{6DB25A19-D516-F383-0506-BF50C756DC98}"/>
                </a:ext>
              </a:extLst>
            </p:cNvPr>
            <p:cNvSpPr>
              <a:spLocks noChangeAspect="1"/>
            </p:cNvSpPr>
            <p:nvPr>
              <p:custDataLst>
                <p:tags r:id="rId42"/>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3" name="ee4p_MD_1_15912">
              <a:extLst>
                <a:ext uri="{FF2B5EF4-FFF2-40B4-BE49-F238E27FC236}">
                  <a16:creationId xmlns:a16="http://schemas.microsoft.com/office/drawing/2014/main" id="{E39C8E43-F461-4229-B88D-D5FA318AE572}"/>
                </a:ext>
              </a:extLst>
            </p:cNvPr>
            <p:cNvSpPr>
              <a:spLocks noChangeAspect="1"/>
            </p:cNvSpPr>
            <p:nvPr>
              <p:custDataLst>
                <p:tags r:id="rId43"/>
              </p:custDataLst>
            </p:nvPr>
          </p:nvSpPr>
          <p:spPr>
            <a:xfrm>
              <a:off x="6105061" y="4704274"/>
              <a:ext cx="307866" cy="334862"/>
            </a:xfrm>
            <a:custGeom>
              <a:avLst/>
              <a:gdLst/>
              <a:ahLst/>
              <a:cxnLst/>
              <a:rect l="0" t="0" r="0" b="0"/>
              <a:pathLst>
                <a:path w="77661" h="84471">
                  <a:moveTo>
                    <a:pt x="35237" y="84470"/>
                  </a:moveTo>
                  <a:lnTo>
                    <a:pt x="34131" y="82731"/>
                  </a:lnTo>
                  <a:lnTo>
                    <a:pt x="33013" y="81209"/>
                  </a:lnTo>
                  <a:lnTo>
                    <a:pt x="32190" y="80389"/>
                  </a:lnTo>
                  <a:lnTo>
                    <a:pt x="32536" y="80010"/>
                  </a:lnTo>
                  <a:lnTo>
                    <a:pt x="33432" y="79583"/>
                  </a:lnTo>
                  <a:lnTo>
                    <a:pt x="34071" y="79065"/>
                  </a:lnTo>
                  <a:lnTo>
                    <a:pt x="33993" y="77249"/>
                  </a:lnTo>
                  <a:lnTo>
                    <a:pt x="33522" y="75161"/>
                  </a:lnTo>
                  <a:lnTo>
                    <a:pt x="33093" y="74151"/>
                  </a:lnTo>
                  <a:lnTo>
                    <a:pt x="33050" y="72565"/>
                  </a:lnTo>
                  <a:lnTo>
                    <a:pt x="32743" y="70094"/>
                  </a:lnTo>
                  <a:lnTo>
                    <a:pt x="33172" y="65505"/>
                  </a:lnTo>
                  <a:lnTo>
                    <a:pt x="34952" y="59722"/>
                  </a:lnTo>
                  <a:lnTo>
                    <a:pt x="35941" y="56846"/>
                  </a:lnTo>
                  <a:lnTo>
                    <a:pt x="35461" y="55270"/>
                  </a:lnTo>
                  <a:lnTo>
                    <a:pt x="35833" y="51581"/>
                  </a:lnTo>
                  <a:lnTo>
                    <a:pt x="35064" y="49757"/>
                  </a:lnTo>
                  <a:lnTo>
                    <a:pt x="33855" y="47372"/>
                  </a:lnTo>
                  <a:lnTo>
                    <a:pt x="32125" y="42179"/>
                  </a:lnTo>
                  <a:lnTo>
                    <a:pt x="29968" y="40370"/>
                  </a:lnTo>
                  <a:lnTo>
                    <a:pt x="27305" y="38379"/>
                  </a:lnTo>
                  <a:lnTo>
                    <a:pt x="26167" y="36875"/>
                  </a:lnTo>
                  <a:lnTo>
                    <a:pt x="25407" y="35217"/>
                  </a:lnTo>
                  <a:lnTo>
                    <a:pt x="23820" y="33570"/>
                  </a:lnTo>
                  <a:lnTo>
                    <a:pt x="22004" y="32055"/>
                  </a:lnTo>
                  <a:lnTo>
                    <a:pt x="19832" y="28268"/>
                  </a:lnTo>
                  <a:lnTo>
                    <a:pt x="18705" y="26555"/>
                  </a:lnTo>
                  <a:lnTo>
                    <a:pt x="18359" y="26093"/>
                  </a:lnTo>
                  <a:lnTo>
                    <a:pt x="15876" y="23660"/>
                  </a:lnTo>
                  <a:lnTo>
                    <a:pt x="14572" y="21460"/>
                  </a:lnTo>
                  <a:lnTo>
                    <a:pt x="13913" y="19652"/>
                  </a:lnTo>
                  <a:lnTo>
                    <a:pt x="13531" y="17976"/>
                  </a:lnTo>
                  <a:lnTo>
                    <a:pt x="11788" y="14664"/>
                  </a:lnTo>
                  <a:lnTo>
                    <a:pt x="10203" y="12170"/>
                  </a:lnTo>
                  <a:lnTo>
                    <a:pt x="8696" y="10395"/>
                  </a:lnTo>
                  <a:lnTo>
                    <a:pt x="8001" y="9137"/>
                  </a:lnTo>
                  <a:lnTo>
                    <a:pt x="6237" y="7551"/>
                  </a:lnTo>
                  <a:lnTo>
                    <a:pt x="3723" y="6287"/>
                  </a:lnTo>
                  <a:lnTo>
                    <a:pt x="2097" y="6070"/>
                  </a:lnTo>
                  <a:lnTo>
                    <a:pt x="0" y="6172"/>
                  </a:lnTo>
                  <a:lnTo>
                    <a:pt x="475" y="5202"/>
                  </a:lnTo>
                  <a:lnTo>
                    <a:pt x="5044" y="2568"/>
                  </a:lnTo>
                  <a:lnTo>
                    <a:pt x="6228" y="2999"/>
                  </a:lnTo>
                  <a:lnTo>
                    <a:pt x="8614" y="3103"/>
                  </a:lnTo>
                  <a:lnTo>
                    <a:pt x="13479" y="3013"/>
                  </a:lnTo>
                  <a:lnTo>
                    <a:pt x="15876" y="1277"/>
                  </a:lnTo>
                  <a:lnTo>
                    <a:pt x="17355" y="1761"/>
                  </a:lnTo>
                  <a:lnTo>
                    <a:pt x="18562" y="983"/>
                  </a:lnTo>
                  <a:lnTo>
                    <a:pt x="20571" y="0"/>
                  </a:lnTo>
                  <a:lnTo>
                    <a:pt x="20858" y="208"/>
                  </a:lnTo>
                  <a:lnTo>
                    <a:pt x="21112" y="364"/>
                  </a:lnTo>
                  <a:lnTo>
                    <a:pt x="24224" y="800"/>
                  </a:lnTo>
                  <a:lnTo>
                    <a:pt x="26559" y="1743"/>
                  </a:lnTo>
                  <a:lnTo>
                    <a:pt x="28120" y="3189"/>
                  </a:lnTo>
                  <a:lnTo>
                    <a:pt x="29728" y="4087"/>
                  </a:lnTo>
                  <a:lnTo>
                    <a:pt x="31389" y="4434"/>
                  </a:lnTo>
                  <a:lnTo>
                    <a:pt x="32309" y="5155"/>
                  </a:lnTo>
                  <a:lnTo>
                    <a:pt x="32495" y="6253"/>
                  </a:lnTo>
                  <a:lnTo>
                    <a:pt x="34049" y="6791"/>
                  </a:lnTo>
                  <a:lnTo>
                    <a:pt x="36973" y="6775"/>
                  </a:lnTo>
                  <a:lnTo>
                    <a:pt x="38215" y="7497"/>
                  </a:lnTo>
                  <a:lnTo>
                    <a:pt x="37768" y="8956"/>
                  </a:lnTo>
                  <a:lnTo>
                    <a:pt x="38068" y="9437"/>
                  </a:lnTo>
                  <a:lnTo>
                    <a:pt x="39107" y="8937"/>
                  </a:lnTo>
                  <a:lnTo>
                    <a:pt x="39893" y="9368"/>
                  </a:lnTo>
                  <a:lnTo>
                    <a:pt x="40312" y="10447"/>
                  </a:lnTo>
                  <a:lnTo>
                    <a:pt x="40778" y="10960"/>
                  </a:lnTo>
                  <a:lnTo>
                    <a:pt x="42268" y="9271"/>
                  </a:lnTo>
                  <a:lnTo>
                    <a:pt x="43842" y="9438"/>
                  </a:lnTo>
                  <a:lnTo>
                    <a:pt x="47649" y="10139"/>
                  </a:lnTo>
                  <a:lnTo>
                    <a:pt x="49683" y="13638"/>
                  </a:lnTo>
                  <a:lnTo>
                    <a:pt x="50951" y="14894"/>
                  </a:lnTo>
                  <a:lnTo>
                    <a:pt x="52060" y="15405"/>
                  </a:lnTo>
                  <a:lnTo>
                    <a:pt x="53467" y="14860"/>
                  </a:lnTo>
                  <a:lnTo>
                    <a:pt x="54706" y="14208"/>
                  </a:lnTo>
                  <a:lnTo>
                    <a:pt x="55423" y="14515"/>
                  </a:lnTo>
                  <a:lnTo>
                    <a:pt x="56958" y="16830"/>
                  </a:lnTo>
                  <a:lnTo>
                    <a:pt x="57319" y="19856"/>
                  </a:lnTo>
                  <a:lnTo>
                    <a:pt x="57310" y="21079"/>
                  </a:lnTo>
                  <a:lnTo>
                    <a:pt x="56764" y="23130"/>
                  </a:lnTo>
                  <a:lnTo>
                    <a:pt x="55987" y="25314"/>
                  </a:lnTo>
                  <a:lnTo>
                    <a:pt x="55369" y="26732"/>
                  </a:lnTo>
                  <a:lnTo>
                    <a:pt x="55632" y="27873"/>
                  </a:lnTo>
                  <a:lnTo>
                    <a:pt x="56183" y="28828"/>
                  </a:lnTo>
                  <a:lnTo>
                    <a:pt x="57086" y="29142"/>
                  </a:lnTo>
                  <a:lnTo>
                    <a:pt x="60031" y="31069"/>
                  </a:lnTo>
                  <a:lnTo>
                    <a:pt x="61128" y="32405"/>
                  </a:lnTo>
                  <a:lnTo>
                    <a:pt x="62726" y="33396"/>
                  </a:lnTo>
                  <a:lnTo>
                    <a:pt x="63942" y="33450"/>
                  </a:lnTo>
                  <a:lnTo>
                    <a:pt x="64572" y="34002"/>
                  </a:lnTo>
                  <a:lnTo>
                    <a:pt x="64797" y="34679"/>
                  </a:lnTo>
                  <a:lnTo>
                    <a:pt x="64631" y="36393"/>
                  </a:lnTo>
                  <a:lnTo>
                    <a:pt x="63948" y="38001"/>
                  </a:lnTo>
                  <a:lnTo>
                    <a:pt x="64039" y="39032"/>
                  </a:lnTo>
                  <a:lnTo>
                    <a:pt x="65110" y="40250"/>
                  </a:lnTo>
                  <a:lnTo>
                    <a:pt x="65224" y="41668"/>
                  </a:lnTo>
                  <a:lnTo>
                    <a:pt x="65298" y="42580"/>
                  </a:lnTo>
                  <a:lnTo>
                    <a:pt x="65868" y="43283"/>
                  </a:lnTo>
                  <a:lnTo>
                    <a:pt x="68565" y="44842"/>
                  </a:lnTo>
                  <a:lnTo>
                    <a:pt x="72061" y="46347"/>
                  </a:lnTo>
                  <a:lnTo>
                    <a:pt x="72951" y="47642"/>
                  </a:lnTo>
                  <a:lnTo>
                    <a:pt x="73491" y="49274"/>
                  </a:lnTo>
                  <a:lnTo>
                    <a:pt x="73320" y="52021"/>
                  </a:lnTo>
                  <a:lnTo>
                    <a:pt x="73089" y="54415"/>
                  </a:lnTo>
                  <a:lnTo>
                    <a:pt x="77660" y="57628"/>
                  </a:lnTo>
                  <a:lnTo>
                    <a:pt x="77140" y="58225"/>
                  </a:lnTo>
                  <a:lnTo>
                    <a:pt x="76436" y="58883"/>
                  </a:lnTo>
                  <a:lnTo>
                    <a:pt x="72065" y="59372"/>
                  </a:lnTo>
                  <a:lnTo>
                    <a:pt x="71178" y="59640"/>
                  </a:lnTo>
                  <a:lnTo>
                    <a:pt x="69278" y="57220"/>
                  </a:lnTo>
                  <a:lnTo>
                    <a:pt x="68280" y="56917"/>
                  </a:lnTo>
                  <a:lnTo>
                    <a:pt x="67345" y="57804"/>
                  </a:lnTo>
                  <a:lnTo>
                    <a:pt x="66248" y="58301"/>
                  </a:lnTo>
                  <a:lnTo>
                    <a:pt x="64924" y="58053"/>
                  </a:lnTo>
                  <a:lnTo>
                    <a:pt x="63507" y="57307"/>
                  </a:lnTo>
                  <a:lnTo>
                    <a:pt x="62795" y="56777"/>
                  </a:lnTo>
                  <a:lnTo>
                    <a:pt x="62221" y="56716"/>
                  </a:lnTo>
                  <a:lnTo>
                    <a:pt x="61337" y="57245"/>
                  </a:lnTo>
                  <a:lnTo>
                    <a:pt x="60158" y="57018"/>
                  </a:lnTo>
                  <a:lnTo>
                    <a:pt x="59392" y="56421"/>
                  </a:lnTo>
                  <a:lnTo>
                    <a:pt x="58280" y="58473"/>
                  </a:lnTo>
                  <a:lnTo>
                    <a:pt x="57600" y="58907"/>
                  </a:lnTo>
                  <a:lnTo>
                    <a:pt x="57174" y="58841"/>
                  </a:lnTo>
                  <a:lnTo>
                    <a:pt x="57090" y="55356"/>
                  </a:lnTo>
                  <a:lnTo>
                    <a:pt x="56768" y="54828"/>
                  </a:lnTo>
                  <a:lnTo>
                    <a:pt x="55885" y="54747"/>
                  </a:lnTo>
                  <a:lnTo>
                    <a:pt x="53754" y="55576"/>
                  </a:lnTo>
                  <a:lnTo>
                    <a:pt x="51730" y="56645"/>
                  </a:lnTo>
                  <a:lnTo>
                    <a:pt x="51046" y="57599"/>
                  </a:lnTo>
                  <a:lnTo>
                    <a:pt x="51115" y="59315"/>
                  </a:lnTo>
                  <a:lnTo>
                    <a:pt x="51406" y="61361"/>
                  </a:lnTo>
                  <a:lnTo>
                    <a:pt x="52788" y="64460"/>
                  </a:lnTo>
                  <a:lnTo>
                    <a:pt x="52028" y="65810"/>
                  </a:lnTo>
                  <a:lnTo>
                    <a:pt x="51495" y="67958"/>
                  </a:lnTo>
                  <a:lnTo>
                    <a:pt x="49323" y="69927"/>
                  </a:lnTo>
                  <a:lnTo>
                    <a:pt x="46874" y="71072"/>
                  </a:lnTo>
                  <a:lnTo>
                    <a:pt x="46664" y="73421"/>
                  </a:lnTo>
                  <a:lnTo>
                    <a:pt x="45300" y="75024"/>
                  </a:lnTo>
                  <a:lnTo>
                    <a:pt x="42972" y="76624"/>
                  </a:lnTo>
                  <a:lnTo>
                    <a:pt x="41408" y="78551"/>
                  </a:lnTo>
                  <a:lnTo>
                    <a:pt x="41804" y="79870"/>
                  </a:lnTo>
                  <a:lnTo>
                    <a:pt x="41899" y="81119"/>
                  </a:lnTo>
                  <a:lnTo>
                    <a:pt x="41633" y="81967"/>
                  </a:lnTo>
                  <a:lnTo>
                    <a:pt x="41573" y="82622"/>
                  </a:lnTo>
                  <a:lnTo>
                    <a:pt x="40962" y="82912"/>
                  </a:lnTo>
                  <a:lnTo>
                    <a:pt x="37401" y="83148"/>
                  </a:lnTo>
                  <a:lnTo>
                    <a:pt x="36394" y="8355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4" name="ee4p_MK_1_15912">
              <a:extLst>
                <a:ext uri="{FF2B5EF4-FFF2-40B4-BE49-F238E27FC236}">
                  <a16:creationId xmlns:a16="http://schemas.microsoft.com/office/drawing/2014/main" id="{2440FD01-CA77-C850-B20A-D67A995DB5E7}"/>
                </a:ext>
              </a:extLst>
            </p:cNvPr>
            <p:cNvSpPr>
              <a:spLocks noChangeAspect="1"/>
            </p:cNvSpPr>
            <p:nvPr>
              <p:custDataLst>
                <p:tags r:id="rId44"/>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5" name="ee4p_MT_1_15912">
              <a:extLst>
                <a:ext uri="{FF2B5EF4-FFF2-40B4-BE49-F238E27FC236}">
                  <a16:creationId xmlns:a16="http://schemas.microsoft.com/office/drawing/2014/main" id="{83A98C7A-852E-72D5-01D4-39B1EF28C988}"/>
                </a:ext>
              </a:extLst>
            </p:cNvPr>
            <p:cNvSpPr>
              <a:spLocks noChangeAspect="1"/>
            </p:cNvSpPr>
            <p:nvPr>
              <p:custDataLst>
                <p:tags r:id="rId45"/>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6" name="ee4p_MT_2_15912">
              <a:extLst>
                <a:ext uri="{FF2B5EF4-FFF2-40B4-BE49-F238E27FC236}">
                  <a16:creationId xmlns:a16="http://schemas.microsoft.com/office/drawing/2014/main" id="{1BCEA3E2-1463-9272-DEB2-9FC04098B7BE}"/>
                </a:ext>
              </a:extLst>
            </p:cNvPr>
            <p:cNvSpPr>
              <a:spLocks noChangeAspect="1"/>
            </p:cNvSpPr>
            <p:nvPr>
              <p:custDataLst>
                <p:tags r:id="rId46"/>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7" name="ee4p_ME_1_15912">
              <a:extLst>
                <a:ext uri="{FF2B5EF4-FFF2-40B4-BE49-F238E27FC236}">
                  <a16:creationId xmlns:a16="http://schemas.microsoft.com/office/drawing/2014/main" id="{71374A92-D176-6D52-E665-5D4F7F35326D}"/>
                </a:ext>
              </a:extLst>
            </p:cNvPr>
            <p:cNvSpPr>
              <a:spLocks noChangeAspect="1"/>
            </p:cNvSpPr>
            <p:nvPr>
              <p:custDataLst>
                <p:tags r:id="rId47"/>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8" name="ee4p_NL_1_15912">
              <a:extLst>
                <a:ext uri="{FF2B5EF4-FFF2-40B4-BE49-F238E27FC236}">
                  <a16:creationId xmlns:a16="http://schemas.microsoft.com/office/drawing/2014/main" id="{27A9F8BD-60AD-5646-A771-F6649FCF8BAD}"/>
                </a:ext>
              </a:extLst>
            </p:cNvPr>
            <p:cNvSpPr>
              <a:spLocks noChangeAspect="1"/>
            </p:cNvSpPr>
            <p:nvPr>
              <p:custDataLst>
                <p:tags r:id="rId48"/>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9" name="ee4p_NO_1_15912">
              <a:extLst>
                <a:ext uri="{FF2B5EF4-FFF2-40B4-BE49-F238E27FC236}">
                  <a16:creationId xmlns:a16="http://schemas.microsoft.com/office/drawing/2014/main" id="{D6F7CAAB-E4ED-7FDD-CBE2-22DF064FB6BB}"/>
                </a:ext>
              </a:extLst>
            </p:cNvPr>
            <p:cNvSpPr>
              <a:spLocks noChangeAspect="1"/>
            </p:cNvSpPr>
            <p:nvPr>
              <p:custDataLst>
                <p:tags r:id="rId49"/>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0" name="ee4p_PL_1_15912">
              <a:extLst>
                <a:ext uri="{FF2B5EF4-FFF2-40B4-BE49-F238E27FC236}">
                  <a16:creationId xmlns:a16="http://schemas.microsoft.com/office/drawing/2014/main" id="{62954A06-F26D-4157-5681-A652656D8291}"/>
                </a:ext>
              </a:extLst>
            </p:cNvPr>
            <p:cNvSpPr>
              <a:spLocks noChangeAspect="1"/>
            </p:cNvSpPr>
            <p:nvPr>
              <p:custDataLst>
                <p:tags r:id="rId50"/>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solidFill>
              <a:schemeClr val="accent3"/>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1" name="ee4p_PT_1_15912">
              <a:extLst>
                <a:ext uri="{FF2B5EF4-FFF2-40B4-BE49-F238E27FC236}">
                  <a16:creationId xmlns:a16="http://schemas.microsoft.com/office/drawing/2014/main" id="{0668EE52-36BC-CFB1-9C40-AE9AB416EEE7}"/>
                </a:ext>
              </a:extLst>
            </p:cNvPr>
            <p:cNvSpPr>
              <a:spLocks noChangeAspect="1"/>
            </p:cNvSpPr>
            <p:nvPr>
              <p:custDataLst>
                <p:tags r:id="rId51"/>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2" name="ee4p_RO_1_15912">
              <a:extLst>
                <a:ext uri="{FF2B5EF4-FFF2-40B4-BE49-F238E27FC236}">
                  <a16:creationId xmlns:a16="http://schemas.microsoft.com/office/drawing/2014/main" id="{C9A6728E-B5E2-941C-57A2-C37C2647EEF9}"/>
                </a:ext>
              </a:extLst>
            </p:cNvPr>
            <p:cNvSpPr>
              <a:spLocks noChangeAspect="1"/>
            </p:cNvSpPr>
            <p:nvPr>
              <p:custDataLst>
                <p:tags r:id="rId52"/>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3" name="ee4p_IT_2_15912">
              <a:extLst>
                <a:ext uri="{FF2B5EF4-FFF2-40B4-BE49-F238E27FC236}">
                  <a16:creationId xmlns:a16="http://schemas.microsoft.com/office/drawing/2014/main" id="{BCFC3A70-130D-7C7E-20E7-A1C7F8053F33}"/>
                </a:ext>
              </a:extLst>
            </p:cNvPr>
            <p:cNvSpPr>
              <a:spLocks noChangeAspect="1"/>
            </p:cNvSpPr>
            <p:nvPr>
              <p:custDataLst>
                <p:tags r:id="rId53"/>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4" name="ee4p_RS_1_15912">
              <a:extLst>
                <a:ext uri="{FF2B5EF4-FFF2-40B4-BE49-F238E27FC236}">
                  <a16:creationId xmlns:a16="http://schemas.microsoft.com/office/drawing/2014/main" id="{17CCC586-CFFF-3C77-C764-9B0B23E585CB}"/>
                </a:ext>
              </a:extLst>
            </p:cNvPr>
            <p:cNvSpPr>
              <a:spLocks noChangeAspect="1"/>
            </p:cNvSpPr>
            <p:nvPr>
              <p:custDataLst>
                <p:tags r:id="rId54"/>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5" name="ee4p_SK_1_15912">
              <a:extLst>
                <a:ext uri="{FF2B5EF4-FFF2-40B4-BE49-F238E27FC236}">
                  <a16:creationId xmlns:a16="http://schemas.microsoft.com/office/drawing/2014/main" id="{890C42D6-7A47-34B2-CE8A-1737CFB86FA2}"/>
                </a:ext>
              </a:extLst>
            </p:cNvPr>
            <p:cNvSpPr>
              <a:spLocks noChangeAspect="1"/>
            </p:cNvSpPr>
            <p:nvPr>
              <p:custDataLst>
                <p:tags r:id="rId55"/>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6" name="ee4p_SI_1_15912">
              <a:extLst>
                <a:ext uri="{FF2B5EF4-FFF2-40B4-BE49-F238E27FC236}">
                  <a16:creationId xmlns:a16="http://schemas.microsoft.com/office/drawing/2014/main" id="{EF470B7C-8A67-56F2-2746-361C30274B80}"/>
                </a:ext>
              </a:extLst>
            </p:cNvPr>
            <p:cNvSpPr>
              <a:spLocks noChangeAspect="1"/>
            </p:cNvSpPr>
            <p:nvPr>
              <p:custDataLst>
                <p:tags r:id="rId56"/>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7" name="ee4p_SE_1_15912">
              <a:extLst>
                <a:ext uri="{FF2B5EF4-FFF2-40B4-BE49-F238E27FC236}">
                  <a16:creationId xmlns:a16="http://schemas.microsoft.com/office/drawing/2014/main" id="{E38AAC9F-D484-5B64-02AC-0BF0E342B3CC}"/>
                </a:ext>
              </a:extLst>
            </p:cNvPr>
            <p:cNvSpPr>
              <a:spLocks noChangeAspect="1"/>
            </p:cNvSpPr>
            <p:nvPr>
              <p:custDataLst>
                <p:tags r:id="rId57"/>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8" name="ee4p_UA_1_15912">
              <a:extLst>
                <a:ext uri="{FF2B5EF4-FFF2-40B4-BE49-F238E27FC236}">
                  <a16:creationId xmlns:a16="http://schemas.microsoft.com/office/drawing/2014/main" id="{CC85165F-04F4-FFBE-0DE0-E63F245E74A8}"/>
                </a:ext>
              </a:extLst>
            </p:cNvPr>
            <p:cNvSpPr>
              <a:spLocks noChangeAspect="1"/>
            </p:cNvSpPr>
            <p:nvPr>
              <p:custDataLst>
                <p:tags r:id="rId58"/>
              </p:custDataLst>
            </p:nvPr>
          </p:nvSpPr>
          <p:spPr>
            <a:xfrm>
              <a:off x="5711734" y="4258461"/>
              <a:ext cx="1577526" cy="895745"/>
            </a:xfrm>
            <a:custGeom>
              <a:avLst/>
              <a:gdLst>
                <a:gd name="connsiteX0" fmla="*/ 207344 w 397940"/>
                <a:gd name="connsiteY0" fmla="*/ 171473 h 225957"/>
                <a:gd name="connsiteX1" fmla="*/ 209026 w 397940"/>
                <a:gd name="connsiteY1" fmla="*/ 173412 h 225957"/>
                <a:gd name="connsiteX2" fmla="*/ 210212 w 397940"/>
                <a:gd name="connsiteY2" fmla="*/ 174260 h 225957"/>
                <a:gd name="connsiteX3" fmla="*/ 218475 w 397940"/>
                <a:gd name="connsiteY3" fmla="*/ 176160 h 225957"/>
                <a:gd name="connsiteX4" fmla="*/ 221524 w 397940"/>
                <a:gd name="connsiteY4" fmla="*/ 177522 h 225957"/>
                <a:gd name="connsiteX5" fmla="*/ 218413 w 397940"/>
                <a:gd name="connsiteY5" fmla="*/ 177159 h 225957"/>
                <a:gd name="connsiteX6" fmla="*/ 211576 w 397940"/>
                <a:gd name="connsiteY6" fmla="*/ 175879 h 225957"/>
                <a:gd name="connsiteX7" fmla="*/ 208562 w 397940"/>
                <a:gd name="connsiteY7" fmla="*/ 174670 h 225957"/>
                <a:gd name="connsiteX8" fmla="*/ 207784 w 397940"/>
                <a:gd name="connsiteY8" fmla="*/ 173318 h 225957"/>
                <a:gd name="connsiteX9" fmla="*/ 246666 w 397940"/>
                <a:gd name="connsiteY9" fmla="*/ 0 h 225957"/>
                <a:gd name="connsiteX10" fmla="*/ 250309 w 397940"/>
                <a:gd name="connsiteY10" fmla="*/ 587 h 225957"/>
                <a:gd name="connsiteX11" fmla="*/ 253881 w 397940"/>
                <a:gd name="connsiteY11" fmla="*/ 622 h 225957"/>
                <a:gd name="connsiteX12" fmla="*/ 256576 w 397940"/>
                <a:gd name="connsiteY12" fmla="*/ 261 h 225957"/>
                <a:gd name="connsiteX13" fmla="*/ 258424 w 397940"/>
                <a:gd name="connsiteY13" fmla="*/ 1126 h 225957"/>
                <a:gd name="connsiteX14" fmla="*/ 260707 w 397940"/>
                <a:gd name="connsiteY14" fmla="*/ 3030 h 225957"/>
                <a:gd name="connsiteX15" fmla="*/ 262769 w 397940"/>
                <a:gd name="connsiteY15" fmla="*/ 5862 h 225957"/>
                <a:gd name="connsiteX16" fmla="*/ 264930 w 397940"/>
                <a:gd name="connsiteY16" fmla="*/ 11080 h 225957"/>
                <a:gd name="connsiteX17" fmla="*/ 271227 w 397940"/>
                <a:gd name="connsiteY17" fmla="*/ 16962 h 225957"/>
                <a:gd name="connsiteX18" fmla="*/ 271335 w 397940"/>
                <a:gd name="connsiteY18" fmla="*/ 18109 h 225957"/>
                <a:gd name="connsiteX19" fmla="*/ 270817 w 397940"/>
                <a:gd name="connsiteY19" fmla="*/ 18846 h 225957"/>
                <a:gd name="connsiteX20" fmla="*/ 267718 w 397940"/>
                <a:gd name="connsiteY20" fmla="*/ 19561 h 225957"/>
                <a:gd name="connsiteX21" fmla="*/ 265107 w 397940"/>
                <a:gd name="connsiteY21" fmla="*/ 19946 h 225957"/>
                <a:gd name="connsiteX22" fmla="*/ 264982 w 397940"/>
                <a:gd name="connsiteY22" fmla="*/ 20953 h 225957"/>
                <a:gd name="connsiteX23" fmla="*/ 265675 w 397940"/>
                <a:gd name="connsiteY23" fmla="*/ 22042 h 225957"/>
                <a:gd name="connsiteX24" fmla="*/ 266872 w 397940"/>
                <a:gd name="connsiteY24" fmla="*/ 23635 h 225957"/>
                <a:gd name="connsiteX25" fmla="*/ 267057 w 397940"/>
                <a:gd name="connsiteY25" fmla="*/ 25685 h 225957"/>
                <a:gd name="connsiteX26" fmla="*/ 266997 w 397940"/>
                <a:gd name="connsiteY26" fmla="*/ 27569 h 225957"/>
                <a:gd name="connsiteX27" fmla="*/ 267513 w 397940"/>
                <a:gd name="connsiteY27" fmla="*/ 29233 h 225957"/>
                <a:gd name="connsiteX28" fmla="*/ 268511 w 397940"/>
                <a:gd name="connsiteY28" fmla="*/ 29909 h 225957"/>
                <a:gd name="connsiteX29" fmla="*/ 268636 w 397940"/>
                <a:gd name="connsiteY29" fmla="*/ 30745 h 225957"/>
                <a:gd name="connsiteX30" fmla="*/ 267481 w 397940"/>
                <a:gd name="connsiteY30" fmla="*/ 31766 h 225957"/>
                <a:gd name="connsiteX31" fmla="*/ 267159 w 397940"/>
                <a:gd name="connsiteY31" fmla="*/ 32396 h 225957"/>
                <a:gd name="connsiteX32" fmla="*/ 267608 w 397940"/>
                <a:gd name="connsiteY32" fmla="*/ 32735 h 225957"/>
                <a:gd name="connsiteX33" fmla="*/ 273287 w 397940"/>
                <a:gd name="connsiteY33" fmla="*/ 32932 h 225957"/>
                <a:gd name="connsiteX34" fmla="*/ 276068 w 397940"/>
                <a:gd name="connsiteY34" fmla="*/ 33926 h 225957"/>
                <a:gd name="connsiteX35" fmla="*/ 278180 w 397940"/>
                <a:gd name="connsiteY35" fmla="*/ 34831 h 225957"/>
                <a:gd name="connsiteX36" fmla="*/ 279243 w 397940"/>
                <a:gd name="connsiteY36" fmla="*/ 34915 h 225957"/>
                <a:gd name="connsiteX37" fmla="*/ 281635 w 397940"/>
                <a:gd name="connsiteY37" fmla="*/ 34333 h 225957"/>
                <a:gd name="connsiteX38" fmla="*/ 284326 w 397940"/>
                <a:gd name="connsiteY38" fmla="*/ 33966 h 225957"/>
                <a:gd name="connsiteX39" fmla="*/ 285958 w 397940"/>
                <a:gd name="connsiteY39" fmla="*/ 33917 h 225957"/>
                <a:gd name="connsiteX40" fmla="*/ 286589 w 397940"/>
                <a:gd name="connsiteY40" fmla="*/ 34584 h 225957"/>
                <a:gd name="connsiteX41" fmla="*/ 287092 w 397940"/>
                <a:gd name="connsiteY41" fmla="*/ 36334 h 225957"/>
                <a:gd name="connsiteX42" fmla="*/ 288038 w 397940"/>
                <a:gd name="connsiteY42" fmla="*/ 38084 h 225957"/>
                <a:gd name="connsiteX43" fmla="*/ 288921 w 397940"/>
                <a:gd name="connsiteY43" fmla="*/ 38584 h 225957"/>
                <a:gd name="connsiteX44" fmla="*/ 290493 w 397940"/>
                <a:gd name="connsiteY44" fmla="*/ 38500 h 225957"/>
                <a:gd name="connsiteX45" fmla="*/ 291439 w 397940"/>
                <a:gd name="connsiteY45" fmla="*/ 38584 h 225957"/>
                <a:gd name="connsiteX46" fmla="*/ 291944 w 397940"/>
                <a:gd name="connsiteY46" fmla="*/ 39249 h 225957"/>
                <a:gd name="connsiteX47" fmla="*/ 291376 w 397940"/>
                <a:gd name="connsiteY47" fmla="*/ 40249 h 225957"/>
                <a:gd name="connsiteX48" fmla="*/ 291502 w 397940"/>
                <a:gd name="connsiteY48" fmla="*/ 41329 h 225957"/>
                <a:gd name="connsiteX49" fmla="*/ 292195 w 397940"/>
                <a:gd name="connsiteY49" fmla="*/ 42660 h 225957"/>
                <a:gd name="connsiteX50" fmla="*/ 293015 w 397940"/>
                <a:gd name="connsiteY50" fmla="*/ 45733 h 225957"/>
                <a:gd name="connsiteX51" fmla="*/ 293771 w 397940"/>
                <a:gd name="connsiteY51" fmla="*/ 46646 h 225957"/>
                <a:gd name="connsiteX52" fmla="*/ 294274 w 397940"/>
                <a:gd name="connsiteY52" fmla="*/ 47808 h 225957"/>
                <a:gd name="connsiteX53" fmla="*/ 294274 w 397940"/>
                <a:gd name="connsiteY53" fmla="*/ 49135 h 225957"/>
                <a:gd name="connsiteX54" fmla="*/ 293644 w 397940"/>
                <a:gd name="connsiteY54" fmla="*/ 50295 h 225957"/>
                <a:gd name="connsiteX55" fmla="*/ 293203 w 397940"/>
                <a:gd name="connsiteY55" fmla="*/ 51205 h 225957"/>
                <a:gd name="connsiteX56" fmla="*/ 293644 w 397940"/>
                <a:gd name="connsiteY56" fmla="*/ 53275 h 225957"/>
                <a:gd name="connsiteX57" fmla="*/ 295343 w 397940"/>
                <a:gd name="connsiteY57" fmla="*/ 55592 h 225957"/>
                <a:gd name="connsiteX58" fmla="*/ 296604 w 397940"/>
                <a:gd name="connsiteY58" fmla="*/ 56170 h 225957"/>
                <a:gd name="connsiteX59" fmla="*/ 297613 w 397940"/>
                <a:gd name="connsiteY59" fmla="*/ 58236 h 225957"/>
                <a:gd name="connsiteX60" fmla="*/ 299439 w 397940"/>
                <a:gd name="connsiteY60" fmla="*/ 58896 h 225957"/>
                <a:gd name="connsiteX61" fmla="*/ 302147 w 397940"/>
                <a:gd name="connsiteY61" fmla="*/ 57163 h 225957"/>
                <a:gd name="connsiteX62" fmla="*/ 304227 w 397940"/>
                <a:gd name="connsiteY62" fmla="*/ 56254 h 225957"/>
                <a:gd name="connsiteX63" fmla="*/ 306827 w 397940"/>
                <a:gd name="connsiteY63" fmla="*/ 56759 h 225957"/>
                <a:gd name="connsiteX64" fmla="*/ 309228 w 397940"/>
                <a:gd name="connsiteY64" fmla="*/ 57082 h 225957"/>
                <a:gd name="connsiteX65" fmla="*/ 310843 w 397940"/>
                <a:gd name="connsiteY65" fmla="*/ 58263 h 225957"/>
                <a:gd name="connsiteX66" fmla="*/ 312035 w 397940"/>
                <a:gd name="connsiteY66" fmla="*/ 59887 h 225957"/>
                <a:gd name="connsiteX67" fmla="*/ 313422 w 397940"/>
                <a:gd name="connsiteY67" fmla="*/ 60794 h 225957"/>
                <a:gd name="connsiteX68" fmla="*/ 314810 w 397940"/>
                <a:gd name="connsiteY68" fmla="*/ 60320 h 225957"/>
                <a:gd name="connsiteX69" fmla="*/ 317706 w 397940"/>
                <a:gd name="connsiteY69" fmla="*/ 60794 h 225957"/>
                <a:gd name="connsiteX70" fmla="*/ 319029 w 397940"/>
                <a:gd name="connsiteY70" fmla="*/ 62114 h 225957"/>
                <a:gd name="connsiteX71" fmla="*/ 320351 w 397940"/>
                <a:gd name="connsiteY71" fmla="*/ 62856 h 225957"/>
                <a:gd name="connsiteX72" fmla="*/ 322052 w 397940"/>
                <a:gd name="connsiteY72" fmla="*/ 61785 h 225957"/>
                <a:gd name="connsiteX73" fmla="*/ 323439 w 397940"/>
                <a:gd name="connsiteY73" fmla="*/ 60465 h 225957"/>
                <a:gd name="connsiteX74" fmla="*/ 328511 w 397940"/>
                <a:gd name="connsiteY74" fmla="*/ 59082 h 225957"/>
                <a:gd name="connsiteX75" fmla="*/ 331668 w 397940"/>
                <a:gd name="connsiteY75" fmla="*/ 58736 h 225957"/>
                <a:gd name="connsiteX76" fmla="*/ 332549 w 397940"/>
                <a:gd name="connsiteY76" fmla="*/ 58464 h 225957"/>
                <a:gd name="connsiteX77" fmla="*/ 334402 w 397940"/>
                <a:gd name="connsiteY77" fmla="*/ 57476 h 225957"/>
                <a:gd name="connsiteX78" fmla="*/ 336354 w 397940"/>
                <a:gd name="connsiteY78" fmla="*/ 56819 h 225957"/>
                <a:gd name="connsiteX79" fmla="*/ 338116 w 397940"/>
                <a:gd name="connsiteY79" fmla="*/ 56997 h 225957"/>
                <a:gd name="connsiteX80" fmla="*/ 339852 w 397940"/>
                <a:gd name="connsiteY80" fmla="*/ 59049 h 225957"/>
                <a:gd name="connsiteX81" fmla="*/ 341643 w 397940"/>
                <a:gd name="connsiteY81" fmla="*/ 60465 h 225957"/>
                <a:gd name="connsiteX82" fmla="*/ 342146 w 397940"/>
                <a:gd name="connsiteY82" fmla="*/ 62691 h 225957"/>
                <a:gd name="connsiteX83" fmla="*/ 344337 w 397940"/>
                <a:gd name="connsiteY83" fmla="*/ 65753 h 225957"/>
                <a:gd name="connsiteX84" fmla="*/ 349779 w 397940"/>
                <a:gd name="connsiteY84" fmla="*/ 69936 h 225957"/>
                <a:gd name="connsiteX85" fmla="*/ 351915 w 397940"/>
                <a:gd name="connsiteY85" fmla="*/ 71211 h 225957"/>
                <a:gd name="connsiteX86" fmla="*/ 353366 w 397940"/>
                <a:gd name="connsiteY86" fmla="*/ 70986 h 225957"/>
                <a:gd name="connsiteX87" fmla="*/ 354124 w 397940"/>
                <a:gd name="connsiteY87" fmla="*/ 70652 h 225957"/>
                <a:gd name="connsiteX88" fmla="*/ 354476 w 397940"/>
                <a:gd name="connsiteY88" fmla="*/ 70215 h 225957"/>
                <a:gd name="connsiteX89" fmla="*/ 354804 w 397940"/>
                <a:gd name="connsiteY89" fmla="*/ 68170 h 225957"/>
                <a:gd name="connsiteX90" fmla="*/ 355493 w 397940"/>
                <a:gd name="connsiteY90" fmla="*/ 67417 h 225957"/>
                <a:gd name="connsiteX91" fmla="*/ 356596 w 397940"/>
                <a:gd name="connsiteY91" fmla="*/ 67392 h 225957"/>
                <a:gd name="connsiteX92" fmla="*/ 360855 w 397940"/>
                <a:gd name="connsiteY92" fmla="*/ 69940 h 225957"/>
                <a:gd name="connsiteX93" fmla="*/ 363083 w 397940"/>
                <a:gd name="connsiteY93" fmla="*/ 70214 h 225957"/>
                <a:gd name="connsiteX94" fmla="*/ 365201 w 397940"/>
                <a:gd name="connsiteY94" fmla="*/ 70263 h 225957"/>
                <a:gd name="connsiteX95" fmla="*/ 368052 w 397940"/>
                <a:gd name="connsiteY95" fmla="*/ 72240 h 225957"/>
                <a:gd name="connsiteX96" fmla="*/ 371185 w 397940"/>
                <a:gd name="connsiteY96" fmla="*/ 73958 h 225957"/>
                <a:gd name="connsiteX97" fmla="*/ 373603 w 397940"/>
                <a:gd name="connsiteY97" fmla="*/ 74139 h 225957"/>
                <a:gd name="connsiteX98" fmla="*/ 375532 w 397940"/>
                <a:gd name="connsiteY98" fmla="*/ 73467 h 225957"/>
                <a:gd name="connsiteX99" fmla="*/ 376856 w 397940"/>
                <a:gd name="connsiteY99" fmla="*/ 73058 h 225957"/>
                <a:gd name="connsiteX100" fmla="*/ 377674 w 397940"/>
                <a:gd name="connsiteY100" fmla="*/ 73713 h 225957"/>
                <a:gd name="connsiteX101" fmla="*/ 378430 w 397940"/>
                <a:gd name="connsiteY101" fmla="*/ 75190 h 225957"/>
                <a:gd name="connsiteX102" fmla="*/ 379689 w 397940"/>
                <a:gd name="connsiteY102" fmla="*/ 76338 h 225957"/>
                <a:gd name="connsiteX103" fmla="*/ 381138 w 397940"/>
                <a:gd name="connsiteY103" fmla="*/ 76666 h 225957"/>
                <a:gd name="connsiteX104" fmla="*/ 383223 w 397940"/>
                <a:gd name="connsiteY104" fmla="*/ 76741 h 225957"/>
                <a:gd name="connsiteX105" fmla="*/ 386845 w 397940"/>
                <a:gd name="connsiteY105" fmla="*/ 78966 h 225957"/>
                <a:gd name="connsiteX106" fmla="*/ 390250 w 397940"/>
                <a:gd name="connsiteY106" fmla="*/ 81226 h 225957"/>
                <a:gd name="connsiteX107" fmla="*/ 392379 w 397940"/>
                <a:gd name="connsiteY107" fmla="*/ 81351 h 225957"/>
                <a:gd name="connsiteX108" fmla="*/ 394185 w 397940"/>
                <a:gd name="connsiteY108" fmla="*/ 80688 h 225957"/>
                <a:gd name="connsiteX109" fmla="*/ 395780 w 397940"/>
                <a:gd name="connsiteY109" fmla="*/ 80517 h 225957"/>
                <a:gd name="connsiteX110" fmla="*/ 396886 w 397940"/>
                <a:gd name="connsiteY110" fmla="*/ 81087 h 225957"/>
                <a:gd name="connsiteX111" fmla="*/ 397201 w 397940"/>
                <a:gd name="connsiteY111" fmla="*/ 82069 h 225957"/>
                <a:gd name="connsiteX112" fmla="*/ 396381 w 397940"/>
                <a:gd name="connsiteY112" fmla="*/ 83378 h 225957"/>
                <a:gd name="connsiteX113" fmla="*/ 396381 w 397940"/>
                <a:gd name="connsiteY113" fmla="*/ 85258 h 225957"/>
                <a:gd name="connsiteX114" fmla="*/ 397892 w 397940"/>
                <a:gd name="connsiteY114" fmla="*/ 87055 h 225957"/>
                <a:gd name="connsiteX115" fmla="*/ 397940 w 397940"/>
                <a:gd name="connsiteY115" fmla="*/ 88820 h 225957"/>
                <a:gd name="connsiteX116" fmla="*/ 397508 w 397940"/>
                <a:gd name="connsiteY116" fmla="*/ 90413 h 225957"/>
                <a:gd name="connsiteX117" fmla="*/ 396651 w 397940"/>
                <a:gd name="connsiteY117" fmla="*/ 91880 h 225957"/>
                <a:gd name="connsiteX118" fmla="*/ 394580 w 397940"/>
                <a:gd name="connsiteY118" fmla="*/ 93894 h 225957"/>
                <a:gd name="connsiteX119" fmla="*/ 392664 w 397940"/>
                <a:gd name="connsiteY119" fmla="*/ 95773 h 225957"/>
                <a:gd name="connsiteX120" fmla="*/ 389784 w 397940"/>
                <a:gd name="connsiteY120" fmla="*/ 96558 h 225957"/>
                <a:gd name="connsiteX121" fmla="*/ 388171 w 397940"/>
                <a:gd name="connsiteY121" fmla="*/ 97376 h 225957"/>
                <a:gd name="connsiteX122" fmla="*/ 388594 w 397940"/>
                <a:gd name="connsiteY122" fmla="*/ 98755 h 225957"/>
                <a:gd name="connsiteX123" fmla="*/ 389648 w 397940"/>
                <a:gd name="connsiteY123" fmla="*/ 100041 h 225957"/>
                <a:gd name="connsiteX124" fmla="*/ 392090 w 397940"/>
                <a:gd name="connsiteY124" fmla="*/ 101081 h 225957"/>
                <a:gd name="connsiteX125" fmla="*/ 394863 w 397940"/>
                <a:gd name="connsiteY125" fmla="*/ 101838 h 225957"/>
                <a:gd name="connsiteX126" fmla="*/ 395182 w 397940"/>
                <a:gd name="connsiteY126" fmla="*/ 102673 h 225957"/>
                <a:gd name="connsiteX127" fmla="*/ 394759 w 397940"/>
                <a:gd name="connsiteY127" fmla="*/ 103092 h 225957"/>
                <a:gd name="connsiteX128" fmla="*/ 392982 w 397940"/>
                <a:gd name="connsiteY128" fmla="*/ 103480 h 225957"/>
                <a:gd name="connsiteX129" fmla="*/ 390522 w 397940"/>
                <a:gd name="connsiteY129" fmla="*/ 103082 h 225957"/>
                <a:gd name="connsiteX130" fmla="*/ 389704 w 397940"/>
                <a:gd name="connsiteY130" fmla="*/ 103812 h 225957"/>
                <a:gd name="connsiteX131" fmla="*/ 388570 w 397940"/>
                <a:gd name="connsiteY131" fmla="*/ 105028 h 225957"/>
                <a:gd name="connsiteX132" fmla="*/ 387815 w 397940"/>
                <a:gd name="connsiteY132" fmla="*/ 107215 h 225957"/>
                <a:gd name="connsiteX133" fmla="*/ 387246 w 397940"/>
                <a:gd name="connsiteY133" fmla="*/ 109239 h 225957"/>
                <a:gd name="connsiteX134" fmla="*/ 389916 w 397940"/>
                <a:gd name="connsiteY134" fmla="*/ 109788 h 225957"/>
                <a:gd name="connsiteX135" fmla="*/ 391468 w 397940"/>
                <a:gd name="connsiteY135" fmla="*/ 110614 h 225957"/>
                <a:gd name="connsiteX136" fmla="*/ 391952 w 397940"/>
                <a:gd name="connsiteY136" fmla="*/ 112276 h 225957"/>
                <a:gd name="connsiteX137" fmla="*/ 392507 w 397940"/>
                <a:gd name="connsiteY137" fmla="*/ 114123 h 225957"/>
                <a:gd name="connsiteX138" fmla="*/ 392667 w 397940"/>
                <a:gd name="connsiteY138" fmla="*/ 115785 h 225957"/>
                <a:gd name="connsiteX139" fmla="*/ 391783 w 397940"/>
                <a:gd name="connsiteY139" fmla="*/ 116592 h 225957"/>
                <a:gd name="connsiteX140" fmla="*/ 391730 w 397940"/>
                <a:gd name="connsiteY140" fmla="*/ 117418 h 225957"/>
                <a:gd name="connsiteX141" fmla="*/ 392146 w 397940"/>
                <a:gd name="connsiteY141" fmla="*/ 117824 h 225957"/>
                <a:gd name="connsiteX142" fmla="*/ 393293 w 397940"/>
                <a:gd name="connsiteY142" fmla="*/ 118008 h 225957"/>
                <a:gd name="connsiteX143" fmla="*/ 394172 w 397940"/>
                <a:gd name="connsiteY143" fmla="*/ 118377 h 225957"/>
                <a:gd name="connsiteX144" fmla="*/ 394241 w 397940"/>
                <a:gd name="connsiteY144" fmla="*/ 119253 h 225957"/>
                <a:gd name="connsiteX145" fmla="*/ 392561 w 397940"/>
                <a:gd name="connsiteY145" fmla="*/ 121220 h 225957"/>
                <a:gd name="connsiteX146" fmla="*/ 390989 w 397940"/>
                <a:gd name="connsiteY146" fmla="*/ 124979 h 225957"/>
                <a:gd name="connsiteX147" fmla="*/ 390144 w 397940"/>
                <a:gd name="connsiteY147" fmla="*/ 126978 h 225957"/>
                <a:gd name="connsiteX148" fmla="*/ 390209 w 397940"/>
                <a:gd name="connsiteY148" fmla="*/ 129146 h 225957"/>
                <a:gd name="connsiteX149" fmla="*/ 389263 w 397940"/>
                <a:gd name="connsiteY149" fmla="*/ 130350 h 225957"/>
                <a:gd name="connsiteX150" fmla="*/ 387551 w 397940"/>
                <a:gd name="connsiteY150" fmla="*/ 130452 h 225957"/>
                <a:gd name="connsiteX151" fmla="*/ 381636 w 397940"/>
                <a:gd name="connsiteY151" fmla="*/ 130662 h 225957"/>
                <a:gd name="connsiteX152" fmla="*/ 376495 w 397940"/>
                <a:gd name="connsiteY152" fmla="*/ 130559 h 225957"/>
                <a:gd name="connsiteX153" fmla="*/ 374269 w 397940"/>
                <a:gd name="connsiteY153" fmla="*/ 130247 h 225957"/>
                <a:gd name="connsiteX154" fmla="*/ 370785 w 397940"/>
                <a:gd name="connsiteY154" fmla="*/ 130060 h 225957"/>
                <a:gd name="connsiteX155" fmla="*/ 369060 w 397940"/>
                <a:gd name="connsiteY155" fmla="*/ 130570 h 225957"/>
                <a:gd name="connsiteX156" fmla="*/ 366776 w 397940"/>
                <a:gd name="connsiteY156" fmla="*/ 134029 h 225957"/>
                <a:gd name="connsiteX157" fmla="*/ 365044 w 397940"/>
                <a:gd name="connsiteY157" fmla="*/ 135384 h 225957"/>
                <a:gd name="connsiteX158" fmla="*/ 362176 w 397940"/>
                <a:gd name="connsiteY158" fmla="*/ 136607 h 225957"/>
                <a:gd name="connsiteX159" fmla="*/ 359034 w 397940"/>
                <a:gd name="connsiteY159" fmla="*/ 136957 h 225957"/>
                <a:gd name="connsiteX160" fmla="*/ 357233 w 397940"/>
                <a:gd name="connsiteY160" fmla="*/ 138383 h 225957"/>
                <a:gd name="connsiteX161" fmla="*/ 356601 w 397940"/>
                <a:gd name="connsiteY161" fmla="*/ 140618 h 225957"/>
                <a:gd name="connsiteX162" fmla="*/ 356551 w 397940"/>
                <a:gd name="connsiteY162" fmla="*/ 142598 h 225957"/>
                <a:gd name="connsiteX163" fmla="*/ 356257 w 397940"/>
                <a:gd name="connsiteY163" fmla="*/ 143586 h 225957"/>
                <a:gd name="connsiteX164" fmla="*/ 355575 w 397940"/>
                <a:gd name="connsiteY164" fmla="*/ 144452 h 225957"/>
                <a:gd name="connsiteX165" fmla="*/ 355331 w 397940"/>
                <a:gd name="connsiteY165" fmla="*/ 145068 h 225957"/>
                <a:gd name="connsiteX166" fmla="*/ 355477 w 397940"/>
                <a:gd name="connsiteY166" fmla="*/ 145747 h 225957"/>
                <a:gd name="connsiteX167" fmla="*/ 356208 w 397940"/>
                <a:gd name="connsiteY167" fmla="*/ 145994 h 225957"/>
                <a:gd name="connsiteX168" fmla="*/ 357086 w 397940"/>
                <a:gd name="connsiteY168" fmla="*/ 146303 h 225957"/>
                <a:gd name="connsiteX169" fmla="*/ 357086 w 397940"/>
                <a:gd name="connsiteY169" fmla="*/ 146797 h 225957"/>
                <a:gd name="connsiteX170" fmla="*/ 356745 w 397940"/>
                <a:gd name="connsiteY170" fmla="*/ 147414 h 225957"/>
                <a:gd name="connsiteX171" fmla="*/ 355769 w 397940"/>
                <a:gd name="connsiteY171" fmla="*/ 148092 h 225957"/>
                <a:gd name="connsiteX172" fmla="*/ 355331 w 397940"/>
                <a:gd name="connsiteY172" fmla="*/ 149141 h 225957"/>
                <a:gd name="connsiteX173" fmla="*/ 355430 w 397940"/>
                <a:gd name="connsiteY173" fmla="*/ 150249 h 225957"/>
                <a:gd name="connsiteX174" fmla="*/ 355618 w 397940"/>
                <a:gd name="connsiteY174" fmla="*/ 151483 h 225957"/>
                <a:gd name="connsiteX175" fmla="*/ 354821 w 397940"/>
                <a:gd name="connsiteY175" fmla="*/ 151796 h 225957"/>
                <a:gd name="connsiteX176" fmla="*/ 347091 w 397940"/>
                <a:gd name="connsiteY176" fmla="*/ 151360 h 225957"/>
                <a:gd name="connsiteX177" fmla="*/ 340781 w 397940"/>
                <a:gd name="connsiteY177" fmla="*/ 151954 h 225957"/>
                <a:gd name="connsiteX178" fmla="*/ 336281 w 397940"/>
                <a:gd name="connsiteY178" fmla="*/ 156355 h 225957"/>
                <a:gd name="connsiteX179" fmla="*/ 333599 w 397940"/>
                <a:gd name="connsiteY179" fmla="*/ 156343 h 225957"/>
                <a:gd name="connsiteX180" fmla="*/ 329818 w 397940"/>
                <a:gd name="connsiteY180" fmla="*/ 157489 h 225957"/>
                <a:gd name="connsiteX181" fmla="*/ 327263 w 397940"/>
                <a:gd name="connsiteY181" fmla="*/ 158912 h 225957"/>
                <a:gd name="connsiteX182" fmla="*/ 324229 w 397940"/>
                <a:gd name="connsiteY182" fmla="*/ 161995 h 225957"/>
                <a:gd name="connsiteX183" fmla="*/ 321882 w 397940"/>
                <a:gd name="connsiteY183" fmla="*/ 160611 h 225957"/>
                <a:gd name="connsiteX184" fmla="*/ 319010 w 397940"/>
                <a:gd name="connsiteY184" fmla="*/ 160651 h 225957"/>
                <a:gd name="connsiteX185" fmla="*/ 316207 w 397940"/>
                <a:gd name="connsiteY185" fmla="*/ 161490 h 225957"/>
                <a:gd name="connsiteX186" fmla="*/ 312834 w 397940"/>
                <a:gd name="connsiteY186" fmla="*/ 163547 h 225957"/>
                <a:gd name="connsiteX187" fmla="*/ 310958 w 397940"/>
                <a:gd name="connsiteY187" fmla="*/ 163911 h 225957"/>
                <a:gd name="connsiteX188" fmla="*/ 307205 w 397940"/>
                <a:gd name="connsiteY188" fmla="*/ 163319 h 225957"/>
                <a:gd name="connsiteX189" fmla="*/ 302832 w 397940"/>
                <a:gd name="connsiteY189" fmla="*/ 164500 h 225957"/>
                <a:gd name="connsiteX190" fmla="*/ 293391 w 397940"/>
                <a:gd name="connsiteY190" fmla="*/ 171244 h 225957"/>
                <a:gd name="connsiteX191" fmla="*/ 290217 w 397940"/>
                <a:gd name="connsiteY191" fmla="*/ 176160 h 225957"/>
                <a:gd name="connsiteX192" fmla="*/ 289061 w 397940"/>
                <a:gd name="connsiteY192" fmla="*/ 177121 h 225957"/>
                <a:gd name="connsiteX193" fmla="*/ 287468 w 397940"/>
                <a:gd name="connsiteY193" fmla="*/ 178319 h 225957"/>
                <a:gd name="connsiteX194" fmla="*/ 285764 w 397940"/>
                <a:gd name="connsiteY194" fmla="*/ 178924 h 225957"/>
                <a:gd name="connsiteX195" fmla="*/ 284864 w 397940"/>
                <a:gd name="connsiteY195" fmla="*/ 178868 h 225957"/>
                <a:gd name="connsiteX196" fmla="*/ 289357 w 397940"/>
                <a:gd name="connsiteY196" fmla="*/ 175378 h 225957"/>
                <a:gd name="connsiteX197" fmla="*/ 290737 w 397940"/>
                <a:gd name="connsiteY197" fmla="*/ 174068 h 225957"/>
                <a:gd name="connsiteX198" fmla="*/ 290975 w 397940"/>
                <a:gd name="connsiteY198" fmla="*/ 173101 h 225957"/>
                <a:gd name="connsiteX199" fmla="*/ 290998 w 397940"/>
                <a:gd name="connsiteY199" fmla="*/ 171541 h 225957"/>
                <a:gd name="connsiteX200" fmla="*/ 289636 w 397940"/>
                <a:gd name="connsiteY200" fmla="*/ 169601 h 225957"/>
                <a:gd name="connsiteX201" fmla="*/ 285958 w 397940"/>
                <a:gd name="connsiteY201" fmla="*/ 174407 h 225957"/>
                <a:gd name="connsiteX202" fmla="*/ 283868 w 397940"/>
                <a:gd name="connsiteY202" fmla="*/ 175104 h 225957"/>
                <a:gd name="connsiteX203" fmla="*/ 281216 w 397940"/>
                <a:gd name="connsiteY203" fmla="*/ 176548 h 225957"/>
                <a:gd name="connsiteX204" fmla="*/ 281087 w 397940"/>
                <a:gd name="connsiteY204" fmla="*/ 179764 h 225957"/>
                <a:gd name="connsiteX205" fmla="*/ 281387 w 397940"/>
                <a:gd name="connsiteY205" fmla="*/ 182146 h 225957"/>
                <a:gd name="connsiteX206" fmla="*/ 282477 w 397940"/>
                <a:gd name="connsiteY206" fmla="*/ 185142 h 225957"/>
                <a:gd name="connsiteX207" fmla="*/ 285047 w 397940"/>
                <a:gd name="connsiteY207" fmla="*/ 190042 h 225957"/>
                <a:gd name="connsiteX208" fmla="*/ 290295 w 397940"/>
                <a:gd name="connsiteY208" fmla="*/ 197027 h 225957"/>
                <a:gd name="connsiteX209" fmla="*/ 292810 w 397940"/>
                <a:gd name="connsiteY209" fmla="*/ 199588 h 225957"/>
                <a:gd name="connsiteX210" fmla="*/ 294659 w 397940"/>
                <a:gd name="connsiteY210" fmla="*/ 200611 h 225957"/>
                <a:gd name="connsiteX211" fmla="*/ 296881 w 397940"/>
                <a:gd name="connsiteY211" fmla="*/ 200759 h 225957"/>
                <a:gd name="connsiteX212" fmla="*/ 301147 w 397940"/>
                <a:gd name="connsiteY212" fmla="*/ 198607 h 225957"/>
                <a:gd name="connsiteX213" fmla="*/ 302972 w 397940"/>
                <a:gd name="connsiteY213" fmla="*/ 198271 h 225957"/>
                <a:gd name="connsiteX214" fmla="*/ 306939 w 397940"/>
                <a:gd name="connsiteY214" fmla="*/ 199092 h 225957"/>
                <a:gd name="connsiteX215" fmla="*/ 308360 w 397940"/>
                <a:gd name="connsiteY215" fmla="*/ 197653 h 225957"/>
                <a:gd name="connsiteX216" fmla="*/ 310424 w 397940"/>
                <a:gd name="connsiteY216" fmla="*/ 196858 h 225957"/>
                <a:gd name="connsiteX217" fmla="*/ 313074 w 397940"/>
                <a:gd name="connsiteY217" fmla="*/ 196757 h 225957"/>
                <a:gd name="connsiteX218" fmla="*/ 316097 w 397940"/>
                <a:gd name="connsiteY218" fmla="*/ 197402 h 225957"/>
                <a:gd name="connsiteX219" fmla="*/ 319368 w 397940"/>
                <a:gd name="connsiteY219" fmla="*/ 198492 h 225957"/>
                <a:gd name="connsiteX220" fmla="*/ 318025 w 397940"/>
                <a:gd name="connsiteY220" fmla="*/ 200955 h 225957"/>
                <a:gd name="connsiteX221" fmla="*/ 316622 w 397940"/>
                <a:gd name="connsiteY221" fmla="*/ 202913 h 225957"/>
                <a:gd name="connsiteX222" fmla="*/ 316127 w 397940"/>
                <a:gd name="connsiteY222" fmla="*/ 205078 h 225957"/>
                <a:gd name="connsiteX223" fmla="*/ 315352 w 397940"/>
                <a:gd name="connsiteY223" fmla="*/ 207482 h 225957"/>
                <a:gd name="connsiteX224" fmla="*/ 311737 w 397940"/>
                <a:gd name="connsiteY224" fmla="*/ 208560 h 225957"/>
                <a:gd name="connsiteX225" fmla="*/ 307865 w 397940"/>
                <a:gd name="connsiteY225" fmla="*/ 208428 h 225957"/>
                <a:gd name="connsiteX226" fmla="*/ 303782 w 397940"/>
                <a:gd name="connsiteY226" fmla="*/ 209125 h 225957"/>
                <a:gd name="connsiteX227" fmla="*/ 302311 w 397940"/>
                <a:gd name="connsiteY227" fmla="*/ 208187 h 225957"/>
                <a:gd name="connsiteX228" fmla="*/ 301335 w 397940"/>
                <a:gd name="connsiteY228" fmla="*/ 207333 h 225957"/>
                <a:gd name="connsiteX229" fmla="*/ 299524 w 397940"/>
                <a:gd name="connsiteY229" fmla="*/ 206481 h 225957"/>
                <a:gd name="connsiteX230" fmla="*/ 297135 w 397940"/>
                <a:gd name="connsiteY230" fmla="*/ 206006 h 225957"/>
                <a:gd name="connsiteX231" fmla="*/ 294991 w 397940"/>
                <a:gd name="connsiteY231" fmla="*/ 206577 h 225957"/>
                <a:gd name="connsiteX232" fmla="*/ 292454 w 397940"/>
                <a:gd name="connsiteY232" fmla="*/ 209860 h 225957"/>
                <a:gd name="connsiteX233" fmla="*/ 287965 w 397940"/>
                <a:gd name="connsiteY233" fmla="*/ 212102 h 225957"/>
                <a:gd name="connsiteX234" fmla="*/ 286481 w 397940"/>
                <a:gd name="connsiteY234" fmla="*/ 214659 h 225957"/>
                <a:gd name="connsiteX235" fmla="*/ 282061 w 397940"/>
                <a:gd name="connsiteY235" fmla="*/ 214088 h 225957"/>
                <a:gd name="connsiteX236" fmla="*/ 278282 w 397940"/>
                <a:gd name="connsiteY236" fmla="*/ 214536 h 225957"/>
                <a:gd name="connsiteX237" fmla="*/ 272821 w 397940"/>
                <a:gd name="connsiteY237" fmla="*/ 216866 h 225957"/>
                <a:gd name="connsiteX238" fmla="*/ 268660 w 397940"/>
                <a:gd name="connsiteY238" fmla="*/ 221856 h 225957"/>
                <a:gd name="connsiteX239" fmla="*/ 264075 w 397940"/>
                <a:gd name="connsiteY239" fmla="*/ 224972 h 225957"/>
                <a:gd name="connsiteX240" fmla="*/ 260439 w 397940"/>
                <a:gd name="connsiteY240" fmla="*/ 225957 h 225957"/>
                <a:gd name="connsiteX241" fmla="*/ 257027 w 397940"/>
                <a:gd name="connsiteY241" fmla="*/ 225649 h 225957"/>
                <a:gd name="connsiteX242" fmla="*/ 254820 w 397940"/>
                <a:gd name="connsiteY242" fmla="*/ 224717 h 225957"/>
                <a:gd name="connsiteX243" fmla="*/ 250283 w 397940"/>
                <a:gd name="connsiteY243" fmla="*/ 221442 h 225957"/>
                <a:gd name="connsiteX244" fmla="*/ 250549 w 397940"/>
                <a:gd name="connsiteY244" fmla="*/ 220267 h 225957"/>
                <a:gd name="connsiteX245" fmla="*/ 251182 w 397940"/>
                <a:gd name="connsiteY245" fmla="*/ 219674 h 225957"/>
                <a:gd name="connsiteX246" fmla="*/ 252039 w 397940"/>
                <a:gd name="connsiteY246" fmla="*/ 217988 h 225957"/>
                <a:gd name="connsiteX247" fmla="*/ 253855 w 397940"/>
                <a:gd name="connsiteY247" fmla="*/ 211788 h 225957"/>
                <a:gd name="connsiteX248" fmla="*/ 253611 w 397940"/>
                <a:gd name="connsiteY248" fmla="*/ 209776 h 225957"/>
                <a:gd name="connsiteX249" fmla="*/ 252594 w 397940"/>
                <a:gd name="connsiteY249" fmla="*/ 206600 h 225957"/>
                <a:gd name="connsiteX250" fmla="*/ 248996 w 397940"/>
                <a:gd name="connsiteY250" fmla="*/ 204131 h 225957"/>
                <a:gd name="connsiteX251" fmla="*/ 246100 w 397940"/>
                <a:gd name="connsiteY251" fmla="*/ 204599 h 225957"/>
                <a:gd name="connsiteX252" fmla="*/ 244451 w 397940"/>
                <a:gd name="connsiteY252" fmla="*/ 203941 h 225957"/>
                <a:gd name="connsiteX253" fmla="*/ 238519 w 397940"/>
                <a:gd name="connsiteY253" fmla="*/ 199738 h 225957"/>
                <a:gd name="connsiteX254" fmla="*/ 235291 w 397940"/>
                <a:gd name="connsiteY254" fmla="*/ 199440 h 225957"/>
                <a:gd name="connsiteX255" fmla="*/ 231723 w 397940"/>
                <a:gd name="connsiteY255" fmla="*/ 200288 h 225957"/>
                <a:gd name="connsiteX256" fmla="*/ 230408 w 397940"/>
                <a:gd name="connsiteY256" fmla="*/ 199676 h 225957"/>
                <a:gd name="connsiteX257" fmla="*/ 229439 w 397940"/>
                <a:gd name="connsiteY257" fmla="*/ 198210 h 225957"/>
                <a:gd name="connsiteX258" fmla="*/ 236515 w 397940"/>
                <a:gd name="connsiteY258" fmla="*/ 193012 h 225957"/>
                <a:gd name="connsiteX259" fmla="*/ 243464 w 397940"/>
                <a:gd name="connsiteY259" fmla="*/ 188714 h 225957"/>
                <a:gd name="connsiteX260" fmla="*/ 246511 w 397940"/>
                <a:gd name="connsiteY260" fmla="*/ 188272 h 225957"/>
                <a:gd name="connsiteX261" fmla="*/ 250627 w 397940"/>
                <a:gd name="connsiteY261" fmla="*/ 186269 h 225957"/>
                <a:gd name="connsiteX262" fmla="*/ 255019 w 397940"/>
                <a:gd name="connsiteY262" fmla="*/ 183259 h 225957"/>
                <a:gd name="connsiteX263" fmla="*/ 254397 w 397940"/>
                <a:gd name="connsiteY263" fmla="*/ 180890 h 225957"/>
                <a:gd name="connsiteX264" fmla="*/ 253455 w 397940"/>
                <a:gd name="connsiteY264" fmla="*/ 179138 h 225957"/>
                <a:gd name="connsiteX265" fmla="*/ 251348 w 397940"/>
                <a:gd name="connsiteY265" fmla="*/ 179619 h 225957"/>
                <a:gd name="connsiteX266" fmla="*/ 249823 w 397940"/>
                <a:gd name="connsiteY266" fmla="*/ 180206 h 225957"/>
                <a:gd name="connsiteX267" fmla="*/ 246144 w 397940"/>
                <a:gd name="connsiteY267" fmla="*/ 178325 h 225957"/>
                <a:gd name="connsiteX268" fmla="*/ 244790 w 397940"/>
                <a:gd name="connsiteY268" fmla="*/ 176940 h 225957"/>
                <a:gd name="connsiteX269" fmla="*/ 239031 w 397940"/>
                <a:gd name="connsiteY269" fmla="*/ 178377 h 225957"/>
                <a:gd name="connsiteX270" fmla="*/ 235826 w 397940"/>
                <a:gd name="connsiteY270" fmla="*/ 178164 h 225957"/>
                <a:gd name="connsiteX271" fmla="*/ 228748 w 397940"/>
                <a:gd name="connsiteY271" fmla="*/ 179485 h 225957"/>
                <a:gd name="connsiteX272" fmla="*/ 225500 w 397940"/>
                <a:gd name="connsiteY272" fmla="*/ 178195 h 225957"/>
                <a:gd name="connsiteX273" fmla="*/ 218996 w 397940"/>
                <a:gd name="connsiteY273" fmla="*/ 174580 h 225957"/>
                <a:gd name="connsiteX274" fmla="*/ 216551 w 397940"/>
                <a:gd name="connsiteY274" fmla="*/ 173853 h 225957"/>
                <a:gd name="connsiteX275" fmla="*/ 214474 w 397940"/>
                <a:gd name="connsiteY275" fmla="*/ 174007 h 225957"/>
                <a:gd name="connsiteX276" fmla="*/ 213340 w 397940"/>
                <a:gd name="connsiteY276" fmla="*/ 172817 h 225957"/>
                <a:gd name="connsiteX277" fmla="*/ 214731 w 397940"/>
                <a:gd name="connsiteY277" fmla="*/ 172221 h 225957"/>
                <a:gd name="connsiteX278" fmla="*/ 216346 w 397940"/>
                <a:gd name="connsiteY278" fmla="*/ 172151 h 225957"/>
                <a:gd name="connsiteX279" fmla="*/ 218022 w 397940"/>
                <a:gd name="connsiteY279" fmla="*/ 171715 h 225957"/>
                <a:gd name="connsiteX280" fmla="*/ 218495 w 397940"/>
                <a:gd name="connsiteY280" fmla="*/ 171084 h 225957"/>
                <a:gd name="connsiteX281" fmla="*/ 218394 w 397940"/>
                <a:gd name="connsiteY281" fmla="*/ 169897 h 225957"/>
                <a:gd name="connsiteX282" fmla="*/ 215016 w 397940"/>
                <a:gd name="connsiteY282" fmla="*/ 168996 h 225957"/>
                <a:gd name="connsiteX283" fmla="*/ 211874 w 397940"/>
                <a:gd name="connsiteY283" fmla="*/ 168737 h 225957"/>
                <a:gd name="connsiteX284" fmla="*/ 209883 w 397940"/>
                <a:gd name="connsiteY284" fmla="*/ 167669 h 225957"/>
                <a:gd name="connsiteX285" fmla="*/ 208363 w 397940"/>
                <a:gd name="connsiteY285" fmla="*/ 166446 h 225957"/>
                <a:gd name="connsiteX286" fmla="*/ 211926 w 397940"/>
                <a:gd name="connsiteY286" fmla="*/ 166427 h 225957"/>
                <a:gd name="connsiteX287" fmla="*/ 215506 w 397940"/>
                <a:gd name="connsiteY287" fmla="*/ 167352 h 225957"/>
                <a:gd name="connsiteX288" fmla="*/ 221112 w 397940"/>
                <a:gd name="connsiteY288" fmla="*/ 167693 h 225957"/>
                <a:gd name="connsiteX289" fmla="*/ 226195 w 397940"/>
                <a:gd name="connsiteY289" fmla="*/ 168649 h 225957"/>
                <a:gd name="connsiteX290" fmla="*/ 227469 w 397940"/>
                <a:gd name="connsiteY290" fmla="*/ 167460 h 225957"/>
                <a:gd name="connsiteX291" fmla="*/ 230423 w 397940"/>
                <a:gd name="connsiteY291" fmla="*/ 165399 h 225957"/>
                <a:gd name="connsiteX292" fmla="*/ 230987 w 397940"/>
                <a:gd name="connsiteY292" fmla="*/ 164742 h 225957"/>
                <a:gd name="connsiteX293" fmla="*/ 226035 w 397940"/>
                <a:gd name="connsiteY293" fmla="*/ 166153 h 225957"/>
                <a:gd name="connsiteX294" fmla="*/ 221019 w 397940"/>
                <a:gd name="connsiteY294" fmla="*/ 165253 h 225957"/>
                <a:gd name="connsiteX295" fmla="*/ 219186 w 397940"/>
                <a:gd name="connsiteY295" fmla="*/ 163995 h 225957"/>
                <a:gd name="connsiteX296" fmla="*/ 217637 w 397940"/>
                <a:gd name="connsiteY296" fmla="*/ 162151 h 225957"/>
                <a:gd name="connsiteX297" fmla="*/ 216987 w 397940"/>
                <a:gd name="connsiteY297" fmla="*/ 160047 h 225957"/>
                <a:gd name="connsiteX298" fmla="*/ 217411 w 397940"/>
                <a:gd name="connsiteY298" fmla="*/ 158085 h 225957"/>
                <a:gd name="connsiteX299" fmla="*/ 216869 w 397940"/>
                <a:gd name="connsiteY299" fmla="*/ 154539 h 225957"/>
                <a:gd name="connsiteX300" fmla="*/ 215215 w 397940"/>
                <a:gd name="connsiteY300" fmla="*/ 151380 h 225957"/>
                <a:gd name="connsiteX301" fmla="*/ 214628 w 397940"/>
                <a:gd name="connsiteY301" fmla="*/ 149645 h 225957"/>
                <a:gd name="connsiteX302" fmla="*/ 212880 w 397940"/>
                <a:gd name="connsiteY302" fmla="*/ 148089 h 225957"/>
                <a:gd name="connsiteX303" fmla="*/ 214599 w 397940"/>
                <a:gd name="connsiteY303" fmla="*/ 151607 h 225957"/>
                <a:gd name="connsiteX304" fmla="*/ 215241 w 397940"/>
                <a:gd name="connsiteY304" fmla="*/ 153945 h 225957"/>
                <a:gd name="connsiteX305" fmla="*/ 216275 w 397940"/>
                <a:gd name="connsiteY305" fmla="*/ 156097 h 225957"/>
                <a:gd name="connsiteX306" fmla="*/ 216031 w 397940"/>
                <a:gd name="connsiteY306" fmla="*/ 161794 h 225957"/>
                <a:gd name="connsiteX307" fmla="*/ 215394 w 397940"/>
                <a:gd name="connsiteY307" fmla="*/ 163793 h 225957"/>
                <a:gd name="connsiteX308" fmla="*/ 213332 w 397940"/>
                <a:gd name="connsiteY308" fmla="*/ 164297 h 225957"/>
                <a:gd name="connsiteX309" fmla="*/ 210622 w 397940"/>
                <a:gd name="connsiteY309" fmla="*/ 163997 h 225957"/>
                <a:gd name="connsiteX310" fmla="*/ 207860 w 397940"/>
                <a:gd name="connsiteY310" fmla="*/ 163376 h 225957"/>
                <a:gd name="connsiteX311" fmla="*/ 208551 w 397940"/>
                <a:gd name="connsiteY311" fmla="*/ 160245 h 225957"/>
                <a:gd name="connsiteX312" fmla="*/ 207080 w 397940"/>
                <a:gd name="connsiteY312" fmla="*/ 161328 h 225957"/>
                <a:gd name="connsiteX313" fmla="*/ 205003 w 397940"/>
                <a:gd name="connsiteY313" fmla="*/ 164375 h 225957"/>
                <a:gd name="connsiteX314" fmla="*/ 203176 w 397940"/>
                <a:gd name="connsiteY314" fmla="*/ 164829 h 225957"/>
                <a:gd name="connsiteX315" fmla="*/ 199119 w 397940"/>
                <a:gd name="connsiteY315" fmla="*/ 164496 h 225957"/>
                <a:gd name="connsiteX316" fmla="*/ 191589 w 397940"/>
                <a:gd name="connsiteY316" fmla="*/ 166510 h 225957"/>
                <a:gd name="connsiteX317" fmla="*/ 191071 w 397940"/>
                <a:gd name="connsiteY317" fmla="*/ 168702 h 225957"/>
                <a:gd name="connsiteX318" fmla="*/ 189939 w 397940"/>
                <a:gd name="connsiteY318" fmla="*/ 171665 h 225957"/>
                <a:gd name="connsiteX319" fmla="*/ 188847 w 397940"/>
                <a:gd name="connsiteY319" fmla="*/ 173389 h 225957"/>
                <a:gd name="connsiteX320" fmla="*/ 188503 w 397940"/>
                <a:gd name="connsiteY320" fmla="*/ 174428 h 225957"/>
                <a:gd name="connsiteX321" fmla="*/ 185292 w 397940"/>
                <a:gd name="connsiteY321" fmla="*/ 178886 h 225957"/>
                <a:gd name="connsiteX322" fmla="*/ 184882 w 397940"/>
                <a:gd name="connsiteY322" fmla="*/ 179307 h 225957"/>
                <a:gd name="connsiteX323" fmla="*/ 178825 w 397940"/>
                <a:gd name="connsiteY323" fmla="*/ 185475 h 225957"/>
                <a:gd name="connsiteX324" fmla="*/ 178054 w 397940"/>
                <a:gd name="connsiteY324" fmla="*/ 185938 h 225957"/>
                <a:gd name="connsiteX325" fmla="*/ 174128 w 397940"/>
                <a:gd name="connsiteY325" fmla="*/ 187371 h 225957"/>
                <a:gd name="connsiteX326" fmla="*/ 171807 w 397940"/>
                <a:gd name="connsiteY326" fmla="*/ 188626 h 225957"/>
                <a:gd name="connsiteX327" fmla="*/ 170028 w 397940"/>
                <a:gd name="connsiteY327" fmla="*/ 189186 h 225957"/>
                <a:gd name="connsiteX328" fmla="*/ 167017 w 397940"/>
                <a:gd name="connsiteY328" fmla="*/ 188563 h 225957"/>
                <a:gd name="connsiteX329" fmla="*/ 165765 w 397940"/>
                <a:gd name="connsiteY329" fmla="*/ 189451 h 225957"/>
                <a:gd name="connsiteX330" fmla="*/ 165173 w 397940"/>
                <a:gd name="connsiteY330" fmla="*/ 190550 h 225957"/>
                <a:gd name="connsiteX331" fmla="*/ 165162 w 397940"/>
                <a:gd name="connsiteY331" fmla="*/ 192821 h 225957"/>
                <a:gd name="connsiteX332" fmla="*/ 166691 w 397940"/>
                <a:gd name="connsiteY332" fmla="*/ 194452 h 225957"/>
                <a:gd name="connsiteX333" fmla="*/ 167944 w 397940"/>
                <a:gd name="connsiteY333" fmla="*/ 199870 h 225957"/>
                <a:gd name="connsiteX334" fmla="*/ 167477 w 397940"/>
                <a:gd name="connsiteY334" fmla="*/ 202156 h 225957"/>
                <a:gd name="connsiteX335" fmla="*/ 166285 w 397940"/>
                <a:gd name="connsiteY335" fmla="*/ 200676 h 225957"/>
                <a:gd name="connsiteX336" fmla="*/ 164422 w 397940"/>
                <a:gd name="connsiteY336" fmla="*/ 199116 h 225957"/>
                <a:gd name="connsiteX337" fmla="*/ 160796 w 397940"/>
                <a:gd name="connsiteY337" fmla="*/ 197775 h 225957"/>
                <a:gd name="connsiteX338" fmla="*/ 156812 w 397940"/>
                <a:gd name="connsiteY338" fmla="*/ 198234 h 225957"/>
                <a:gd name="connsiteX339" fmla="*/ 152476 w 397940"/>
                <a:gd name="connsiteY339" fmla="*/ 200494 h 225957"/>
                <a:gd name="connsiteX340" fmla="*/ 149533 w 397940"/>
                <a:gd name="connsiteY340" fmla="*/ 201334 h 225957"/>
                <a:gd name="connsiteX341" fmla="*/ 147984 w 397940"/>
                <a:gd name="connsiteY341" fmla="*/ 200754 h 225957"/>
                <a:gd name="connsiteX342" fmla="*/ 147043 w 397940"/>
                <a:gd name="connsiteY342" fmla="*/ 200787 h 225957"/>
                <a:gd name="connsiteX343" fmla="*/ 146708 w 397940"/>
                <a:gd name="connsiteY343" fmla="*/ 201435 h 225957"/>
                <a:gd name="connsiteX344" fmla="*/ 146780 w 397940"/>
                <a:gd name="connsiteY344" fmla="*/ 201965 h 225957"/>
                <a:gd name="connsiteX345" fmla="*/ 147257 w 397940"/>
                <a:gd name="connsiteY345" fmla="*/ 202376 h 225957"/>
                <a:gd name="connsiteX346" fmla="*/ 147187 w 397940"/>
                <a:gd name="connsiteY346" fmla="*/ 202676 h 225957"/>
                <a:gd name="connsiteX347" fmla="*/ 146579 w 397940"/>
                <a:gd name="connsiteY347" fmla="*/ 202863 h 225957"/>
                <a:gd name="connsiteX348" fmla="*/ 139736 w 397940"/>
                <a:gd name="connsiteY348" fmla="*/ 201272 h 225957"/>
                <a:gd name="connsiteX349" fmla="*/ 136782 w 397940"/>
                <a:gd name="connsiteY349" fmla="*/ 199766 h 225957"/>
                <a:gd name="connsiteX350" fmla="*/ 134456 w 397940"/>
                <a:gd name="connsiteY350" fmla="*/ 196930 h 225957"/>
                <a:gd name="connsiteX351" fmla="*/ 135613 w 397940"/>
                <a:gd name="connsiteY351" fmla="*/ 196012 h 225957"/>
                <a:gd name="connsiteX352" fmla="*/ 136620 w 397940"/>
                <a:gd name="connsiteY352" fmla="*/ 195608 h 225957"/>
                <a:gd name="connsiteX353" fmla="*/ 140181 w 397940"/>
                <a:gd name="connsiteY353" fmla="*/ 195372 h 225957"/>
                <a:gd name="connsiteX354" fmla="*/ 140792 w 397940"/>
                <a:gd name="connsiteY354" fmla="*/ 195082 h 225957"/>
                <a:gd name="connsiteX355" fmla="*/ 140852 w 397940"/>
                <a:gd name="connsiteY355" fmla="*/ 194427 h 225957"/>
                <a:gd name="connsiteX356" fmla="*/ 141118 w 397940"/>
                <a:gd name="connsiteY356" fmla="*/ 193579 h 225957"/>
                <a:gd name="connsiteX357" fmla="*/ 141023 w 397940"/>
                <a:gd name="connsiteY357" fmla="*/ 192330 h 225957"/>
                <a:gd name="connsiteX358" fmla="*/ 140627 w 397940"/>
                <a:gd name="connsiteY358" fmla="*/ 191011 h 225957"/>
                <a:gd name="connsiteX359" fmla="*/ 142191 w 397940"/>
                <a:gd name="connsiteY359" fmla="*/ 189084 h 225957"/>
                <a:gd name="connsiteX360" fmla="*/ 144519 w 397940"/>
                <a:gd name="connsiteY360" fmla="*/ 187484 h 225957"/>
                <a:gd name="connsiteX361" fmla="*/ 145883 w 397940"/>
                <a:gd name="connsiteY361" fmla="*/ 185881 h 225957"/>
                <a:gd name="connsiteX362" fmla="*/ 146093 w 397940"/>
                <a:gd name="connsiteY362" fmla="*/ 183532 h 225957"/>
                <a:gd name="connsiteX363" fmla="*/ 148542 w 397940"/>
                <a:gd name="connsiteY363" fmla="*/ 182387 h 225957"/>
                <a:gd name="connsiteX364" fmla="*/ 150714 w 397940"/>
                <a:gd name="connsiteY364" fmla="*/ 180418 h 225957"/>
                <a:gd name="connsiteX365" fmla="*/ 151247 w 397940"/>
                <a:gd name="connsiteY365" fmla="*/ 178270 h 225957"/>
                <a:gd name="connsiteX366" fmla="*/ 152007 w 397940"/>
                <a:gd name="connsiteY366" fmla="*/ 176920 h 225957"/>
                <a:gd name="connsiteX367" fmla="*/ 150625 w 397940"/>
                <a:gd name="connsiteY367" fmla="*/ 173821 h 225957"/>
                <a:gd name="connsiteX368" fmla="*/ 150334 w 397940"/>
                <a:gd name="connsiteY368" fmla="*/ 171775 h 225957"/>
                <a:gd name="connsiteX369" fmla="*/ 150265 w 397940"/>
                <a:gd name="connsiteY369" fmla="*/ 170059 h 225957"/>
                <a:gd name="connsiteX370" fmla="*/ 150949 w 397940"/>
                <a:gd name="connsiteY370" fmla="*/ 169105 h 225957"/>
                <a:gd name="connsiteX371" fmla="*/ 152973 w 397940"/>
                <a:gd name="connsiteY371" fmla="*/ 168036 h 225957"/>
                <a:gd name="connsiteX372" fmla="*/ 155104 w 397940"/>
                <a:gd name="connsiteY372" fmla="*/ 167207 h 225957"/>
                <a:gd name="connsiteX373" fmla="*/ 155987 w 397940"/>
                <a:gd name="connsiteY373" fmla="*/ 167288 h 225957"/>
                <a:gd name="connsiteX374" fmla="*/ 156309 w 397940"/>
                <a:gd name="connsiteY374" fmla="*/ 167816 h 225957"/>
                <a:gd name="connsiteX375" fmla="*/ 156393 w 397940"/>
                <a:gd name="connsiteY375" fmla="*/ 171301 h 225957"/>
                <a:gd name="connsiteX376" fmla="*/ 156819 w 397940"/>
                <a:gd name="connsiteY376" fmla="*/ 171367 h 225957"/>
                <a:gd name="connsiteX377" fmla="*/ 157499 w 397940"/>
                <a:gd name="connsiteY377" fmla="*/ 170933 h 225957"/>
                <a:gd name="connsiteX378" fmla="*/ 158611 w 397940"/>
                <a:gd name="connsiteY378" fmla="*/ 168881 h 225957"/>
                <a:gd name="connsiteX379" fmla="*/ 159377 w 397940"/>
                <a:gd name="connsiteY379" fmla="*/ 169478 h 225957"/>
                <a:gd name="connsiteX380" fmla="*/ 160556 w 397940"/>
                <a:gd name="connsiteY380" fmla="*/ 169705 h 225957"/>
                <a:gd name="connsiteX381" fmla="*/ 161440 w 397940"/>
                <a:gd name="connsiteY381" fmla="*/ 169176 h 225957"/>
                <a:gd name="connsiteX382" fmla="*/ 162014 w 397940"/>
                <a:gd name="connsiteY382" fmla="*/ 169237 h 225957"/>
                <a:gd name="connsiteX383" fmla="*/ 162726 w 397940"/>
                <a:gd name="connsiteY383" fmla="*/ 169767 h 225957"/>
                <a:gd name="connsiteX384" fmla="*/ 164143 w 397940"/>
                <a:gd name="connsiteY384" fmla="*/ 170513 h 225957"/>
                <a:gd name="connsiteX385" fmla="*/ 165467 w 397940"/>
                <a:gd name="connsiteY385" fmla="*/ 170761 h 225957"/>
                <a:gd name="connsiteX386" fmla="*/ 166564 w 397940"/>
                <a:gd name="connsiteY386" fmla="*/ 170264 h 225957"/>
                <a:gd name="connsiteX387" fmla="*/ 167499 w 397940"/>
                <a:gd name="connsiteY387" fmla="*/ 169377 h 225957"/>
                <a:gd name="connsiteX388" fmla="*/ 168497 w 397940"/>
                <a:gd name="connsiteY388" fmla="*/ 169680 h 225957"/>
                <a:gd name="connsiteX389" fmla="*/ 170397 w 397940"/>
                <a:gd name="connsiteY389" fmla="*/ 172100 h 225957"/>
                <a:gd name="connsiteX390" fmla="*/ 171284 w 397940"/>
                <a:gd name="connsiteY390" fmla="*/ 171832 h 225957"/>
                <a:gd name="connsiteX391" fmla="*/ 175655 w 397940"/>
                <a:gd name="connsiteY391" fmla="*/ 171343 h 225957"/>
                <a:gd name="connsiteX392" fmla="*/ 176359 w 397940"/>
                <a:gd name="connsiteY392" fmla="*/ 170685 h 225957"/>
                <a:gd name="connsiteX393" fmla="*/ 176879 w 397940"/>
                <a:gd name="connsiteY393" fmla="*/ 170088 h 225957"/>
                <a:gd name="connsiteX394" fmla="*/ 172308 w 397940"/>
                <a:gd name="connsiteY394" fmla="*/ 166875 h 225957"/>
                <a:gd name="connsiteX395" fmla="*/ 172539 w 397940"/>
                <a:gd name="connsiteY395" fmla="*/ 164481 h 225957"/>
                <a:gd name="connsiteX396" fmla="*/ 172710 w 397940"/>
                <a:gd name="connsiteY396" fmla="*/ 161734 h 225957"/>
                <a:gd name="connsiteX397" fmla="*/ 172170 w 397940"/>
                <a:gd name="connsiteY397" fmla="*/ 160102 h 225957"/>
                <a:gd name="connsiteX398" fmla="*/ 171280 w 397940"/>
                <a:gd name="connsiteY398" fmla="*/ 158807 h 225957"/>
                <a:gd name="connsiteX399" fmla="*/ 167784 w 397940"/>
                <a:gd name="connsiteY399" fmla="*/ 157302 h 225957"/>
                <a:gd name="connsiteX400" fmla="*/ 165087 w 397940"/>
                <a:gd name="connsiteY400" fmla="*/ 155743 h 225957"/>
                <a:gd name="connsiteX401" fmla="*/ 164517 w 397940"/>
                <a:gd name="connsiteY401" fmla="*/ 155040 h 225957"/>
                <a:gd name="connsiteX402" fmla="*/ 164443 w 397940"/>
                <a:gd name="connsiteY402" fmla="*/ 154128 h 225957"/>
                <a:gd name="connsiteX403" fmla="*/ 164329 w 397940"/>
                <a:gd name="connsiteY403" fmla="*/ 152710 h 225957"/>
                <a:gd name="connsiteX404" fmla="*/ 163258 w 397940"/>
                <a:gd name="connsiteY404" fmla="*/ 151492 h 225957"/>
                <a:gd name="connsiteX405" fmla="*/ 163167 w 397940"/>
                <a:gd name="connsiteY405" fmla="*/ 150461 h 225957"/>
                <a:gd name="connsiteX406" fmla="*/ 163850 w 397940"/>
                <a:gd name="connsiteY406" fmla="*/ 148853 h 225957"/>
                <a:gd name="connsiteX407" fmla="*/ 164016 w 397940"/>
                <a:gd name="connsiteY407" fmla="*/ 147139 h 225957"/>
                <a:gd name="connsiteX408" fmla="*/ 163791 w 397940"/>
                <a:gd name="connsiteY408" fmla="*/ 146462 h 225957"/>
                <a:gd name="connsiteX409" fmla="*/ 163161 w 397940"/>
                <a:gd name="connsiteY409" fmla="*/ 145910 h 225957"/>
                <a:gd name="connsiteX410" fmla="*/ 161945 w 397940"/>
                <a:gd name="connsiteY410" fmla="*/ 145856 h 225957"/>
                <a:gd name="connsiteX411" fmla="*/ 160347 w 397940"/>
                <a:gd name="connsiteY411" fmla="*/ 144865 h 225957"/>
                <a:gd name="connsiteX412" fmla="*/ 159250 w 397940"/>
                <a:gd name="connsiteY412" fmla="*/ 143529 h 225957"/>
                <a:gd name="connsiteX413" fmla="*/ 156305 w 397940"/>
                <a:gd name="connsiteY413" fmla="*/ 141602 h 225957"/>
                <a:gd name="connsiteX414" fmla="*/ 155402 w 397940"/>
                <a:gd name="connsiteY414" fmla="*/ 141288 h 225957"/>
                <a:gd name="connsiteX415" fmla="*/ 154851 w 397940"/>
                <a:gd name="connsiteY415" fmla="*/ 140333 h 225957"/>
                <a:gd name="connsiteX416" fmla="*/ 154588 w 397940"/>
                <a:gd name="connsiteY416" fmla="*/ 139192 h 225957"/>
                <a:gd name="connsiteX417" fmla="*/ 155206 w 397940"/>
                <a:gd name="connsiteY417" fmla="*/ 137774 h 225957"/>
                <a:gd name="connsiteX418" fmla="*/ 155983 w 397940"/>
                <a:gd name="connsiteY418" fmla="*/ 135590 h 225957"/>
                <a:gd name="connsiteX419" fmla="*/ 156529 w 397940"/>
                <a:gd name="connsiteY419" fmla="*/ 133539 h 225957"/>
                <a:gd name="connsiteX420" fmla="*/ 156538 w 397940"/>
                <a:gd name="connsiteY420" fmla="*/ 132316 h 225957"/>
                <a:gd name="connsiteX421" fmla="*/ 156177 w 397940"/>
                <a:gd name="connsiteY421" fmla="*/ 129290 h 225957"/>
                <a:gd name="connsiteX422" fmla="*/ 154642 w 397940"/>
                <a:gd name="connsiteY422" fmla="*/ 126975 h 225957"/>
                <a:gd name="connsiteX423" fmla="*/ 153925 w 397940"/>
                <a:gd name="connsiteY423" fmla="*/ 126668 h 225957"/>
                <a:gd name="connsiteX424" fmla="*/ 152686 w 397940"/>
                <a:gd name="connsiteY424" fmla="*/ 127320 h 225957"/>
                <a:gd name="connsiteX425" fmla="*/ 151279 w 397940"/>
                <a:gd name="connsiteY425" fmla="*/ 127865 h 225957"/>
                <a:gd name="connsiteX426" fmla="*/ 150170 w 397940"/>
                <a:gd name="connsiteY426" fmla="*/ 127354 h 225957"/>
                <a:gd name="connsiteX427" fmla="*/ 148902 w 397940"/>
                <a:gd name="connsiteY427" fmla="*/ 126098 h 225957"/>
                <a:gd name="connsiteX428" fmla="*/ 146868 w 397940"/>
                <a:gd name="connsiteY428" fmla="*/ 122599 h 225957"/>
                <a:gd name="connsiteX429" fmla="*/ 143061 w 397940"/>
                <a:gd name="connsiteY429" fmla="*/ 121898 h 225957"/>
                <a:gd name="connsiteX430" fmla="*/ 141487 w 397940"/>
                <a:gd name="connsiteY430" fmla="*/ 121731 h 225957"/>
                <a:gd name="connsiteX431" fmla="*/ 139997 w 397940"/>
                <a:gd name="connsiteY431" fmla="*/ 123420 h 225957"/>
                <a:gd name="connsiteX432" fmla="*/ 139531 w 397940"/>
                <a:gd name="connsiteY432" fmla="*/ 122907 h 225957"/>
                <a:gd name="connsiteX433" fmla="*/ 139112 w 397940"/>
                <a:gd name="connsiteY433" fmla="*/ 121828 h 225957"/>
                <a:gd name="connsiteX434" fmla="*/ 138326 w 397940"/>
                <a:gd name="connsiteY434" fmla="*/ 121397 h 225957"/>
                <a:gd name="connsiteX435" fmla="*/ 137287 w 397940"/>
                <a:gd name="connsiteY435" fmla="*/ 121897 h 225957"/>
                <a:gd name="connsiteX436" fmla="*/ 136987 w 397940"/>
                <a:gd name="connsiteY436" fmla="*/ 121416 h 225957"/>
                <a:gd name="connsiteX437" fmla="*/ 137434 w 397940"/>
                <a:gd name="connsiteY437" fmla="*/ 119957 h 225957"/>
                <a:gd name="connsiteX438" fmla="*/ 136192 w 397940"/>
                <a:gd name="connsiteY438" fmla="*/ 119235 h 225957"/>
                <a:gd name="connsiteX439" fmla="*/ 133268 w 397940"/>
                <a:gd name="connsiteY439" fmla="*/ 119251 h 225957"/>
                <a:gd name="connsiteX440" fmla="*/ 131714 w 397940"/>
                <a:gd name="connsiteY440" fmla="*/ 118713 h 225957"/>
                <a:gd name="connsiteX441" fmla="*/ 131528 w 397940"/>
                <a:gd name="connsiteY441" fmla="*/ 117615 h 225957"/>
                <a:gd name="connsiteX442" fmla="*/ 130608 w 397940"/>
                <a:gd name="connsiteY442" fmla="*/ 116894 h 225957"/>
                <a:gd name="connsiteX443" fmla="*/ 128947 w 397940"/>
                <a:gd name="connsiteY443" fmla="*/ 116547 h 225957"/>
                <a:gd name="connsiteX444" fmla="*/ 127339 w 397940"/>
                <a:gd name="connsiteY444" fmla="*/ 115649 h 225957"/>
                <a:gd name="connsiteX445" fmla="*/ 125778 w 397940"/>
                <a:gd name="connsiteY445" fmla="*/ 114203 h 225957"/>
                <a:gd name="connsiteX446" fmla="*/ 123443 w 397940"/>
                <a:gd name="connsiteY446" fmla="*/ 113260 h 225957"/>
                <a:gd name="connsiteX447" fmla="*/ 120331 w 397940"/>
                <a:gd name="connsiteY447" fmla="*/ 112824 h 225957"/>
                <a:gd name="connsiteX448" fmla="*/ 120077 w 397940"/>
                <a:gd name="connsiteY448" fmla="*/ 112668 h 225957"/>
                <a:gd name="connsiteX449" fmla="*/ 119790 w 397940"/>
                <a:gd name="connsiteY449" fmla="*/ 112460 h 225957"/>
                <a:gd name="connsiteX450" fmla="*/ 117781 w 397940"/>
                <a:gd name="connsiteY450" fmla="*/ 113443 h 225957"/>
                <a:gd name="connsiteX451" fmla="*/ 116574 w 397940"/>
                <a:gd name="connsiteY451" fmla="*/ 114221 h 225957"/>
                <a:gd name="connsiteX452" fmla="*/ 115095 w 397940"/>
                <a:gd name="connsiteY452" fmla="*/ 113737 h 225957"/>
                <a:gd name="connsiteX453" fmla="*/ 112698 w 397940"/>
                <a:gd name="connsiteY453" fmla="*/ 115473 h 225957"/>
                <a:gd name="connsiteX454" fmla="*/ 107833 w 397940"/>
                <a:gd name="connsiteY454" fmla="*/ 115563 h 225957"/>
                <a:gd name="connsiteX455" fmla="*/ 105447 w 397940"/>
                <a:gd name="connsiteY455" fmla="*/ 115459 h 225957"/>
                <a:gd name="connsiteX456" fmla="*/ 104263 w 397940"/>
                <a:gd name="connsiteY456" fmla="*/ 115028 h 225957"/>
                <a:gd name="connsiteX457" fmla="*/ 99694 w 397940"/>
                <a:gd name="connsiteY457" fmla="*/ 117662 h 225957"/>
                <a:gd name="connsiteX458" fmla="*/ 99219 w 397940"/>
                <a:gd name="connsiteY458" fmla="*/ 118632 h 225957"/>
                <a:gd name="connsiteX459" fmla="*/ 98191 w 397940"/>
                <a:gd name="connsiteY459" fmla="*/ 118955 h 225957"/>
                <a:gd name="connsiteX460" fmla="*/ 95315 w 397940"/>
                <a:gd name="connsiteY460" fmla="*/ 119478 h 225957"/>
                <a:gd name="connsiteX461" fmla="*/ 92292 w 397940"/>
                <a:gd name="connsiteY461" fmla="*/ 120220 h 225957"/>
                <a:gd name="connsiteX462" fmla="*/ 91657 w 397940"/>
                <a:gd name="connsiteY462" fmla="*/ 122778 h 225957"/>
                <a:gd name="connsiteX463" fmla="*/ 90756 w 397940"/>
                <a:gd name="connsiteY463" fmla="*/ 124159 h 225957"/>
                <a:gd name="connsiteX464" fmla="*/ 89131 w 397940"/>
                <a:gd name="connsiteY464" fmla="*/ 126186 h 225957"/>
                <a:gd name="connsiteX465" fmla="*/ 83514 w 397940"/>
                <a:gd name="connsiteY465" fmla="*/ 126890 h 225957"/>
                <a:gd name="connsiteX466" fmla="*/ 78662 w 397940"/>
                <a:gd name="connsiteY466" fmla="*/ 127880 h 225957"/>
                <a:gd name="connsiteX467" fmla="*/ 73687 w 397940"/>
                <a:gd name="connsiteY467" fmla="*/ 128491 h 225957"/>
                <a:gd name="connsiteX468" fmla="*/ 67171 w 397940"/>
                <a:gd name="connsiteY468" fmla="*/ 130962 h 225957"/>
                <a:gd name="connsiteX469" fmla="*/ 65053 w 397940"/>
                <a:gd name="connsiteY469" fmla="*/ 133140 h 225957"/>
                <a:gd name="connsiteX470" fmla="*/ 62959 w 397940"/>
                <a:gd name="connsiteY470" fmla="*/ 133747 h 225957"/>
                <a:gd name="connsiteX471" fmla="*/ 61063 w 397940"/>
                <a:gd name="connsiteY471" fmla="*/ 133926 h 225957"/>
                <a:gd name="connsiteX472" fmla="*/ 59836 w 397940"/>
                <a:gd name="connsiteY472" fmla="*/ 132714 h 225957"/>
                <a:gd name="connsiteX473" fmla="*/ 55703 w 397940"/>
                <a:gd name="connsiteY473" fmla="*/ 129457 h 225957"/>
                <a:gd name="connsiteX474" fmla="*/ 54109 w 397940"/>
                <a:gd name="connsiteY474" fmla="*/ 127920 h 225957"/>
                <a:gd name="connsiteX475" fmla="*/ 52013 w 397940"/>
                <a:gd name="connsiteY475" fmla="*/ 127467 h 225957"/>
                <a:gd name="connsiteX476" fmla="*/ 49733 w 397940"/>
                <a:gd name="connsiteY476" fmla="*/ 127723 h 225957"/>
                <a:gd name="connsiteX477" fmla="*/ 47543 w 397940"/>
                <a:gd name="connsiteY477" fmla="*/ 128480 h 225957"/>
                <a:gd name="connsiteX478" fmla="*/ 45239 w 397940"/>
                <a:gd name="connsiteY478" fmla="*/ 128625 h 225957"/>
                <a:gd name="connsiteX479" fmla="*/ 42630 w 397940"/>
                <a:gd name="connsiteY479" fmla="*/ 127533 h 225957"/>
                <a:gd name="connsiteX480" fmla="*/ 42356 w 397940"/>
                <a:gd name="connsiteY480" fmla="*/ 127639 h 225957"/>
                <a:gd name="connsiteX481" fmla="*/ 41350 w 397940"/>
                <a:gd name="connsiteY481" fmla="*/ 127786 h 225957"/>
                <a:gd name="connsiteX482" fmla="*/ 34874 w 397940"/>
                <a:gd name="connsiteY482" fmla="*/ 126466 h 225957"/>
                <a:gd name="connsiteX483" fmla="*/ 34278 w 397940"/>
                <a:gd name="connsiteY483" fmla="*/ 126247 h 225957"/>
                <a:gd name="connsiteX484" fmla="*/ 33991 w 397940"/>
                <a:gd name="connsiteY484" fmla="*/ 126192 h 225957"/>
                <a:gd name="connsiteX485" fmla="*/ 33099 w 397940"/>
                <a:gd name="connsiteY485" fmla="*/ 126093 h 225957"/>
                <a:gd name="connsiteX486" fmla="*/ 28223 w 397940"/>
                <a:gd name="connsiteY486" fmla="*/ 126258 h 225957"/>
                <a:gd name="connsiteX487" fmla="*/ 23677 w 397940"/>
                <a:gd name="connsiteY487" fmla="*/ 123589 h 225957"/>
                <a:gd name="connsiteX488" fmla="*/ 22280 w 397940"/>
                <a:gd name="connsiteY488" fmla="*/ 123508 h 225957"/>
                <a:gd name="connsiteX489" fmla="*/ 21205 w 397940"/>
                <a:gd name="connsiteY489" fmla="*/ 124589 h 225957"/>
                <a:gd name="connsiteX490" fmla="*/ 20408 w 397940"/>
                <a:gd name="connsiteY490" fmla="*/ 125791 h 225957"/>
                <a:gd name="connsiteX491" fmla="*/ 17270 w 397940"/>
                <a:gd name="connsiteY491" fmla="*/ 126984 h 225957"/>
                <a:gd name="connsiteX492" fmla="*/ 16469 w 397940"/>
                <a:gd name="connsiteY492" fmla="*/ 127463 h 225957"/>
                <a:gd name="connsiteX493" fmla="*/ 16014 w 397940"/>
                <a:gd name="connsiteY493" fmla="*/ 127095 h 225957"/>
                <a:gd name="connsiteX494" fmla="*/ 15802 w 397940"/>
                <a:gd name="connsiteY494" fmla="*/ 126058 h 225957"/>
                <a:gd name="connsiteX495" fmla="*/ 16040 w 397940"/>
                <a:gd name="connsiteY495" fmla="*/ 125141 h 225957"/>
                <a:gd name="connsiteX496" fmla="*/ 15575 w 397940"/>
                <a:gd name="connsiteY496" fmla="*/ 124273 h 225957"/>
                <a:gd name="connsiteX497" fmla="*/ 14381 w 397940"/>
                <a:gd name="connsiteY497" fmla="*/ 123287 h 225957"/>
                <a:gd name="connsiteX498" fmla="*/ 14092 w 397940"/>
                <a:gd name="connsiteY498" fmla="*/ 122880 h 225957"/>
                <a:gd name="connsiteX499" fmla="*/ 12598 w 397940"/>
                <a:gd name="connsiteY499" fmla="*/ 122954 h 225957"/>
                <a:gd name="connsiteX500" fmla="*/ 12190 w 397940"/>
                <a:gd name="connsiteY500" fmla="*/ 123050 h 225957"/>
                <a:gd name="connsiteX501" fmla="*/ 12040 w 397940"/>
                <a:gd name="connsiteY501" fmla="*/ 123028 h 225957"/>
                <a:gd name="connsiteX502" fmla="*/ 9963 w 397940"/>
                <a:gd name="connsiteY502" fmla="*/ 122191 h 225957"/>
                <a:gd name="connsiteX503" fmla="*/ 8585 w 397940"/>
                <a:gd name="connsiteY503" fmla="*/ 120174 h 225957"/>
                <a:gd name="connsiteX504" fmla="*/ 6456 w 397940"/>
                <a:gd name="connsiteY504" fmla="*/ 119101 h 225957"/>
                <a:gd name="connsiteX505" fmla="*/ 4828 w 397940"/>
                <a:gd name="connsiteY505" fmla="*/ 118740 h 225957"/>
                <a:gd name="connsiteX506" fmla="*/ 4087 w 397940"/>
                <a:gd name="connsiteY506" fmla="*/ 117875 h 225957"/>
                <a:gd name="connsiteX507" fmla="*/ 3610 w 397940"/>
                <a:gd name="connsiteY507" fmla="*/ 116724 h 225957"/>
                <a:gd name="connsiteX508" fmla="*/ 3102 w 397940"/>
                <a:gd name="connsiteY508" fmla="*/ 115854 h 225957"/>
                <a:gd name="connsiteX509" fmla="*/ 3042 w 397940"/>
                <a:gd name="connsiteY509" fmla="*/ 115772 h 225957"/>
                <a:gd name="connsiteX510" fmla="*/ 2695 w 397940"/>
                <a:gd name="connsiteY510" fmla="*/ 114455 h 225957"/>
                <a:gd name="connsiteX511" fmla="*/ 2196 w 397940"/>
                <a:gd name="connsiteY511" fmla="*/ 114319 h 225957"/>
                <a:gd name="connsiteX512" fmla="*/ 2107 w 397940"/>
                <a:gd name="connsiteY512" fmla="*/ 114284 h 225957"/>
                <a:gd name="connsiteX513" fmla="*/ 0 w 397940"/>
                <a:gd name="connsiteY513" fmla="*/ 114513 h 225957"/>
                <a:gd name="connsiteX514" fmla="*/ 244 w 397940"/>
                <a:gd name="connsiteY514" fmla="*/ 109884 h 225957"/>
                <a:gd name="connsiteX515" fmla="*/ 3612 w 397940"/>
                <a:gd name="connsiteY515" fmla="*/ 106550 h 225957"/>
                <a:gd name="connsiteX516" fmla="*/ 4439 w 397940"/>
                <a:gd name="connsiteY516" fmla="*/ 104866 h 225957"/>
                <a:gd name="connsiteX517" fmla="*/ 5696 w 397940"/>
                <a:gd name="connsiteY517" fmla="*/ 101209 h 225957"/>
                <a:gd name="connsiteX518" fmla="*/ 6638 w 397940"/>
                <a:gd name="connsiteY518" fmla="*/ 99497 h 225957"/>
                <a:gd name="connsiteX519" fmla="*/ 7769 w 397940"/>
                <a:gd name="connsiteY519" fmla="*/ 98079 h 225957"/>
                <a:gd name="connsiteX520" fmla="*/ 8674 w 397940"/>
                <a:gd name="connsiteY520" fmla="*/ 96706 h 225957"/>
                <a:gd name="connsiteX521" fmla="*/ 8996 w 397940"/>
                <a:gd name="connsiteY521" fmla="*/ 95526 h 225957"/>
                <a:gd name="connsiteX522" fmla="*/ 9909 w 397940"/>
                <a:gd name="connsiteY522" fmla="*/ 95398 h 225957"/>
                <a:gd name="connsiteX523" fmla="*/ 12591 w 397940"/>
                <a:gd name="connsiteY523" fmla="*/ 96462 h 225957"/>
                <a:gd name="connsiteX524" fmla="*/ 14990 w 397940"/>
                <a:gd name="connsiteY524" fmla="*/ 97009 h 225957"/>
                <a:gd name="connsiteX525" fmla="*/ 15653 w 397940"/>
                <a:gd name="connsiteY525" fmla="*/ 96491 h 225957"/>
                <a:gd name="connsiteX526" fmla="*/ 15925 w 397940"/>
                <a:gd name="connsiteY526" fmla="*/ 95811 h 225957"/>
                <a:gd name="connsiteX527" fmla="*/ 15815 w 397940"/>
                <a:gd name="connsiteY527" fmla="*/ 95282 h 225957"/>
                <a:gd name="connsiteX528" fmla="*/ 13893 w 397940"/>
                <a:gd name="connsiteY528" fmla="*/ 93712 h 225957"/>
                <a:gd name="connsiteX529" fmla="*/ 12688 w 397940"/>
                <a:gd name="connsiteY529" fmla="*/ 92712 h 225957"/>
                <a:gd name="connsiteX530" fmla="*/ 12615 w 397940"/>
                <a:gd name="connsiteY530" fmla="*/ 92097 h 225957"/>
                <a:gd name="connsiteX531" fmla="*/ 13049 w 397940"/>
                <a:gd name="connsiteY531" fmla="*/ 90717 h 225957"/>
                <a:gd name="connsiteX532" fmla="*/ 13280 w 397940"/>
                <a:gd name="connsiteY532" fmla="*/ 89165 h 225957"/>
                <a:gd name="connsiteX533" fmla="*/ 13003 w 397940"/>
                <a:gd name="connsiteY533" fmla="*/ 87486 h 225957"/>
                <a:gd name="connsiteX534" fmla="*/ 11693 w 397940"/>
                <a:gd name="connsiteY534" fmla="*/ 83762 h 225957"/>
                <a:gd name="connsiteX535" fmla="*/ 11444 w 397940"/>
                <a:gd name="connsiteY535" fmla="*/ 82174 h 225957"/>
                <a:gd name="connsiteX536" fmla="*/ 12699 w 397940"/>
                <a:gd name="connsiteY536" fmla="*/ 80244 h 225957"/>
                <a:gd name="connsiteX537" fmla="*/ 16780 w 397940"/>
                <a:gd name="connsiteY537" fmla="*/ 75641 h 225957"/>
                <a:gd name="connsiteX538" fmla="*/ 18141 w 397940"/>
                <a:gd name="connsiteY538" fmla="*/ 73910 h 225957"/>
                <a:gd name="connsiteX539" fmla="*/ 20000 w 397940"/>
                <a:gd name="connsiteY539" fmla="*/ 71815 h 225957"/>
                <a:gd name="connsiteX540" fmla="*/ 25044 w 397940"/>
                <a:gd name="connsiteY540" fmla="*/ 66799 h 225957"/>
                <a:gd name="connsiteX541" fmla="*/ 28232 w 397940"/>
                <a:gd name="connsiteY541" fmla="*/ 63878 h 225957"/>
                <a:gd name="connsiteX542" fmla="*/ 30389 w 397940"/>
                <a:gd name="connsiteY542" fmla="*/ 62260 h 225957"/>
                <a:gd name="connsiteX543" fmla="*/ 33548 w 397940"/>
                <a:gd name="connsiteY543" fmla="*/ 59445 h 225957"/>
                <a:gd name="connsiteX544" fmla="*/ 34934 w 397940"/>
                <a:gd name="connsiteY544" fmla="*/ 57987 h 225957"/>
                <a:gd name="connsiteX545" fmla="*/ 40704 w 397940"/>
                <a:gd name="connsiteY545" fmla="*/ 57038 h 225957"/>
                <a:gd name="connsiteX546" fmla="*/ 41419 w 397940"/>
                <a:gd name="connsiteY546" fmla="*/ 55675 h 225957"/>
                <a:gd name="connsiteX547" fmla="*/ 42473 w 397940"/>
                <a:gd name="connsiteY547" fmla="*/ 54183 h 225957"/>
                <a:gd name="connsiteX548" fmla="*/ 43297 w 397940"/>
                <a:gd name="connsiteY548" fmla="*/ 53543 h 225957"/>
                <a:gd name="connsiteX549" fmla="*/ 43403 w 397940"/>
                <a:gd name="connsiteY549" fmla="*/ 51027 h 225957"/>
                <a:gd name="connsiteX550" fmla="*/ 42332 w 397940"/>
                <a:gd name="connsiteY550" fmla="*/ 47950 h 225957"/>
                <a:gd name="connsiteX551" fmla="*/ 41471 w 397940"/>
                <a:gd name="connsiteY551" fmla="*/ 46862 h 225957"/>
                <a:gd name="connsiteX552" fmla="*/ 40832 w 397940"/>
                <a:gd name="connsiteY552" fmla="*/ 46121 h 225957"/>
                <a:gd name="connsiteX553" fmla="*/ 41244 w 397940"/>
                <a:gd name="connsiteY553" fmla="*/ 45428 h 225957"/>
                <a:gd name="connsiteX554" fmla="*/ 41883 w 397940"/>
                <a:gd name="connsiteY554" fmla="*/ 45231 h 225957"/>
                <a:gd name="connsiteX555" fmla="*/ 42671 w 397940"/>
                <a:gd name="connsiteY555" fmla="*/ 45133 h 225957"/>
                <a:gd name="connsiteX556" fmla="*/ 43647 w 397940"/>
                <a:gd name="connsiteY556" fmla="*/ 44391 h 225957"/>
                <a:gd name="connsiteX557" fmla="*/ 43427 w 397940"/>
                <a:gd name="connsiteY557" fmla="*/ 43581 h 225957"/>
                <a:gd name="connsiteX558" fmla="*/ 40994 w 397940"/>
                <a:gd name="connsiteY558" fmla="*/ 41606 h 225957"/>
                <a:gd name="connsiteX559" fmla="*/ 39940 w 397940"/>
                <a:gd name="connsiteY559" fmla="*/ 40085 h 225957"/>
                <a:gd name="connsiteX560" fmla="*/ 38290 w 397940"/>
                <a:gd name="connsiteY560" fmla="*/ 36177 h 225957"/>
                <a:gd name="connsiteX561" fmla="*/ 34945 w 397940"/>
                <a:gd name="connsiteY561" fmla="*/ 32109 h 225957"/>
                <a:gd name="connsiteX562" fmla="*/ 33889 w 397940"/>
                <a:gd name="connsiteY562" fmla="*/ 30793 h 225957"/>
                <a:gd name="connsiteX563" fmla="*/ 33738 w 397940"/>
                <a:gd name="connsiteY563" fmla="*/ 29548 h 225957"/>
                <a:gd name="connsiteX564" fmla="*/ 34226 w 397940"/>
                <a:gd name="connsiteY564" fmla="*/ 28303 h 225957"/>
                <a:gd name="connsiteX565" fmla="*/ 33766 w 397940"/>
                <a:gd name="connsiteY565" fmla="*/ 26716 h 225957"/>
                <a:gd name="connsiteX566" fmla="*/ 32581 w 397940"/>
                <a:gd name="connsiteY566" fmla="*/ 24690 h 225957"/>
                <a:gd name="connsiteX567" fmla="*/ 32768 w 397940"/>
                <a:gd name="connsiteY567" fmla="*/ 24471 h 225957"/>
                <a:gd name="connsiteX568" fmla="*/ 32654 w 397940"/>
                <a:gd name="connsiteY568" fmla="*/ 21968 h 225957"/>
                <a:gd name="connsiteX569" fmla="*/ 33496 w 397940"/>
                <a:gd name="connsiteY569" fmla="*/ 21427 h 225957"/>
                <a:gd name="connsiteX570" fmla="*/ 34826 w 397940"/>
                <a:gd name="connsiteY570" fmla="*/ 21061 h 225957"/>
                <a:gd name="connsiteX571" fmla="*/ 36703 w 397940"/>
                <a:gd name="connsiteY571" fmla="*/ 21184 h 225957"/>
                <a:gd name="connsiteX572" fmla="*/ 38307 w 397940"/>
                <a:gd name="connsiteY572" fmla="*/ 21571 h 225957"/>
                <a:gd name="connsiteX573" fmla="*/ 40229 w 397940"/>
                <a:gd name="connsiteY573" fmla="*/ 22716 h 225957"/>
                <a:gd name="connsiteX574" fmla="*/ 40829 w 397940"/>
                <a:gd name="connsiteY574" fmla="*/ 22532 h 225957"/>
                <a:gd name="connsiteX575" fmla="*/ 44114 w 397940"/>
                <a:gd name="connsiteY575" fmla="*/ 20373 h 225957"/>
                <a:gd name="connsiteX576" fmla="*/ 47502 w 397940"/>
                <a:gd name="connsiteY576" fmla="*/ 17130 h 225957"/>
                <a:gd name="connsiteX577" fmla="*/ 48467 w 397940"/>
                <a:gd name="connsiteY577" fmla="*/ 15251 h 225957"/>
                <a:gd name="connsiteX578" fmla="*/ 49311 w 397940"/>
                <a:gd name="connsiteY578" fmla="*/ 14392 h 225957"/>
                <a:gd name="connsiteX579" fmla="*/ 52259 w 397940"/>
                <a:gd name="connsiteY579" fmla="*/ 13933 h 225957"/>
                <a:gd name="connsiteX580" fmla="*/ 54826 w 397940"/>
                <a:gd name="connsiteY580" fmla="*/ 13743 h 225957"/>
                <a:gd name="connsiteX581" fmla="*/ 56459 w 397940"/>
                <a:gd name="connsiteY581" fmla="*/ 13779 h 225957"/>
                <a:gd name="connsiteX582" fmla="*/ 60467 w 397940"/>
                <a:gd name="connsiteY582" fmla="*/ 13459 h 225957"/>
                <a:gd name="connsiteX583" fmla="*/ 62842 w 397940"/>
                <a:gd name="connsiteY583" fmla="*/ 13104 h 225957"/>
                <a:gd name="connsiteX584" fmla="*/ 64896 w 397940"/>
                <a:gd name="connsiteY584" fmla="*/ 12531 h 225957"/>
                <a:gd name="connsiteX585" fmla="*/ 69329 w 397940"/>
                <a:gd name="connsiteY585" fmla="*/ 12318 h 225957"/>
                <a:gd name="connsiteX586" fmla="*/ 76252 w 397940"/>
                <a:gd name="connsiteY586" fmla="*/ 12702 h 225957"/>
                <a:gd name="connsiteX587" fmla="*/ 80795 w 397940"/>
                <a:gd name="connsiteY587" fmla="*/ 12729 h 225957"/>
                <a:gd name="connsiteX588" fmla="*/ 83881 w 397940"/>
                <a:gd name="connsiteY588" fmla="*/ 13034 h 225957"/>
                <a:gd name="connsiteX589" fmla="*/ 91439 w 397940"/>
                <a:gd name="connsiteY589" fmla="*/ 14761 h 225957"/>
                <a:gd name="connsiteX590" fmla="*/ 94252 w 397940"/>
                <a:gd name="connsiteY590" fmla="*/ 15074 h 225957"/>
                <a:gd name="connsiteX591" fmla="*/ 95559 w 397940"/>
                <a:gd name="connsiteY591" fmla="*/ 15988 h 225957"/>
                <a:gd name="connsiteX592" fmla="*/ 98068 w 397940"/>
                <a:gd name="connsiteY592" fmla="*/ 16328 h 225957"/>
                <a:gd name="connsiteX593" fmla="*/ 102635 w 397940"/>
                <a:gd name="connsiteY593" fmla="*/ 17248 h 225957"/>
                <a:gd name="connsiteX594" fmla="*/ 106602 w 397940"/>
                <a:gd name="connsiteY594" fmla="*/ 17741 h 225957"/>
                <a:gd name="connsiteX595" fmla="*/ 109284 w 397940"/>
                <a:gd name="connsiteY595" fmla="*/ 17539 h 225957"/>
                <a:gd name="connsiteX596" fmla="*/ 110785 w 397940"/>
                <a:gd name="connsiteY596" fmla="*/ 17798 h 225957"/>
                <a:gd name="connsiteX597" fmla="*/ 113618 w 397940"/>
                <a:gd name="connsiteY597" fmla="*/ 21877 h 225957"/>
                <a:gd name="connsiteX598" fmla="*/ 114196 w 397940"/>
                <a:gd name="connsiteY598" fmla="*/ 22353 h 225957"/>
                <a:gd name="connsiteX599" fmla="*/ 115332 w 397940"/>
                <a:gd name="connsiteY599" fmla="*/ 22449 h 225957"/>
                <a:gd name="connsiteX600" fmla="*/ 117647 w 397940"/>
                <a:gd name="connsiteY600" fmla="*/ 22097 h 225957"/>
                <a:gd name="connsiteX601" fmla="*/ 120943 w 397940"/>
                <a:gd name="connsiteY601" fmla="*/ 22229 h 225957"/>
                <a:gd name="connsiteX602" fmla="*/ 122897 w 397940"/>
                <a:gd name="connsiteY602" fmla="*/ 23088 h 225957"/>
                <a:gd name="connsiteX603" fmla="*/ 122610 w 397940"/>
                <a:gd name="connsiteY603" fmla="*/ 25513 h 225957"/>
                <a:gd name="connsiteX604" fmla="*/ 123123 w 397940"/>
                <a:gd name="connsiteY604" fmla="*/ 25864 h 225957"/>
                <a:gd name="connsiteX605" fmla="*/ 124037 w 397940"/>
                <a:gd name="connsiteY605" fmla="*/ 25729 h 225957"/>
                <a:gd name="connsiteX606" fmla="*/ 125088 w 397940"/>
                <a:gd name="connsiteY606" fmla="*/ 24360 h 225957"/>
                <a:gd name="connsiteX607" fmla="*/ 125972 w 397940"/>
                <a:gd name="connsiteY607" fmla="*/ 22940 h 225957"/>
                <a:gd name="connsiteX608" fmla="*/ 126630 w 397940"/>
                <a:gd name="connsiteY608" fmla="*/ 22501 h 225957"/>
                <a:gd name="connsiteX609" fmla="*/ 129995 w 397940"/>
                <a:gd name="connsiteY609" fmla="*/ 23460 h 225957"/>
                <a:gd name="connsiteX610" fmla="*/ 131532 w 397940"/>
                <a:gd name="connsiteY610" fmla="*/ 23305 h 225957"/>
                <a:gd name="connsiteX611" fmla="*/ 132951 w 397940"/>
                <a:gd name="connsiteY611" fmla="*/ 22228 h 225957"/>
                <a:gd name="connsiteX612" fmla="*/ 133821 w 397940"/>
                <a:gd name="connsiteY612" fmla="*/ 22045 h 225957"/>
                <a:gd name="connsiteX613" fmla="*/ 136205 w 397940"/>
                <a:gd name="connsiteY613" fmla="*/ 22811 h 225957"/>
                <a:gd name="connsiteX614" fmla="*/ 139146 w 397940"/>
                <a:gd name="connsiteY614" fmla="*/ 23347 h 225957"/>
                <a:gd name="connsiteX615" fmla="*/ 141522 w 397940"/>
                <a:gd name="connsiteY615" fmla="*/ 23381 h 225957"/>
                <a:gd name="connsiteX616" fmla="*/ 143003 w 397940"/>
                <a:gd name="connsiteY616" fmla="*/ 23964 h 225957"/>
                <a:gd name="connsiteX617" fmla="*/ 144080 w 397940"/>
                <a:gd name="connsiteY617" fmla="*/ 26494 h 225957"/>
                <a:gd name="connsiteX618" fmla="*/ 145020 w 397940"/>
                <a:gd name="connsiteY618" fmla="*/ 27013 h 225957"/>
                <a:gd name="connsiteX619" fmla="*/ 145927 w 397940"/>
                <a:gd name="connsiteY619" fmla="*/ 27174 h 225957"/>
                <a:gd name="connsiteX620" fmla="*/ 147298 w 397940"/>
                <a:gd name="connsiteY620" fmla="*/ 24913 h 225957"/>
                <a:gd name="connsiteX621" fmla="*/ 148542 w 397940"/>
                <a:gd name="connsiteY621" fmla="*/ 24036 h 225957"/>
                <a:gd name="connsiteX622" fmla="*/ 150267 w 397940"/>
                <a:gd name="connsiteY622" fmla="*/ 23390 h 225957"/>
                <a:gd name="connsiteX623" fmla="*/ 151377 w 397940"/>
                <a:gd name="connsiteY623" fmla="*/ 23107 h 225957"/>
                <a:gd name="connsiteX624" fmla="*/ 152158 w 397940"/>
                <a:gd name="connsiteY624" fmla="*/ 22308 h 225957"/>
                <a:gd name="connsiteX625" fmla="*/ 153212 w 397940"/>
                <a:gd name="connsiteY625" fmla="*/ 21528 h 225957"/>
                <a:gd name="connsiteX626" fmla="*/ 154126 w 397940"/>
                <a:gd name="connsiteY626" fmla="*/ 21466 h 225957"/>
                <a:gd name="connsiteX627" fmla="*/ 154868 w 397940"/>
                <a:gd name="connsiteY627" fmla="*/ 21768 h 225957"/>
                <a:gd name="connsiteX628" fmla="*/ 155721 w 397940"/>
                <a:gd name="connsiteY628" fmla="*/ 22847 h 225957"/>
                <a:gd name="connsiteX629" fmla="*/ 156965 w 397940"/>
                <a:gd name="connsiteY629" fmla="*/ 25305 h 225957"/>
                <a:gd name="connsiteX630" fmla="*/ 158477 w 397940"/>
                <a:gd name="connsiteY630" fmla="*/ 27771 h 225957"/>
                <a:gd name="connsiteX631" fmla="*/ 159531 w 397940"/>
                <a:gd name="connsiteY631" fmla="*/ 28666 h 225957"/>
                <a:gd name="connsiteX632" fmla="*/ 162254 w 397940"/>
                <a:gd name="connsiteY632" fmla="*/ 27909 h 225957"/>
                <a:gd name="connsiteX633" fmla="*/ 164100 w 397940"/>
                <a:gd name="connsiteY633" fmla="*/ 27139 h 225957"/>
                <a:gd name="connsiteX634" fmla="*/ 167482 w 397940"/>
                <a:gd name="connsiteY634" fmla="*/ 26993 h 225957"/>
                <a:gd name="connsiteX635" fmla="*/ 171964 w 397940"/>
                <a:gd name="connsiteY635" fmla="*/ 26451 h 225957"/>
                <a:gd name="connsiteX636" fmla="*/ 175392 w 397940"/>
                <a:gd name="connsiteY636" fmla="*/ 25745 h 225957"/>
                <a:gd name="connsiteX637" fmla="*/ 177536 w 397940"/>
                <a:gd name="connsiteY637" fmla="*/ 25867 h 225957"/>
                <a:gd name="connsiteX638" fmla="*/ 178836 w 397940"/>
                <a:gd name="connsiteY638" fmla="*/ 26650 h 225957"/>
                <a:gd name="connsiteX639" fmla="*/ 180814 w 397940"/>
                <a:gd name="connsiteY639" fmla="*/ 28166 h 225957"/>
                <a:gd name="connsiteX640" fmla="*/ 181354 w 397940"/>
                <a:gd name="connsiteY640" fmla="*/ 30339 h 225957"/>
                <a:gd name="connsiteX641" fmla="*/ 183921 w 397940"/>
                <a:gd name="connsiteY641" fmla="*/ 31841 h 225957"/>
                <a:gd name="connsiteX642" fmla="*/ 186022 w 397940"/>
                <a:gd name="connsiteY642" fmla="*/ 32112 h 225957"/>
                <a:gd name="connsiteX643" fmla="*/ 186739 w 397940"/>
                <a:gd name="connsiteY643" fmla="*/ 30549 h 225957"/>
                <a:gd name="connsiteX644" fmla="*/ 187968 w 397940"/>
                <a:gd name="connsiteY644" fmla="*/ 29462 h 225957"/>
                <a:gd name="connsiteX645" fmla="*/ 187508 w 397940"/>
                <a:gd name="connsiteY645" fmla="*/ 27968 h 225957"/>
                <a:gd name="connsiteX646" fmla="*/ 187301 w 397940"/>
                <a:gd name="connsiteY646" fmla="*/ 26062 h 225957"/>
                <a:gd name="connsiteX647" fmla="*/ 186380 w 397940"/>
                <a:gd name="connsiteY647" fmla="*/ 24291 h 225957"/>
                <a:gd name="connsiteX648" fmla="*/ 185767 w 397940"/>
                <a:gd name="connsiteY648" fmla="*/ 22384 h 225957"/>
                <a:gd name="connsiteX649" fmla="*/ 186892 w 397940"/>
                <a:gd name="connsiteY649" fmla="*/ 19657 h 225957"/>
                <a:gd name="connsiteX650" fmla="*/ 188121 w 397940"/>
                <a:gd name="connsiteY650" fmla="*/ 17267 h 225957"/>
                <a:gd name="connsiteX651" fmla="*/ 188736 w 397940"/>
                <a:gd name="connsiteY651" fmla="*/ 15968 h 225957"/>
                <a:gd name="connsiteX652" fmla="*/ 190682 w 397940"/>
                <a:gd name="connsiteY652" fmla="*/ 13576 h 225957"/>
                <a:gd name="connsiteX653" fmla="*/ 192682 w 397940"/>
                <a:gd name="connsiteY653" fmla="*/ 11865 h 225957"/>
                <a:gd name="connsiteX654" fmla="*/ 195666 w 397940"/>
                <a:gd name="connsiteY654" fmla="*/ 9111 h 225957"/>
                <a:gd name="connsiteX655" fmla="*/ 197847 w 397940"/>
                <a:gd name="connsiteY655" fmla="*/ 8201 h 225957"/>
                <a:gd name="connsiteX656" fmla="*/ 199818 w 397940"/>
                <a:gd name="connsiteY656" fmla="*/ 8616 h 225957"/>
                <a:gd name="connsiteX657" fmla="*/ 200913 w 397940"/>
                <a:gd name="connsiteY657" fmla="*/ 8992 h 225957"/>
                <a:gd name="connsiteX658" fmla="*/ 203744 w 397940"/>
                <a:gd name="connsiteY658" fmla="*/ 7360 h 225957"/>
                <a:gd name="connsiteX659" fmla="*/ 208780 w 397940"/>
                <a:gd name="connsiteY659" fmla="*/ 7279 h 225957"/>
                <a:gd name="connsiteX660" fmla="*/ 212973 w 397940"/>
                <a:gd name="connsiteY660" fmla="*/ 7487 h 225957"/>
                <a:gd name="connsiteX661" fmla="*/ 213394 w 397940"/>
                <a:gd name="connsiteY661" fmla="*/ 7536 h 225957"/>
                <a:gd name="connsiteX662" fmla="*/ 215455 w 397940"/>
                <a:gd name="connsiteY662" fmla="*/ 8380 h 225957"/>
                <a:gd name="connsiteX663" fmla="*/ 217627 w 397940"/>
                <a:gd name="connsiteY663" fmla="*/ 9098 h 225957"/>
                <a:gd name="connsiteX664" fmla="*/ 219125 w 397940"/>
                <a:gd name="connsiteY664" fmla="*/ 9146 h 225957"/>
                <a:gd name="connsiteX665" fmla="*/ 220909 w 397940"/>
                <a:gd name="connsiteY665" fmla="*/ 8981 h 225957"/>
                <a:gd name="connsiteX666" fmla="*/ 223000 w 397940"/>
                <a:gd name="connsiteY666" fmla="*/ 8024 h 225957"/>
                <a:gd name="connsiteX667" fmla="*/ 224459 w 397940"/>
                <a:gd name="connsiteY667" fmla="*/ 7104 h 225957"/>
                <a:gd name="connsiteX668" fmla="*/ 226232 w 397940"/>
                <a:gd name="connsiteY668" fmla="*/ 2418 h 225957"/>
                <a:gd name="connsiteX669" fmla="*/ 226858 w 397940"/>
                <a:gd name="connsiteY669" fmla="*/ 1744 h 225957"/>
                <a:gd name="connsiteX670" fmla="*/ 227834 w 397940"/>
                <a:gd name="connsiteY670" fmla="*/ 1376 h 225957"/>
                <a:gd name="connsiteX671" fmla="*/ 229437 w 397940"/>
                <a:gd name="connsiteY671" fmla="*/ 1337 h 225957"/>
                <a:gd name="connsiteX672" fmla="*/ 232477 w 397940"/>
                <a:gd name="connsiteY672" fmla="*/ 2211 h 225957"/>
                <a:gd name="connsiteX673" fmla="*/ 236038 w 397940"/>
                <a:gd name="connsiteY673" fmla="*/ 2996 h 225957"/>
                <a:gd name="connsiteX674" fmla="*/ 238100 w 397940"/>
                <a:gd name="connsiteY674" fmla="*/ 2886 h 225957"/>
                <a:gd name="connsiteX675" fmla="*/ 243600 w 397940"/>
                <a:gd name="connsiteY675" fmla="*/ 390 h 2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397940" h="225957">
                  <a:moveTo>
                    <a:pt x="207344" y="171473"/>
                  </a:moveTo>
                  <a:lnTo>
                    <a:pt x="209026" y="173412"/>
                  </a:lnTo>
                  <a:lnTo>
                    <a:pt x="210212" y="174260"/>
                  </a:lnTo>
                  <a:lnTo>
                    <a:pt x="218475" y="176160"/>
                  </a:lnTo>
                  <a:lnTo>
                    <a:pt x="221524" y="177522"/>
                  </a:lnTo>
                  <a:lnTo>
                    <a:pt x="218413" y="177159"/>
                  </a:lnTo>
                  <a:lnTo>
                    <a:pt x="211576" y="175879"/>
                  </a:lnTo>
                  <a:lnTo>
                    <a:pt x="208562" y="174670"/>
                  </a:lnTo>
                  <a:lnTo>
                    <a:pt x="207784" y="173318"/>
                  </a:lnTo>
                  <a:close/>
                  <a:moveTo>
                    <a:pt x="246666" y="0"/>
                  </a:moveTo>
                  <a:lnTo>
                    <a:pt x="250309" y="587"/>
                  </a:lnTo>
                  <a:lnTo>
                    <a:pt x="253881" y="622"/>
                  </a:lnTo>
                  <a:lnTo>
                    <a:pt x="256576" y="261"/>
                  </a:lnTo>
                  <a:lnTo>
                    <a:pt x="258424" y="1126"/>
                  </a:lnTo>
                  <a:lnTo>
                    <a:pt x="260707" y="3030"/>
                  </a:lnTo>
                  <a:lnTo>
                    <a:pt x="262769" y="5862"/>
                  </a:lnTo>
                  <a:lnTo>
                    <a:pt x="264930" y="11080"/>
                  </a:lnTo>
                  <a:lnTo>
                    <a:pt x="271227" y="16962"/>
                  </a:lnTo>
                  <a:lnTo>
                    <a:pt x="271335" y="18109"/>
                  </a:lnTo>
                  <a:lnTo>
                    <a:pt x="270817" y="18846"/>
                  </a:lnTo>
                  <a:lnTo>
                    <a:pt x="267718" y="19561"/>
                  </a:lnTo>
                  <a:lnTo>
                    <a:pt x="265107" y="19946"/>
                  </a:lnTo>
                  <a:lnTo>
                    <a:pt x="264982" y="20953"/>
                  </a:lnTo>
                  <a:lnTo>
                    <a:pt x="265675" y="22042"/>
                  </a:lnTo>
                  <a:lnTo>
                    <a:pt x="266872" y="23635"/>
                  </a:lnTo>
                  <a:lnTo>
                    <a:pt x="267057" y="25685"/>
                  </a:lnTo>
                  <a:lnTo>
                    <a:pt x="266997" y="27569"/>
                  </a:lnTo>
                  <a:lnTo>
                    <a:pt x="267513" y="29233"/>
                  </a:lnTo>
                  <a:lnTo>
                    <a:pt x="268511" y="29909"/>
                  </a:lnTo>
                  <a:lnTo>
                    <a:pt x="268636" y="30745"/>
                  </a:lnTo>
                  <a:lnTo>
                    <a:pt x="267481" y="31766"/>
                  </a:lnTo>
                  <a:lnTo>
                    <a:pt x="267159" y="32396"/>
                  </a:lnTo>
                  <a:lnTo>
                    <a:pt x="267608" y="32735"/>
                  </a:lnTo>
                  <a:lnTo>
                    <a:pt x="273287" y="32932"/>
                  </a:lnTo>
                  <a:lnTo>
                    <a:pt x="276068" y="33926"/>
                  </a:lnTo>
                  <a:lnTo>
                    <a:pt x="278180" y="34831"/>
                  </a:lnTo>
                  <a:lnTo>
                    <a:pt x="279243" y="34915"/>
                  </a:lnTo>
                  <a:lnTo>
                    <a:pt x="281635" y="34333"/>
                  </a:lnTo>
                  <a:lnTo>
                    <a:pt x="284326" y="33966"/>
                  </a:lnTo>
                  <a:lnTo>
                    <a:pt x="285958" y="33917"/>
                  </a:lnTo>
                  <a:lnTo>
                    <a:pt x="286589" y="34584"/>
                  </a:lnTo>
                  <a:lnTo>
                    <a:pt x="287092" y="36334"/>
                  </a:lnTo>
                  <a:lnTo>
                    <a:pt x="288038" y="38084"/>
                  </a:lnTo>
                  <a:lnTo>
                    <a:pt x="288921" y="38584"/>
                  </a:lnTo>
                  <a:lnTo>
                    <a:pt x="290493" y="38500"/>
                  </a:lnTo>
                  <a:lnTo>
                    <a:pt x="291439" y="38584"/>
                  </a:lnTo>
                  <a:lnTo>
                    <a:pt x="291944" y="39249"/>
                  </a:lnTo>
                  <a:lnTo>
                    <a:pt x="291376" y="40249"/>
                  </a:lnTo>
                  <a:lnTo>
                    <a:pt x="291502" y="41329"/>
                  </a:lnTo>
                  <a:lnTo>
                    <a:pt x="292195" y="42660"/>
                  </a:lnTo>
                  <a:lnTo>
                    <a:pt x="293015" y="45733"/>
                  </a:lnTo>
                  <a:lnTo>
                    <a:pt x="293771" y="46646"/>
                  </a:lnTo>
                  <a:lnTo>
                    <a:pt x="294274" y="47808"/>
                  </a:lnTo>
                  <a:lnTo>
                    <a:pt x="294274" y="49135"/>
                  </a:lnTo>
                  <a:lnTo>
                    <a:pt x="293644" y="50295"/>
                  </a:lnTo>
                  <a:lnTo>
                    <a:pt x="293203" y="51205"/>
                  </a:lnTo>
                  <a:lnTo>
                    <a:pt x="293644" y="53275"/>
                  </a:lnTo>
                  <a:lnTo>
                    <a:pt x="295343" y="55592"/>
                  </a:lnTo>
                  <a:lnTo>
                    <a:pt x="296604" y="56170"/>
                  </a:lnTo>
                  <a:lnTo>
                    <a:pt x="297613" y="58236"/>
                  </a:lnTo>
                  <a:lnTo>
                    <a:pt x="299439" y="58896"/>
                  </a:lnTo>
                  <a:lnTo>
                    <a:pt x="302147" y="57163"/>
                  </a:lnTo>
                  <a:lnTo>
                    <a:pt x="304227" y="56254"/>
                  </a:lnTo>
                  <a:lnTo>
                    <a:pt x="306827" y="56759"/>
                  </a:lnTo>
                  <a:lnTo>
                    <a:pt x="309228" y="57082"/>
                  </a:lnTo>
                  <a:lnTo>
                    <a:pt x="310843" y="58263"/>
                  </a:lnTo>
                  <a:lnTo>
                    <a:pt x="312035" y="59887"/>
                  </a:lnTo>
                  <a:lnTo>
                    <a:pt x="313422" y="60794"/>
                  </a:lnTo>
                  <a:lnTo>
                    <a:pt x="314810" y="60320"/>
                  </a:lnTo>
                  <a:lnTo>
                    <a:pt x="317706" y="60794"/>
                  </a:lnTo>
                  <a:lnTo>
                    <a:pt x="319029" y="62114"/>
                  </a:lnTo>
                  <a:lnTo>
                    <a:pt x="320351" y="62856"/>
                  </a:lnTo>
                  <a:lnTo>
                    <a:pt x="322052" y="61785"/>
                  </a:lnTo>
                  <a:lnTo>
                    <a:pt x="323439" y="60465"/>
                  </a:lnTo>
                  <a:lnTo>
                    <a:pt x="328511" y="59082"/>
                  </a:lnTo>
                  <a:lnTo>
                    <a:pt x="331668" y="58736"/>
                  </a:lnTo>
                  <a:lnTo>
                    <a:pt x="332549" y="58464"/>
                  </a:lnTo>
                  <a:lnTo>
                    <a:pt x="334402" y="57476"/>
                  </a:lnTo>
                  <a:lnTo>
                    <a:pt x="336354" y="56819"/>
                  </a:lnTo>
                  <a:lnTo>
                    <a:pt x="338116" y="56997"/>
                  </a:lnTo>
                  <a:lnTo>
                    <a:pt x="339852" y="59049"/>
                  </a:lnTo>
                  <a:lnTo>
                    <a:pt x="341643" y="60465"/>
                  </a:lnTo>
                  <a:lnTo>
                    <a:pt x="342146" y="62691"/>
                  </a:lnTo>
                  <a:lnTo>
                    <a:pt x="344337" y="65753"/>
                  </a:lnTo>
                  <a:lnTo>
                    <a:pt x="349779" y="69936"/>
                  </a:lnTo>
                  <a:lnTo>
                    <a:pt x="351915" y="71211"/>
                  </a:lnTo>
                  <a:lnTo>
                    <a:pt x="353366" y="70986"/>
                  </a:lnTo>
                  <a:lnTo>
                    <a:pt x="354124" y="70652"/>
                  </a:lnTo>
                  <a:lnTo>
                    <a:pt x="354476" y="70215"/>
                  </a:lnTo>
                  <a:lnTo>
                    <a:pt x="354804" y="68170"/>
                  </a:lnTo>
                  <a:lnTo>
                    <a:pt x="355493" y="67417"/>
                  </a:lnTo>
                  <a:lnTo>
                    <a:pt x="356596" y="67392"/>
                  </a:lnTo>
                  <a:lnTo>
                    <a:pt x="360855" y="69940"/>
                  </a:lnTo>
                  <a:lnTo>
                    <a:pt x="363083" y="70214"/>
                  </a:lnTo>
                  <a:lnTo>
                    <a:pt x="365201" y="70263"/>
                  </a:lnTo>
                  <a:lnTo>
                    <a:pt x="368052" y="72240"/>
                  </a:lnTo>
                  <a:lnTo>
                    <a:pt x="371185" y="73958"/>
                  </a:lnTo>
                  <a:lnTo>
                    <a:pt x="373603" y="74139"/>
                  </a:lnTo>
                  <a:lnTo>
                    <a:pt x="375532" y="73467"/>
                  </a:lnTo>
                  <a:lnTo>
                    <a:pt x="376856" y="73058"/>
                  </a:lnTo>
                  <a:lnTo>
                    <a:pt x="377674" y="73713"/>
                  </a:lnTo>
                  <a:lnTo>
                    <a:pt x="378430" y="75190"/>
                  </a:lnTo>
                  <a:lnTo>
                    <a:pt x="379689" y="76338"/>
                  </a:lnTo>
                  <a:lnTo>
                    <a:pt x="381138" y="76666"/>
                  </a:lnTo>
                  <a:lnTo>
                    <a:pt x="383223" y="76741"/>
                  </a:lnTo>
                  <a:lnTo>
                    <a:pt x="386845" y="78966"/>
                  </a:lnTo>
                  <a:lnTo>
                    <a:pt x="390250" y="81226"/>
                  </a:lnTo>
                  <a:lnTo>
                    <a:pt x="392379" y="81351"/>
                  </a:lnTo>
                  <a:lnTo>
                    <a:pt x="394185" y="80688"/>
                  </a:lnTo>
                  <a:lnTo>
                    <a:pt x="395780" y="80517"/>
                  </a:lnTo>
                  <a:lnTo>
                    <a:pt x="396886" y="81087"/>
                  </a:lnTo>
                  <a:lnTo>
                    <a:pt x="397201" y="82069"/>
                  </a:lnTo>
                  <a:lnTo>
                    <a:pt x="396381" y="83378"/>
                  </a:lnTo>
                  <a:lnTo>
                    <a:pt x="396381" y="85258"/>
                  </a:lnTo>
                  <a:lnTo>
                    <a:pt x="397892" y="87055"/>
                  </a:lnTo>
                  <a:lnTo>
                    <a:pt x="397940" y="88820"/>
                  </a:lnTo>
                  <a:lnTo>
                    <a:pt x="397508" y="90413"/>
                  </a:lnTo>
                  <a:lnTo>
                    <a:pt x="396651" y="91880"/>
                  </a:lnTo>
                  <a:lnTo>
                    <a:pt x="394580" y="93894"/>
                  </a:lnTo>
                  <a:lnTo>
                    <a:pt x="392664" y="95773"/>
                  </a:lnTo>
                  <a:lnTo>
                    <a:pt x="389784" y="96558"/>
                  </a:lnTo>
                  <a:lnTo>
                    <a:pt x="388171" y="97376"/>
                  </a:lnTo>
                  <a:lnTo>
                    <a:pt x="388594" y="98755"/>
                  </a:lnTo>
                  <a:lnTo>
                    <a:pt x="389648" y="100041"/>
                  </a:lnTo>
                  <a:lnTo>
                    <a:pt x="392090" y="101081"/>
                  </a:lnTo>
                  <a:lnTo>
                    <a:pt x="394863" y="101838"/>
                  </a:lnTo>
                  <a:lnTo>
                    <a:pt x="395182" y="102673"/>
                  </a:lnTo>
                  <a:lnTo>
                    <a:pt x="394759" y="103092"/>
                  </a:lnTo>
                  <a:lnTo>
                    <a:pt x="392982" y="103480"/>
                  </a:lnTo>
                  <a:lnTo>
                    <a:pt x="390522" y="103082"/>
                  </a:lnTo>
                  <a:lnTo>
                    <a:pt x="389704" y="103812"/>
                  </a:lnTo>
                  <a:lnTo>
                    <a:pt x="388570" y="105028"/>
                  </a:lnTo>
                  <a:lnTo>
                    <a:pt x="387815" y="107215"/>
                  </a:lnTo>
                  <a:lnTo>
                    <a:pt x="387246" y="109239"/>
                  </a:lnTo>
                  <a:lnTo>
                    <a:pt x="389916" y="109788"/>
                  </a:lnTo>
                  <a:lnTo>
                    <a:pt x="391468" y="110614"/>
                  </a:lnTo>
                  <a:lnTo>
                    <a:pt x="391952" y="112276"/>
                  </a:lnTo>
                  <a:lnTo>
                    <a:pt x="392507" y="114123"/>
                  </a:lnTo>
                  <a:lnTo>
                    <a:pt x="392667" y="115785"/>
                  </a:lnTo>
                  <a:lnTo>
                    <a:pt x="391783" y="116592"/>
                  </a:lnTo>
                  <a:lnTo>
                    <a:pt x="391730" y="117418"/>
                  </a:lnTo>
                  <a:lnTo>
                    <a:pt x="392146" y="117824"/>
                  </a:lnTo>
                  <a:lnTo>
                    <a:pt x="393293" y="118008"/>
                  </a:lnTo>
                  <a:lnTo>
                    <a:pt x="394172" y="118377"/>
                  </a:lnTo>
                  <a:lnTo>
                    <a:pt x="394241" y="119253"/>
                  </a:lnTo>
                  <a:lnTo>
                    <a:pt x="392561" y="121220"/>
                  </a:lnTo>
                  <a:lnTo>
                    <a:pt x="390989" y="124979"/>
                  </a:lnTo>
                  <a:lnTo>
                    <a:pt x="390144" y="126978"/>
                  </a:lnTo>
                  <a:lnTo>
                    <a:pt x="390209" y="129146"/>
                  </a:lnTo>
                  <a:lnTo>
                    <a:pt x="389263" y="130350"/>
                  </a:lnTo>
                  <a:lnTo>
                    <a:pt x="387551" y="130452"/>
                  </a:lnTo>
                  <a:lnTo>
                    <a:pt x="381636" y="130662"/>
                  </a:lnTo>
                  <a:lnTo>
                    <a:pt x="376495" y="130559"/>
                  </a:lnTo>
                  <a:lnTo>
                    <a:pt x="374269" y="130247"/>
                  </a:lnTo>
                  <a:lnTo>
                    <a:pt x="370785" y="130060"/>
                  </a:lnTo>
                  <a:lnTo>
                    <a:pt x="369060" y="130570"/>
                  </a:lnTo>
                  <a:lnTo>
                    <a:pt x="366776" y="134029"/>
                  </a:lnTo>
                  <a:lnTo>
                    <a:pt x="365044" y="135384"/>
                  </a:lnTo>
                  <a:lnTo>
                    <a:pt x="362176" y="136607"/>
                  </a:lnTo>
                  <a:lnTo>
                    <a:pt x="359034" y="136957"/>
                  </a:lnTo>
                  <a:lnTo>
                    <a:pt x="357233" y="138383"/>
                  </a:lnTo>
                  <a:lnTo>
                    <a:pt x="356601" y="140618"/>
                  </a:lnTo>
                  <a:lnTo>
                    <a:pt x="356551" y="142598"/>
                  </a:lnTo>
                  <a:lnTo>
                    <a:pt x="356257" y="143586"/>
                  </a:lnTo>
                  <a:lnTo>
                    <a:pt x="355575" y="144452"/>
                  </a:lnTo>
                  <a:lnTo>
                    <a:pt x="355331" y="145068"/>
                  </a:lnTo>
                  <a:lnTo>
                    <a:pt x="355477" y="145747"/>
                  </a:lnTo>
                  <a:lnTo>
                    <a:pt x="356208" y="145994"/>
                  </a:lnTo>
                  <a:lnTo>
                    <a:pt x="357086" y="146303"/>
                  </a:lnTo>
                  <a:lnTo>
                    <a:pt x="357086" y="146797"/>
                  </a:lnTo>
                  <a:lnTo>
                    <a:pt x="356745" y="147414"/>
                  </a:lnTo>
                  <a:lnTo>
                    <a:pt x="355769" y="148092"/>
                  </a:lnTo>
                  <a:lnTo>
                    <a:pt x="355331" y="149141"/>
                  </a:lnTo>
                  <a:lnTo>
                    <a:pt x="355430" y="150249"/>
                  </a:lnTo>
                  <a:lnTo>
                    <a:pt x="355618" y="151483"/>
                  </a:lnTo>
                  <a:lnTo>
                    <a:pt x="354821" y="151796"/>
                  </a:lnTo>
                  <a:lnTo>
                    <a:pt x="347091" y="151360"/>
                  </a:lnTo>
                  <a:lnTo>
                    <a:pt x="340781" y="151954"/>
                  </a:lnTo>
                  <a:lnTo>
                    <a:pt x="336281" y="156355"/>
                  </a:lnTo>
                  <a:lnTo>
                    <a:pt x="333599" y="156343"/>
                  </a:lnTo>
                  <a:lnTo>
                    <a:pt x="329818" y="157489"/>
                  </a:lnTo>
                  <a:lnTo>
                    <a:pt x="327263" y="158912"/>
                  </a:lnTo>
                  <a:lnTo>
                    <a:pt x="324229" y="161995"/>
                  </a:lnTo>
                  <a:lnTo>
                    <a:pt x="321882" y="160611"/>
                  </a:lnTo>
                  <a:lnTo>
                    <a:pt x="319010" y="160651"/>
                  </a:lnTo>
                  <a:lnTo>
                    <a:pt x="316207" y="161490"/>
                  </a:lnTo>
                  <a:lnTo>
                    <a:pt x="312834" y="163547"/>
                  </a:lnTo>
                  <a:lnTo>
                    <a:pt x="310958" y="163911"/>
                  </a:lnTo>
                  <a:lnTo>
                    <a:pt x="307205" y="163319"/>
                  </a:lnTo>
                  <a:lnTo>
                    <a:pt x="302832" y="164500"/>
                  </a:lnTo>
                  <a:lnTo>
                    <a:pt x="293391" y="171244"/>
                  </a:lnTo>
                  <a:lnTo>
                    <a:pt x="290217" y="176160"/>
                  </a:lnTo>
                  <a:lnTo>
                    <a:pt x="289061" y="177121"/>
                  </a:lnTo>
                  <a:lnTo>
                    <a:pt x="287468" y="178319"/>
                  </a:lnTo>
                  <a:lnTo>
                    <a:pt x="285764" y="178924"/>
                  </a:lnTo>
                  <a:lnTo>
                    <a:pt x="284864" y="178868"/>
                  </a:lnTo>
                  <a:lnTo>
                    <a:pt x="289357" y="175378"/>
                  </a:lnTo>
                  <a:lnTo>
                    <a:pt x="290737" y="174068"/>
                  </a:lnTo>
                  <a:lnTo>
                    <a:pt x="290975" y="173101"/>
                  </a:lnTo>
                  <a:lnTo>
                    <a:pt x="290998" y="171541"/>
                  </a:lnTo>
                  <a:lnTo>
                    <a:pt x="289636" y="169601"/>
                  </a:lnTo>
                  <a:lnTo>
                    <a:pt x="285958" y="174407"/>
                  </a:lnTo>
                  <a:lnTo>
                    <a:pt x="283868" y="175104"/>
                  </a:lnTo>
                  <a:lnTo>
                    <a:pt x="281216" y="176548"/>
                  </a:lnTo>
                  <a:lnTo>
                    <a:pt x="281087" y="179764"/>
                  </a:lnTo>
                  <a:lnTo>
                    <a:pt x="281387" y="182146"/>
                  </a:lnTo>
                  <a:lnTo>
                    <a:pt x="282477" y="185142"/>
                  </a:lnTo>
                  <a:lnTo>
                    <a:pt x="285047" y="190042"/>
                  </a:lnTo>
                  <a:lnTo>
                    <a:pt x="290295" y="197027"/>
                  </a:lnTo>
                  <a:lnTo>
                    <a:pt x="292810" y="199588"/>
                  </a:lnTo>
                  <a:lnTo>
                    <a:pt x="294659" y="200611"/>
                  </a:lnTo>
                  <a:lnTo>
                    <a:pt x="296881" y="200759"/>
                  </a:lnTo>
                  <a:lnTo>
                    <a:pt x="301147" y="198607"/>
                  </a:lnTo>
                  <a:lnTo>
                    <a:pt x="302972" y="198271"/>
                  </a:lnTo>
                  <a:lnTo>
                    <a:pt x="306939" y="199092"/>
                  </a:lnTo>
                  <a:lnTo>
                    <a:pt x="308360" y="197653"/>
                  </a:lnTo>
                  <a:lnTo>
                    <a:pt x="310424" y="196858"/>
                  </a:lnTo>
                  <a:lnTo>
                    <a:pt x="313074" y="196757"/>
                  </a:lnTo>
                  <a:lnTo>
                    <a:pt x="316097" y="197402"/>
                  </a:lnTo>
                  <a:lnTo>
                    <a:pt x="319368" y="198492"/>
                  </a:lnTo>
                  <a:lnTo>
                    <a:pt x="318025" y="200955"/>
                  </a:lnTo>
                  <a:lnTo>
                    <a:pt x="316622" y="202913"/>
                  </a:lnTo>
                  <a:lnTo>
                    <a:pt x="316127" y="205078"/>
                  </a:lnTo>
                  <a:lnTo>
                    <a:pt x="315352" y="207482"/>
                  </a:lnTo>
                  <a:lnTo>
                    <a:pt x="311737" y="208560"/>
                  </a:lnTo>
                  <a:lnTo>
                    <a:pt x="307865" y="208428"/>
                  </a:lnTo>
                  <a:lnTo>
                    <a:pt x="303782" y="209125"/>
                  </a:lnTo>
                  <a:lnTo>
                    <a:pt x="302311" y="208187"/>
                  </a:lnTo>
                  <a:lnTo>
                    <a:pt x="301335" y="207333"/>
                  </a:lnTo>
                  <a:lnTo>
                    <a:pt x="299524" y="206481"/>
                  </a:lnTo>
                  <a:lnTo>
                    <a:pt x="297135" y="206006"/>
                  </a:lnTo>
                  <a:lnTo>
                    <a:pt x="294991" y="206577"/>
                  </a:lnTo>
                  <a:lnTo>
                    <a:pt x="292454" y="209860"/>
                  </a:lnTo>
                  <a:lnTo>
                    <a:pt x="287965" y="212102"/>
                  </a:lnTo>
                  <a:lnTo>
                    <a:pt x="286481" y="214659"/>
                  </a:lnTo>
                  <a:lnTo>
                    <a:pt x="282061" y="214088"/>
                  </a:lnTo>
                  <a:lnTo>
                    <a:pt x="278282" y="214536"/>
                  </a:lnTo>
                  <a:lnTo>
                    <a:pt x="272821" y="216866"/>
                  </a:lnTo>
                  <a:lnTo>
                    <a:pt x="268660" y="221856"/>
                  </a:lnTo>
                  <a:lnTo>
                    <a:pt x="264075" y="224972"/>
                  </a:lnTo>
                  <a:lnTo>
                    <a:pt x="260439" y="225957"/>
                  </a:lnTo>
                  <a:lnTo>
                    <a:pt x="257027" y="225649"/>
                  </a:lnTo>
                  <a:lnTo>
                    <a:pt x="254820" y="224717"/>
                  </a:lnTo>
                  <a:lnTo>
                    <a:pt x="250283" y="221442"/>
                  </a:lnTo>
                  <a:lnTo>
                    <a:pt x="250549" y="220267"/>
                  </a:lnTo>
                  <a:lnTo>
                    <a:pt x="251182" y="219674"/>
                  </a:lnTo>
                  <a:lnTo>
                    <a:pt x="252039" y="217988"/>
                  </a:lnTo>
                  <a:lnTo>
                    <a:pt x="253855" y="211788"/>
                  </a:lnTo>
                  <a:lnTo>
                    <a:pt x="253611" y="209776"/>
                  </a:lnTo>
                  <a:lnTo>
                    <a:pt x="252594" y="206600"/>
                  </a:lnTo>
                  <a:lnTo>
                    <a:pt x="248996" y="204131"/>
                  </a:lnTo>
                  <a:lnTo>
                    <a:pt x="246100" y="204599"/>
                  </a:lnTo>
                  <a:lnTo>
                    <a:pt x="244451" y="203941"/>
                  </a:lnTo>
                  <a:lnTo>
                    <a:pt x="238519" y="199738"/>
                  </a:lnTo>
                  <a:lnTo>
                    <a:pt x="235291" y="199440"/>
                  </a:lnTo>
                  <a:lnTo>
                    <a:pt x="231723" y="200288"/>
                  </a:lnTo>
                  <a:lnTo>
                    <a:pt x="230408" y="199676"/>
                  </a:lnTo>
                  <a:lnTo>
                    <a:pt x="229439" y="198210"/>
                  </a:lnTo>
                  <a:lnTo>
                    <a:pt x="236515" y="193012"/>
                  </a:lnTo>
                  <a:lnTo>
                    <a:pt x="243464" y="188714"/>
                  </a:lnTo>
                  <a:lnTo>
                    <a:pt x="246511" y="188272"/>
                  </a:lnTo>
                  <a:lnTo>
                    <a:pt x="250627" y="186269"/>
                  </a:lnTo>
                  <a:lnTo>
                    <a:pt x="255019" y="183259"/>
                  </a:lnTo>
                  <a:lnTo>
                    <a:pt x="254397" y="180890"/>
                  </a:lnTo>
                  <a:lnTo>
                    <a:pt x="253455" y="179138"/>
                  </a:lnTo>
                  <a:lnTo>
                    <a:pt x="251348" y="179619"/>
                  </a:lnTo>
                  <a:lnTo>
                    <a:pt x="249823" y="180206"/>
                  </a:lnTo>
                  <a:lnTo>
                    <a:pt x="246144" y="178325"/>
                  </a:lnTo>
                  <a:lnTo>
                    <a:pt x="244790" y="176940"/>
                  </a:lnTo>
                  <a:lnTo>
                    <a:pt x="239031" y="178377"/>
                  </a:lnTo>
                  <a:lnTo>
                    <a:pt x="235826" y="178164"/>
                  </a:lnTo>
                  <a:lnTo>
                    <a:pt x="228748" y="179485"/>
                  </a:lnTo>
                  <a:lnTo>
                    <a:pt x="225500" y="178195"/>
                  </a:lnTo>
                  <a:lnTo>
                    <a:pt x="218996" y="174580"/>
                  </a:lnTo>
                  <a:lnTo>
                    <a:pt x="216551" y="173853"/>
                  </a:lnTo>
                  <a:lnTo>
                    <a:pt x="214474" y="174007"/>
                  </a:lnTo>
                  <a:lnTo>
                    <a:pt x="213340" y="172817"/>
                  </a:lnTo>
                  <a:lnTo>
                    <a:pt x="214731" y="172221"/>
                  </a:lnTo>
                  <a:lnTo>
                    <a:pt x="216346" y="172151"/>
                  </a:lnTo>
                  <a:lnTo>
                    <a:pt x="218022" y="171715"/>
                  </a:lnTo>
                  <a:lnTo>
                    <a:pt x="218495" y="171084"/>
                  </a:lnTo>
                  <a:lnTo>
                    <a:pt x="218394" y="169897"/>
                  </a:lnTo>
                  <a:lnTo>
                    <a:pt x="215016" y="168996"/>
                  </a:lnTo>
                  <a:lnTo>
                    <a:pt x="211874" y="168737"/>
                  </a:lnTo>
                  <a:lnTo>
                    <a:pt x="209883" y="167669"/>
                  </a:lnTo>
                  <a:lnTo>
                    <a:pt x="208363" y="166446"/>
                  </a:lnTo>
                  <a:lnTo>
                    <a:pt x="211926" y="166427"/>
                  </a:lnTo>
                  <a:lnTo>
                    <a:pt x="215506" y="167352"/>
                  </a:lnTo>
                  <a:lnTo>
                    <a:pt x="221112" y="167693"/>
                  </a:lnTo>
                  <a:lnTo>
                    <a:pt x="226195" y="168649"/>
                  </a:lnTo>
                  <a:lnTo>
                    <a:pt x="227469" y="167460"/>
                  </a:lnTo>
                  <a:lnTo>
                    <a:pt x="230423" y="165399"/>
                  </a:lnTo>
                  <a:lnTo>
                    <a:pt x="230987" y="164742"/>
                  </a:lnTo>
                  <a:lnTo>
                    <a:pt x="226035" y="166153"/>
                  </a:lnTo>
                  <a:lnTo>
                    <a:pt x="221019" y="165253"/>
                  </a:lnTo>
                  <a:lnTo>
                    <a:pt x="219186" y="163995"/>
                  </a:lnTo>
                  <a:lnTo>
                    <a:pt x="217637" y="162151"/>
                  </a:lnTo>
                  <a:lnTo>
                    <a:pt x="216987" y="160047"/>
                  </a:lnTo>
                  <a:lnTo>
                    <a:pt x="217411" y="158085"/>
                  </a:lnTo>
                  <a:lnTo>
                    <a:pt x="216869" y="154539"/>
                  </a:lnTo>
                  <a:lnTo>
                    <a:pt x="215215" y="151380"/>
                  </a:lnTo>
                  <a:lnTo>
                    <a:pt x="214628" y="149645"/>
                  </a:lnTo>
                  <a:lnTo>
                    <a:pt x="212880" y="148089"/>
                  </a:lnTo>
                  <a:lnTo>
                    <a:pt x="214599" y="151607"/>
                  </a:lnTo>
                  <a:lnTo>
                    <a:pt x="215241" y="153945"/>
                  </a:lnTo>
                  <a:lnTo>
                    <a:pt x="216275" y="156097"/>
                  </a:lnTo>
                  <a:lnTo>
                    <a:pt x="216031" y="161794"/>
                  </a:lnTo>
                  <a:lnTo>
                    <a:pt x="215394" y="163793"/>
                  </a:lnTo>
                  <a:lnTo>
                    <a:pt x="213332" y="164297"/>
                  </a:lnTo>
                  <a:lnTo>
                    <a:pt x="210622" y="163997"/>
                  </a:lnTo>
                  <a:lnTo>
                    <a:pt x="207860" y="163376"/>
                  </a:lnTo>
                  <a:lnTo>
                    <a:pt x="208551" y="160245"/>
                  </a:lnTo>
                  <a:lnTo>
                    <a:pt x="207080" y="161328"/>
                  </a:lnTo>
                  <a:lnTo>
                    <a:pt x="205003" y="164375"/>
                  </a:lnTo>
                  <a:lnTo>
                    <a:pt x="203176" y="164829"/>
                  </a:lnTo>
                  <a:lnTo>
                    <a:pt x="199119" y="164496"/>
                  </a:lnTo>
                  <a:lnTo>
                    <a:pt x="191589" y="166510"/>
                  </a:lnTo>
                  <a:lnTo>
                    <a:pt x="191071" y="168702"/>
                  </a:lnTo>
                  <a:lnTo>
                    <a:pt x="189939" y="171665"/>
                  </a:lnTo>
                  <a:lnTo>
                    <a:pt x="188847" y="173389"/>
                  </a:lnTo>
                  <a:lnTo>
                    <a:pt x="188503" y="174428"/>
                  </a:lnTo>
                  <a:lnTo>
                    <a:pt x="185292" y="178886"/>
                  </a:lnTo>
                  <a:lnTo>
                    <a:pt x="184882" y="179307"/>
                  </a:lnTo>
                  <a:lnTo>
                    <a:pt x="178825" y="185475"/>
                  </a:lnTo>
                  <a:lnTo>
                    <a:pt x="178054" y="185938"/>
                  </a:lnTo>
                  <a:lnTo>
                    <a:pt x="174128" y="187371"/>
                  </a:lnTo>
                  <a:lnTo>
                    <a:pt x="171807" y="188626"/>
                  </a:lnTo>
                  <a:lnTo>
                    <a:pt x="170028" y="189186"/>
                  </a:lnTo>
                  <a:lnTo>
                    <a:pt x="167017" y="188563"/>
                  </a:lnTo>
                  <a:lnTo>
                    <a:pt x="165765" y="189451"/>
                  </a:lnTo>
                  <a:lnTo>
                    <a:pt x="165173" y="190550"/>
                  </a:lnTo>
                  <a:lnTo>
                    <a:pt x="165162" y="192821"/>
                  </a:lnTo>
                  <a:lnTo>
                    <a:pt x="166691" y="194452"/>
                  </a:lnTo>
                  <a:lnTo>
                    <a:pt x="167944" y="199870"/>
                  </a:lnTo>
                  <a:lnTo>
                    <a:pt x="167477" y="202156"/>
                  </a:lnTo>
                  <a:lnTo>
                    <a:pt x="166285" y="200676"/>
                  </a:lnTo>
                  <a:lnTo>
                    <a:pt x="164422" y="199116"/>
                  </a:lnTo>
                  <a:lnTo>
                    <a:pt x="160796" y="197775"/>
                  </a:lnTo>
                  <a:lnTo>
                    <a:pt x="156812" y="198234"/>
                  </a:lnTo>
                  <a:lnTo>
                    <a:pt x="152476" y="200494"/>
                  </a:lnTo>
                  <a:lnTo>
                    <a:pt x="149533" y="201334"/>
                  </a:lnTo>
                  <a:lnTo>
                    <a:pt x="147984" y="200754"/>
                  </a:lnTo>
                  <a:lnTo>
                    <a:pt x="147043" y="200787"/>
                  </a:lnTo>
                  <a:lnTo>
                    <a:pt x="146708" y="201435"/>
                  </a:lnTo>
                  <a:lnTo>
                    <a:pt x="146780" y="201965"/>
                  </a:lnTo>
                  <a:lnTo>
                    <a:pt x="147257" y="202376"/>
                  </a:lnTo>
                  <a:lnTo>
                    <a:pt x="147187" y="202676"/>
                  </a:lnTo>
                  <a:lnTo>
                    <a:pt x="146579" y="202863"/>
                  </a:lnTo>
                  <a:lnTo>
                    <a:pt x="139736" y="201272"/>
                  </a:lnTo>
                  <a:lnTo>
                    <a:pt x="136782" y="199766"/>
                  </a:lnTo>
                  <a:lnTo>
                    <a:pt x="134456" y="196930"/>
                  </a:lnTo>
                  <a:lnTo>
                    <a:pt x="135613" y="196012"/>
                  </a:lnTo>
                  <a:lnTo>
                    <a:pt x="136620" y="195608"/>
                  </a:lnTo>
                  <a:lnTo>
                    <a:pt x="140181" y="195372"/>
                  </a:lnTo>
                  <a:lnTo>
                    <a:pt x="140792" y="195082"/>
                  </a:lnTo>
                  <a:lnTo>
                    <a:pt x="140852" y="194427"/>
                  </a:lnTo>
                  <a:lnTo>
                    <a:pt x="141118" y="193579"/>
                  </a:lnTo>
                  <a:lnTo>
                    <a:pt x="141023" y="192330"/>
                  </a:lnTo>
                  <a:lnTo>
                    <a:pt x="140627" y="191011"/>
                  </a:lnTo>
                  <a:lnTo>
                    <a:pt x="142191" y="189084"/>
                  </a:lnTo>
                  <a:lnTo>
                    <a:pt x="144519" y="187484"/>
                  </a:lnTo>
                  <a:lnTo>
                    <a:pt x="145883" y="185881"/>
                  </a:lnTo>
                  <a:lnTo>
                    <a:pt x="146093" y="183532"/>
                  </a:lnTo>
                  <a:lnTo>
                    <a:pt x="148542" y="182387"/>
                  </a:lnTo>
                  <a:lnTo>
                    <a:pt x="150714" y="180418"/>
                  </a:lnTo>
                  <a:lnTo>
                    <a:pt x="151247" y="178270"/>
                  </a:lnTo>
                  <a:lnTo>
                    <a:pt x="152007" y="176920"/>
                  </a:lnTo>
                  <a:lnTo>
                    <a:pt x="150625" y="173821"/>
                  </a:lnTo>
                  <a:lnTo>
                    <a:pt x="150334" y="171775"/>
                  </a:lnTo>
                  <a:lnTo>
                    <a:pt x="150265" y="170059"/>
                  </a:lnTo>
                  <a:lnTo>
                    <a:pt x="150949" y="169105"/>
                  </a:lnTo>
                  <a:lnTo>
                    <a:pt x="152973" y="168036"/>
                  </a:lnTo>
                  <a:lnTo>
                    <a:pt x="155104" y="167207"/>
                  </a:lnTo>
                  <a:lnTo>
                    <a:pt x="155987" y="167288"/>
                  </a:lnTo>
                  <a:lnTo>
                    <a:pt x="156309" y="167816"/>
                  </a:lnTo>
                  <a:lnTo>
                    <a:pt x="156393" y="171301"/>
                  </a:lnTo>
                  <a:lnTo>
                    <a:pt x="156819" y="171367"/>
                  </a:lnTo>
                  <a:lnTo>
                    <a:pt x="157499" y="170933"/>
                  </a:lnTo>
                  <a:lnTo>
                    <a:pt x="158611" y="168881"/>
                  </a:lnTo>
                  <a:lnTo>
                    <a:pt x="159377" y="169478"/>
                  </a:lnTo>
                  <a:lnTo>
                    <a:pt x="160556" y="169705"/>
                  </a:lnTo>
                  <a:lnTo>
                    <a:pt x="161440" y="169176"/>
                  </a:lnTo>
                  <a:lnTo>
                    <a:pt x="162014" y="169237"/>
                  </a:lnTo>
                  <a:lnTo>
                    <a:pt x="162726" y="169767"/>
                  </a:lnTo>
                  <a:lnTo>
                    <a:pt x="164143" y="170513"/>
                  </a:lnTo>
                  <a:lnTo>
                    <a:pt x="165467" y="170761"/>
                  </a:lnTo>
                  <a:lnTo>
                    <a:pt x="166564" y="170264"/>
                  </a:lnTo>
                  <a:lnTo>
                    <a:pt x="167499" y="169377"/>
                  </a:lnTo>
                  <a:lnTo>
                    <a:pt x="168497" y="169680"/>
                  </a:lnTo>
                  <a:lnTo>
                    <a:pt x="170397" y="172100"/>
                  </a:lnTo>
                  <a:lnTo>
                    <a:pt x="171284" y="171832"/>
                  </a:lnTo>
                  <a:lnTo>
                    <a:pt x="175655" y="171343"/>
                  </a:lnTo>
                  <a:lnTo>
                    <a:pt x="176359" y="170685"/>
                  </a:lnTo>
                  <a:lnTo>
                    <a:pt x="176879" y="170088"/>
                  </a:lnTo>
                  <a:lnTo>
                    <a:pt x="172308" y="166875"/>
                  </a:lnTo>
                  <a:lnTo>
                    <a:pt x="172539" y="164481"/>
                  </a:lnTo>
                  <a:lnTo>
                    <a:pt x="172710" y="161734"/>
                  </a:lnTo>
                  <a:lnTo>
                    <a:pt x="172170" y="160102"/>
                  </a:lnTo>
                  <a:lnTo>
                    <a:pt x="171280" y="158807"/>
                  </a:lnTo>
                  <a:lnTo>
                    <a:pt x="167784" y="157302"/>
                  </a:lnTo>
                  <a:lnTo>
                    <a:pt x="165087" y="155743"/>
                  </a:lnTo>
                  <a:lnTo>
                    <a:pt x="164517" y="155040"/>
                  </a:lnTo>
                  <a:lnTo>
                    <a:pt x="164443" y="154128"/>
                  </a:lnTo>
                  <a:lnTo>
                    <a:pt x="164329" y="152710"/>
                  </a:lnTo>
                  <a:lnTo>
                    <a:pt x="163258" y="151492"/>
                  </a:lnTo>
                  <a:lnTo>
                    <a:pt x="163167" y="150461"/>
                  </a:lnTo>
                  <a:lnTo>
                    <a:pt x="163850" y="148853"/>
                  </a:lnTo>
                  <a:lnTo>
                    <a:pt x="164016" y="147139"/>
                  </a:lnTo>
                  <a:lnTo>
                    <a:pt x="163791" y="146462"/>
                  </a:lnTo>
                  <a:lnTo>
                    <a:pt x="163161" y="145910"/>
                  </a:lnTo>
                  <a:lnTo>
                    <a:pt x="161945" y="145856"/>
                  </a:lnTo>
                  <a:lnTo>
                    <a:pt x="160347" y="144865"/>
                  </a:lnTo>
                  <a:lnTo>
                    <a:pt x="159250" y="143529"/>
                  </a:lnTo>
                  <a:lnTo>
                    <a:pt x="156305" y="141602"/>
                  </a:lnTo>
                  <a:lnTo>
                    <a:pt x="155402" y="141288"/>
                  </a:lnTo>
                  <a:lnTo>
                    <a:pt x="154851" y="140333"/>
                  </a:lnTo>
                  <a:lnTo>
                    <a:pt x="154588" y="139192"/>
                  </a:lnTo>
                  <a:lnTo>
                    <a:pt x="155206" y="137774"/>
                  </a:lnTo>
                  <a:lnTo>
                    <a:pt x="155983" y="135590"/>
                  </a:lnTo>
                  <a:lnTo>
                    <a:pt x="156529" y="133539"/>
                  </a:lnTo>
                  <a:lnTo>
                    <a:pt x="156538" y="132316"/>
                  </a:lnTo>
                  <a:lnTo>
                    <a:pt x="156177" y="129290"/>
                  </a:lnTo>
                  <a:lnTo>
                    <a:pt x="154642" y="126975"/>
                  </a:lnTo>
                  <a:lnTo>
                    <a:pt x="153925" y="126668"/>
                  </a:lnTo>
                  <a:lnTo>
                    <a:pt x="152686" y="127320"/>
                  </a:lnTo>
                  <a:lnTo>
                    <a:pt x="151279" y="127865"/>
                  </a:lnTo>
                  <a:lnTo>
                    <a:pt x="150170" y="127354"/>
                  </a:lnTo>
                  <a:lnTo>
                    <a:pt x="148902" y="126098"/>
                  </a:lnTo>
                  <a:lnTo>
                    <a:pt x="146868" y="122599"/>
                  </a:lnTo>
                  <a:lnTo>
                    <a:pt x="143061" y="121898"/>
                  </a:lnTo>
                  <a:lnTo>
                    <a:pt x="141487" y="121731"/>
                  </a:lnTo>
                  <a:lnTo>
                    <a:pt x="139997" y="123420"/>
                  </a:lnTo>
                  <a:lnTo>
                    <a:pt x="139531" y="122907"/>
                  </a:lnTo>
                  <a:lnTo>
                    <a:pt x="139112" y="121828"/>
                  </a:lnTo>
                  <a:lnTo>
                    <a:pt x="138326" y="121397"/>
                  </a:lnTo>
                  <a:lnTo>
                    <a:pt x="137287" y="121897"/>
                  </a:lnTo>
                  <a:lnTo>
                    <a:pt x="136987" y="121416"/>
                  </a:lnTo>
                  <a:lnTo>
                    <a:pt x="137434" y="119957"/>
                  </a:lnTo>
                  <a:lnTo>
                    <a:pt x="136192" y="119235"/>
                  </a:lnTo>
                  <a:lnTo>
                    <a:pt x="133268" y="119251"/>
                  </a:lnTo>
                  <a:lnTo>
                    <a:pt x="131714" y="118713"/>
                  </a:lnTo>
                  <a:lnTo>
                    <a:pt x="131528" y="117615"/>
                  </a:lnTo>
                  <a:lnTo>
                    <a:pt x="130608" y="116894"/>
                  </a:lnTo>
                  <a:lnTo>
                    <a:pt x="128947" y="116547"/>
                  </a:lnTo>
                  <a:lnTo>
                    <a:pt x="127339" y="115649"/>
                  </a:lnTo>
                  <a:lnTo>
                    <a:pt x="125778" y="114203"/>
                  </a:lnTo>
                  <a:lnTo>
                    <a:pt x="123443" y="113260"/>
                  </a:lnTo>
                  <a:lnTo>
                    <a:pt x="120331" y="112824"/>
                  </a:lnTo>
                  <a:lnTo>
                    <a:pt x="120077" y="112668"/>
                  </a:lnTo>
                  <a:lnTo>
                    <a:pt x="119790" y="112460"/>
                  </a:lnTo>
                  <a:lnTo>
                    <a:pt x="117781" y="113443"/>
                  </a:lnTo>
                  <a:lnTo>
                    <a:pt x="116574" y="114221"/>
                  </a:lnTo>
                  <a:lnTo>
                    <a:pt x="115095" y="113737"/>
                  </a:lnTo>
                  <a:lnTo>
                    <a:pt x="112698" y="115473"/>
                  </a:lnTo>
                  <a:lnTo>
                    <a:pt x="107833" y="115563"/>
                  </a:lnTo>
                  <a:lnTo>
                    <a:pt x="105447" y="115459"/>
                  </a:lnTo>
                  <a:lnTo>
                    <a:pt x="104263" y="115028"/>
                  </a:lnTo>
                  <a:lnTo>
                    <a:pt x="99694" y="117662"/>
                  </a:lnTo>
                  <a:lnTo>
                    <a:pt x="99219" y="118632"/>
                  </a:lnTo>
                  <a:lnTo>
                    <a:pt x="98191" y="118955"/>
                  </a:lnTo>
                  <a:lnTo>
                    <a:pt x="95315" y="119478"/>
                  </a:lnTo>
                  <a:lnTo>
                    <a:pt x="92292" y="120220"/>
                  </a:lnTo>
                  <a:lnTo>
                    <a:pt x="91657" y="122778"/>
                  </a:lnTo>
                  <a:lnTo>
                    <a:pt x="90756" y="124159"/>
                  </a:lnTo>
                  <a:lnTo>
                    <a:pt x="89131" y="126186"/>
                  </a:lnTo>
                  <a:lnTo>
                    <a:pt x="83514" y="126890"/>
                  </a:lnTo>
                  <a:lnTo>
                    <a:pt x="78662" y="127880"/>
                  </a:lnTo>
                  <a:lnTo>
                    <a:pt x="73687" y="128491"/>
                  </a:lnTo>
                  <a:lnTo>
                    <a:pt x="67171" y="130962"/>
                  </a:lnTo>
                  <a:lnTo>
                    <a:pt x="65053" y="133140"/>
                  </a:lnTo>
                  <a:lnTo>
                    <a:pt x="62959" y="133747"/>
                  </a:lnTo>
                  <a:lnTo>
                    <a:pt x="61063" y="133926"/>
                  </a:lnTo>
                  <a:lnTo>
                    <a:pt x="59836" y="132714"/>
                  </a:lnTo>
                  <a:lnTo>
                    <a:pt x="55703" y="129457"/>
                  </a:lnTo>
                  <a:lnTo>
                    <a:pt x="54109" y="127920"/>
                  </a:lnTo>
                  <a:lnTo>
                    <a:pt x="52013" y="127467"/>
                  </a:lnTo>
                  <a:lnTo>
                    <a:pt x="49733" y="127723"/>
                  </a:lnTo>
                  <a:lnTo>
                    <a:pt x="47543" y="128480"/>
                  </a:lnTo>
                  <a:lnTo>
                    <a:pt x="45239" y="128625"/>
                  </a:lnTo>
                  <a:lnTo>
                    <a:pt x="42630" y="127533"/>
                  </a:lnTo>
                  <a:lnTo>
                    <a:pt x="42356" y="127639"/>
                  </a:lnTo>
                  <a:lnTo>
                    <a:pt x="41350" y="127786"/>
                  </a:lnTo>
                  <a:lnTo>
                    <a:pt x="34874" y="126466"/>
                  </a:lnTo>
                  <a:lnTo>
                    <a:pt x="34278" y="126247"/>
                  </a:lnTo>
                  <a:lnTo>
                    <a:pt x="33991" y="126192"/>
                  </a:lnTo>
                  <a:lnTo>
                    <a:pt x="33099" y="126093"/>
                  </a:lnTo>
                  <a:lnTo>
                    <a:pt x="28223" y="126258"/>
                  </a:lnTo>
                  <a:lnTo>
                    <a:pt x="23677" y="123589"/>
                  </a:lnTo>
                  <a:lnTo>
                    <a:pt x="22280" y="123508"/>
                  </a:lnTo>
                  <a:lnTo>
                    <a:pt x="21205" y="124589"/>
                  </a:lnTo>
                  <a:lnTo>
                    <a:pt x="20408" y="125791"/>
                  </a:lnTo>
                  <a:lnTo>
                    <a:pt x="17270" y="126984"/>
                  </a:lnTo>
                  <a:lnTo>
                    <a:pt x="16469" y="127463"/>
                  </a:lnTo>
                  <a:lnTo>
                    <a:pt x="16014" y="127095"/>
                  </a:lnTo>
                  <a:lnTo>
                    <a:pt x="15802" y="126058"/>
                  </a:lnTo>
                  <a:lnTo>
                    <a:pt x="16040" y="125141"/>
                  </a:lnTo>
                  <a:lnTo>
                    <a:pt x="15575" y="124273"/>
                  </a:lnTo>
                  <a:lnTo>
                    <a:pt x="14381" y="123287"/>
                  </a:lnTo>
                  <a:lnTo>
                    <a:pt x="14092" y="122880"/>
                  </a:lnTo>
                  <a:lnTo>
                    <a:pt x="12598" y="122954"/>
                  </a:lnTo>
                  <a:lnTo>
                    <a:pt x="12190" y="123050"/>
                  </a:lnTo>
                  <a:lnTo>
                    <a:pt x="12040" y="123028"/>
                  </a:lnTo>
                  <a:lnTo>
                    <a:pt x="9963" y="122191"/>
                  </a:lnTo>
                  <a:lnTo>
                    <a:pt x="8585" y="120174"/>
                  </a:lnTo>
                  <a:lnTo>
                    <a:pt x="6456" y="119101"/>
                  </a:lnTo>
                  <a:lnTo>
                    <a:pt x="4828" y="118740"/>
                  </a:lnTo>
                  <a:lnTo>
                    <a:pt x="4087" y="117875"/>
                  </a:lnTo>
                  <a:lnTo>
                    <a:pt x="3610" y="116724"/>
                  </a:lnTo>
                  <a:lnTo>
                    <a:pt x="3102" y="115854"/>
                  </a:lnTo>
                  <a:lnTo>
                    <a:pt x="3042" y="115772"/>
                  </a:lnTo>
                  <a:lnTo>
                    <a:pt x="2695" y="114455"/>
                  </a:lnTo>
                  <a:lnTo>
                    <a:pt x="2196" y="114319"/>
                  </a:lnTo>
                  <a:lnTo>
                    <a:pt x="2107" y="114284"/>
                  </a:lnTo>
                  <a:lnTo>
                    <a:pt x="0" y="114513"/>
                  </a:lnTo>
                  <a:lnTo>
                    <a:pt x="244" y="109884"/>
                  </a:lnTo>
                  <a:lnTo>
                    <a:pt x="3612" y="106550"/>
                  </a:lnTo>
                  <a:lnTo>
                    <a:pt x="4439" y="104866"/>
                  </a:lnTo>
                  <a:lnTo>
                    <a:pt x="5696" y="101209"/>
                  </a:lnTo>
                  <a:lnTo>
                    <a:pt x="6638" y="99497"/>
                  </a:lnTo>
                  <a:lnTo>
                    <a:pt x="7769" y="98079"/>
                  </a:lnTo>
                  <a:lnTo>
                    <a:pt x="8674" y="96706"/>
                  </a:lnTo>
                  <a:lnTo>
                    <a:pt x="8996" y="95526"/>
                  </a:lnTo>
                  <a:lnTo>
                    <a:pt x="9909" y="95398"/>
                  </a:lnTo>
                  <a:lnTo>
                    <a:pt x="12591" y="96462"/>
                  </a:lnTo>
                  <a:lnTo>
                    <a:pt x="14990" y="97009"/>
                  </a:lnTo>
                  <a:lnTo>
                    <a:pt x="15653" y="96491"/>
                  </a:lnTo>
                  <a:lnTo>
                    <a:pt x="15925" y="95811"/>
                  </a:lnTo>
                  <a:lnTo>
                    <a:pt x="15815" y="95282"/>
                  </a:lnTo>
                  <a:lnTo>
                    <a:pt x="13893" y="93712"/>
                  </a:lnTo>
                  <a:lnTo>
                    <a:pt x="12688" y="92712"/>
                  </a:lnTo>
                  <a:lnTo>
                    <a:pt x="12615" y="92097"/>
                  </a:lnTo>
                  <a:lnTo>
                    <a:pt x="13049" y="90717"/>
                  </a:lnTo>
                  <a:lnTo>
                    <a:pt x="13280" y="89165"/>
                  </a:lnTo>
                  <a:lnTo>
                    <a:pt x="13003" y="87486"/>
                  </a:lnTo>
                  <a:lnTo>
                    <a:pt x="11693" y="83762"/>
                  </a:lnTo>
                  <a:lnTo>
                    <a:pt x="11444" y="82174"/>
                  </a:lnTo>
                  <a:lnTo>
                    <a:pt x="12699" y="80244"/>
                  </a:lnTo>
                  <a:lnTo>
                    <a:pt x="16780" y="75641"/>
                  </a:lnTo>
                  <a:lnTo>
                    <a:pt x="18141" y="73910"/>
                  </a:lnTo>
                  <a:lnTo>
                    <a:pt x="20000" y="71815"/>
                  </a:lnTo>
                  <a:lnTo>
                    <a:pt x="25044" y="66799"/>
                  </a:lnTo>
                  <a:lnTo>
                    <a:pt x="28232" y="63878"/>
                  </a:lnTo>
                  <a:lnTo>
                    <a:pt x="30389" y="62260"/>
                  </a:lnTo>
                  <a:lnTo>
                    <a:pt x="33548" y="59445"/>
                  </a:lnTo>
                  <a:lnTo>
                    <a:pt x="34934" y="57987"/>
                  </a:lnTo>
                  <a:lnTo>
                    <a:pt x="40704" y="57038"/>
                  </a:lnTo>
                  <a:lnTo>
                    <a:pt x="41419" y="55675"/>
                  </a:lnTo>
                  <a:lnTo>
                    <a:pt x="42473" y="54183"/>
                  </a:lnTo>
                  <a:lnTo>
                    <a:pt x="43297" y="53543"/>
                  </a:lnTo>
                  <a:lnTo>
                    <a:pt x="43403" y="51027"/>
                  </a:lnTo>
                  <a:lnTo>
                    <a:pt x="42332" y="47950"/>
                  </a:lnTo>
                  <a:lnTo>
                    <a:pt x="41471" y="46862"/>
                  </a:lnTo>
                  <a:lnTo>
                    <a:pt x="40832" y="46121"/>
                  </a:lnTo>
                  <a:lnTo>
                    <a:pt x="41244" y="45428"/>
                  </a:lnTo>
                  <a:lnTo>
                    <a:pt x="41883" y="45231"/>
                  </a:lnTo>
                  <a:lnTo>
                    <a:pt x="42671" y="45133"/>
                  </a:lnTo>
                  <a:lnTo>
                    <a:pt x="43647" y="44391"/>
                  </a:lnTo>
                  <a:lnTo>
                    <a:pt x="43427" y="43581"/>
                  </a:lnTo>
                  <a:lnTo>
                    <a:pt x="40994" y="41606"/>
                  </a:lnTo>
                  <a:lnTo>
                    <a:pt x="39940" y="40085"/>
                  </a:lnTo>
                  <a:lnTo>
                    <a:pt x="38290" y="36177"/>
                  </a:lnTo>
                  <a:lnTo>
                    <a:pt x="34945" y="32109"/>
                  </a:lnTo>
                  <a:lnTo>
                    <a:pt x="33889" y="30793"/>
                  </a:lnTo>
                  <a:lnTo>
                    <a:pt x="33738" y="29548"/>
                  </a:lnTo>
                  <a:lnTo>
                    <a:pt x="34226" y="28303"/>
                  </a:lnTo>
                  <a:lnTo>
                    <a:pt x="33766" y="26716"/>
                  </a:lnTo>
                  <a:lnTo>
                    <a:pt x="32581" y="24690"/>
                  </a:lnTo>
                  <a:lnTo>
                    <a:pt x="32768" y="24471"/>
                  </a:lnTo>
                  <a:lnTo>
                    <a:pt x="32654" y="21968"/>
                  </a:lnTo>
                  <a:lnTo>
                    <a:pt x="33496" y="21427"/>
                  </a:lnTo>
                  <a:lnTo>
                    <a:pt x="34826" y="21061"/>
                  </a:lnTo>
                  <a:lnTo>
                    <a:pt x="36703" y="21184"/>
                  </a:lnTo>
                  <a:lnTo>
                    <a:pt x="38307" y="21571"/>
                  </a:lnTo>
                  <a:lnTo>
                    <a:pt x="40229" y="22716"/>
                  </a:lnTo>
                  <a:lnTo>
                    <a:pt x="40829" y="22532"/>
                  </a:lnTo>
                  <a:lnTo>
                    <a:pt x="44114" y="20373"/>
                  </a:lnTo>
                  <a:lnTo>
                    <a:pt x="47502" y="17130"/>
                  </a:lnTo>
                  <a:lnTo>
                    <a:pt x="48467" y="15251"/>
                  </a:lnTo>
                  <a:lnTo>
                    <a:pt x="49311" y="14392"/>
                  </a:lnTo>
                  <a:lnTo>
                    <a:pt x="52259" y="13933"/>
                  </a:lnTo>
                  <a:lnTo>
                    <a:pt x="54826" y="13743"/>
                  </a:lnTo>
                  <a:lnTo>
                    <a:pt x="56459" y="13779"/>
                  </a:lnTo>
                  <a:lnTo>
                    <a:pt x="60467" y="13459"/>
                  </a:lnTo>
                  <a:lnTo>
                    <a:pt x="62842" y="13104"/>
                  </a:lnTo>
                  <a:lnTo>
                    <a:pt x="64896" y="12531"/>
                  </a:lnTo>
                  <a:lnTo>
                    <a:pt x="69329" y="12318"/>
                  </a:lnTo>
                  <a:lnTo>
                    <a:pt x="76252" y="12702"/>
                  </a:lnTo>
                  <a:lnTo>
                    <a:pt x="80795" y="12729"/>
                  </a:lnTo>
                  <a:lnTo>
                    <a:pt x="83881" y="13034"/>
                  </a:lnTo>
                  <a:lnTo>
                    <a:pt x="91439" y="14761"/>
                  </a:lnTo>
                  <a:lnTo>
                    <a:pt x="94252" y="15074"/>
                  </a:lnTo>
                  <a:lnTo>
                    <a:pt x="95559" y="15988"/>
                  </a:lnTo>
                  <a:lnTo>
                    <a:pt x="98068" y="16328"/>
                  </a:lnTo>
                  <a:lnTo>
                    <a:pt x="102635" y="17248"/>
                  </a:lnTo>
                  <a:lnTo>
                    <a:pt x="106602" y="17741"/>
                  </a:lnTo>
                  <a:lnTo>
                    <a:pt x="109284" y="17539"/>
                  </a:lnTo>
                  <a:lnTo>
                    <a:pt x="110785" y="17798"/>
                  </a:lnTo>
                  <a:lnTo>
                    <a:pt x="113618" y="21877"/>
                  </a:lnTo>
                  <a:lnTo>
                    <a:pt x="114196" y="22353"/>
                  </a:lnTo>
                  <a:lnTo>
                    <a:pt x="115332" y="22449"/>
                  </a:lnTo>
                  <a:lnTo>
                    <a:pt x="117647" y="22097"/>
                  </a:lnTo>
                  <a:lnTo>
                    <a:pt x="120943" y="22229"/>
                  </a:lnTo>
                  <a:lnTo>
                    <a:pt x="122897" y="23088"/>
                  </a:lnTo>
                  <a:lnTo>
                    <a:pt x="122610" y="25513"/>
                  </a:lnTo>
                  <a:lnTo>
                    <a:pt x="123123" y="25864"/>
                  </a:lnTo>
                  <a:lnTo>
                    <a:pt x="124037" y="25729"/>
                  </a:lnTo>
                  <a:lnTo>
                    <a:pt x="125088" y="24360"/>
                  </a:lnTo>
                  <a:lnTo>
                    <a:pt x="125972" y="22940"/>
                  </a:lnTo>
                  <a:lnTo>
                    <a:pt x="126630" y="22501"/>
                  </a:lnTo>
                  <a:lnTo>
                    <a:pt x="129995" y="23460"/>
                  </a:lnTo>
                  <a:lnTo>
                    <a:pt x="131532" y="23305"/>
                  </a:lnTo>
                  <a:lnTo>
                    <a:pt x="132951" y="22228"/>
                  </a:lnTo>
                  <a:lnTo>
                    <a:pt x="133821" y="22045"/>
                  </a:lnTo>
                  <a:lnTo>
                    <a:pt x="136205" y="22811"/>
                  </a:lnTo>
                  <a:lnTo>
                    <a:pt x="139146" y="23347"/>
                  </a:lnTo>
                  <a:lnTo>
                    <a:pt x="141522" y="23381"/>
                  </a:lnTo>
                  <a:lnTo>
                    <a:pt x="143003" y="23964"/>
                  </a:lnTo>
                  <a:lnTo>
                    <a:pt x="144080" y="26494"/>
                  </a:lnTo>
                  <a:lnTo>
                    <a:pt x="145020" y="27013"/>
                  </a:lnTo>
                  <a:lnTo>
                    <a:pt x="145927" y="27174"/>
                  </a:lnTo>
                  <a:lnTo>
                    <a:pt x="147298" y="24913"/>
                  </a:lnTo>
                  <a:lnTo>
                    <a:pt x="148542" y="24036"/>
                  </a:lnTo>
                  <a:lnTo>
                    <a:pt x="150267" y="23390"/>
                  </a:lnTo>
                  <a:lnTo>
                    <a:pt x="151377" y="23107"/>
                  </a:lnTo>
                  <a:lnTo>
                    <a:pt x="152158" y="22308"/>
                  </a:lnTo>
                  <a:lnTo>
                    <a:pt x="153212" y="21528"/>
                  </a:lnTo>
                  <a:lnTo>
                    <a:pt x="154126" y="21466"/>
                  </a:lnTo>
                  <a:lnTo>
                    <a:pt x="154868" y="21768"/>
                  </a:lnTo>
                  <a:lnTo>
                    <a:pt x="155721" y="22847"/>
                  </a:lnTo>
                  <a:lnTo>
                    <a:pt x="156965" y="25305"/>
                  </a:lnTo>
                  <a:lnTo>
                    <a:pt x="158477" y="27771"/>
                  </a:lnTo>
                  <a:lnTo>
                    <a:pt x="159531" y="28666"/>
                  </a:lnTo>
                  <a:lnTo>
                    <a:pt x="162254" y="27909"/>
                  </a:lnTo>
                  <a:lnTo>
                    <a:pt x="164100" y="27139"/>
                  </a:lnTo>
                  <a:lnTo>
                    <a:pt x="167482" y="26993"/>
                  </a:lnTo>
                  <a:lnTo>
                    <a:pt x="171964" y="26451"/>
                  </a:lnTo>
                  <a:lnTo>
                    <a:pt x="175392" y="25745"/>
                  </a:lnTo>
                  <a:lnTo>
                    <a:pt x="177536" y="25867"/>
                  </a:lnTo>
                  <a:lnTo>
                    <a:pt x="178836" y="26650"/>
                  </a:lnTo>
                  <a:lnTo>
                    <a:pt x="180814" y="28166"/>
                  </a:lnTo>
                  <a:lnTo>
                    <a:pt x="181354" y="30339"/>
                  </a:lnTo>
                  <a:lnTo>
                    <a:pt x="183921" y="31841"/>
                  </a:lnTo>
                  <a:lnTo>
                    <a:pt x="186022" y="32112"/>
                  </a:lnTo>
                  <a:lnTo>
                    <a:pt x="186739" y="30549"/>
                  </a:lnTo>
                  <a:lnTo>
                    <a:pt x="187968" y="29462"/>
                  </a:lnTo>
                  <a:lnTo>
                    <a:pt x="187508" y="27968"/>
                  </a:lnTo>
                  <a:lnTo>
                    <a:pt x="187301" y="26062"/>
                  </a:lnTo>
                  <a:lnTo>
                    <a:pt x="186380" y="24291"/>
                  </a:lnTo>
                  <a:lnTo>
                    <a:pt x="185767" y="22384"/>
                  </a:lnTo>
                  <a:lnTo>
                    <a:pt x="186892" y="19657"/>
                  </a:lnTo>
                  <a:lnTo>
                    <a:pt x="188121" y="17267"/>
                  </a:lnTo>
                  <a:lnTo>
                    <a:pt x="188736" y="15968"/>
                  </a:lnTo>
                  <a:lnTo>
                    <a:pt x="190682" y="13576"/>
                  </a:lnTo>
                  <a:lnTo>
                    <a:pt x="192682" y="11865"/>
                  </a:lnTo>
                  <a:lnTo>
                    <a:pt x="195666" y="9111"/>
                  </a:lnTo>
                  <a:lnTo>
                    <a:pt x="197847" y="8201"/>
                  </a:lnTo>
                  <a:lnTo>
                    <a:pt x="199818" y="8616"/>
                  </a:lnTo>
                  <a:lnTo>
                    <a:pt x="200913" y="8992"/>
                  </a:lnTo>
                  <a:lnTo>
                    <a:pt x="203744" y="7360"/>
                  </a:lnTo>
                  <a:lnTo>
                    <a:pt x="208780" y="7279"/>
                  </a:lnTo>
                  <a:lnTo>
                    <a:pt x="212973" y="7487"/>
                  </a:lnTo>
                  <a:lnTo>
                    <a:pt x="213394" y="7536"/>
                  </a:lnTo>
                  <a:lnTo>
                    <a:pt x="215455" y="8380"/>
                  </a:lnTo>
                  <a:lnTo>
                    <a:pt x="217627" y="9098"/>
                  </a:lnTo>
                  <a:lnTo>
                    <a:pt x="219125" y="9146"/>
                  </a:lnTo>
                  <a:lnTo>
                    <a:pt x="220909" y="8981"/>
                  </a:lnTo>
                  <a:lnTo>
                    <a:pt x="223000" y="8024"/>
                  </a:lnTo>
                  <a:lnTo>
                    <a:pt x="224459" y="7104"/>
                  </a:lnTo>
                  <a:lnTo>
                    <a:pt x="226232" y="2418"/>
                  </a:lnTo>
                  <a:lnTo>
                    <a:pt x="226858" y="1744"/>
                  </a:lnTo>
                  <a:lnTo>
                    <a:pt x="227834" y="1376"/>
                  </a:lnTo>
                  <a:lnTo>
                    <a:pt x="229437" y="1337"/>
                  </a:lnTo>
                  <a:lnTo>
                    <a:pt x="232477" y="2211"/>
                  </a:lnTo>
                  <a:lnTo>
                    <a:pt x="236038" y="2996"/>
                  </a:lnTo>
                  <a:lnTo>
                    <a:pt x="238100" y="2886"/>
                  </a:lnTo>
                  <a:lnTo>
                    <a:pt x="243600" y="39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9" name="ee4p_VA_1_15912">
              <a:extLst>
                <a:ext uri="{FF2B5EF4-FFF2-40B4-BE49-F238E27FC236}">
                  <a16:creationId xmlns:a16="http://schemas.microsoft.com/office/drawing/2014/main" id="{B41AC000-E888-316B-0151-C1E41E2124A5}"/>
                </a:ext>
              </a:extLst>
            </p:cNvPr>
            <p:cNvSpPr>
              <a:spLocks noChangeAspect="1"/>
            </p:cNvSpPr>
            <p:nvPr>
              <p:custDataLst>
                <p:tags r:id="rId59"/>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grpSp>
      <p:sp>
        <p:nvSpPr>
          <p:cNvPr id="8" name="Rectangle 7">
            <a:extLst>
              <a:ext uri="{FF2B5EF4-FFF2-40B4-BE49-F238E27FC236}">
                <a16:creationId xmlns:a16="http://schemas.microsoft.com/office/drawing/2014/main" id="{67E366FD-F4DA-4234-A2E6-932693EA778C}"/>
              </a:ext>
            </a:extLst>
          </p:cNvPr>
          <p:cNvSpPr/>
          <p:nvPr/>
        </p:nvSpPr>
        <p:spPr>
          <a:xfrm>
            <a:off x="896771" y="5912297"/>
            <a:ext cx="5391284" cy="215444"/>
          </a:xfrm>
          <a:prstGeom prst="rect">
            <a:avLst/>
          </a:prstGeom>
        </p:spPr>
        <p:txBody>
          <a:bodyPr wrap="square">
            <a:spAutoFit/>
          </a:bodyPr>
          <a:lstStyle/>
          <a:p>
            <a:pPr>
              <a:spcBef>
                <a:spcPts val="600"/>
              </a:spcBef>
              <a:buClr>
                <a:schemeClr val="accent1"/>
              </a:buClr>
            </a:pPr>
            <a:r>
              <a:rPr lang="pl-PL" altLang="en-US" sz="800" dirty="0"/>
              <a:t>*Źródło: </a:t>
            </a:r>
            <a:r>
              <a:rPr lang="pl-PL" altLang="en-US" sz="800" dirty="0" err="1"/>
              <a:t>Poltransplant</a:t>
            </a:r>
            <a:r>
              <a:rPr lang="pl-PL" altLang="en-US" sz="800" dirty="0"/>
              <a:t>, dane na dzień 31.10.2024 r.</a:t>
            </a:r>
          </a:p>
        </p:txBody>
      </p:sp>
      <p:sp>
        <p:nvSpPr>
          <p:cNvPr id="4" name="Symbol zastępczy stopki 3">
            <a:extLst>
              <a:ext uri="{FF2B5EF4-FFF2-40B4-BE49-F238E27FC236}">
                <a16:creationId xmlns:a16="http://schemas.microsoft.com/office/drawing/2014/main" id="{D8309ECE-125C-4A89-BB01-BCA7DE0CDBD6}"/>
              </a:ext>
            </a:extLst>
          </p:cNvPr>
          <p:cNvSpPr>
            <a:spLocks noGrp="1"/>
          </p:cNvSpPr>
          <p:nvPr>
            <p:ph type="ftr" sz="quarter" idx="19"/>
          </p:nvPr>
        </p:nvSpPr>
        <p:spPr/>
        <p:txBody>
          <a:bodyPr/>
          <a:lstStyle/>
          <a:p>
            <a:r>
              <a:rPr lang="pl-PL" dirty="0"/>
              <a:t>Najważniejsze informacje o dawstwie szpiku | C1- Public | #KOMÓRKOMANIA</a:t>
            </a:r>
          </a:p>
        </p:txBody>
      </p:sp>
    </p:spTree>
    <p:extLst>
      <p:ext uri="{BB962C8B-B14F-4D97-AF65-F5344CB8AC3E}">
        <p14:creationId xmlns:p14="http://schemas.microsoft.com/office/powerpoint/2010/main" val="1618109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Kryteria rejestracji</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Kto może zostać potencjalnym </a:t>
            </a:r>
            <a:br>
              <a:rPr lang="pl-PL" dirty="0"/>
            </a:br>
            <a:r>
              <a:rPr lang="pl-PL" dirty="0"/>
              <a:t>Dawcą szpiku?</a:t>
            </a:r>
          </a:p>
        </p:txBody>
      </p:sp>
    </p:spTree>
    <p:extLst>
      <p:ext uri="{BB962C8B-B14F-4D97-AF65-F5344CB8AC3E}">
        <p14:creationId xmlns:p14="http://schemas.microsoft.com/office/powerpoint/2010/main" val="13665667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STCOUNT" val="1"/>
  <p:tag name="DES1LAYOUTCOUNT" val="53"/>
  <p:tag name="LINGO_COUNT" val="68"/>
  <p:tag name="LANG_DEF" val="1045"/>
  <p:tag name="LANG_NAME" val="Polish"/>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89.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190.xml><?xml version="1.0" encoding="utf-8"?>
<p:tagLst xmlns:a="http://schemas.openxmlformats.org/drawingml/2006/main" xmlns:r="http://schemas.openxmlformats.org/officeDocument/2006/relationships" xmlns:p="http://schemas.openxmlformats.org/presentationml/2006/main">
  <p:tag name="SHAPE" val="OLD"/>
</p:tagLst>
</file>

<file path=ppt/tags/tag191.xml><?xml version="1.0" encoding="utf-8"?>
<p:tagLst xmlns:a="http://schemas.openxmlformats.org/drawingml/2006/main" xmlns:r="http://schemas.openxmlformats.org/officeDocument/2006/relationships" xmlns:p="http://schemas.openxmlformats.org/presentationml/2006/main">
  <p:tag name="SHAPE" val="OLD"/>
</p:tagLst>
</file>

<file path=ppt/tags/tag192.xml><?xml version="1.0" encoding="utf-8"?>
<p:tagLst xmlns:a="http://schemas.openxmlformats.org/drawingml/2006/main" xmlns:r="http://schemas.openxmlformats.org/officeDocument/2006/relationships" xmlns:p="http://schemas.openxmlformats.org/presentationml/2006/main">
  <p:tag name="SHAPE" val="OLD"/>
</p:tagLst>
</file>

<file path=ppt/tags/tag193.xml><?xml version="1.0" encoding="utf-8"?>
<p:tagLst xmlns:a="http://schemas.openxmlformats.org/drawingml/2006/main" xmlns:r="http://schemas.openxmlformats.org/officeDocument/2006/relationships" xmlns:p="http://schemas.openxmlformats.org/presentationml/2006/main">
  <p:tag name="SHAPE" val="OLD"/>
</p:tagLst>
</file>

<file path=ppt/tags/tag194.xml><?xml version="1.0" encoding="utf-8"?>
<p:tagLst xmlns:a="http://schemas.openxmlformats.org/drawingml/2006/main" xmlns:r="http://schemas.openxmlformats.org/officeDocument/2006/relationships" xmlns:p="http://schemas.openxmlformats.org/presentationml/2006/main">
  <p:tag name="SHAPE" val="OLD"/>
</p:tagLst>
</file>

<file path=ppt/tags/tag195.xml><?xml version="1.0" encoding="utf-8"?>
<p:tagLst xmlns:a="http://schemas.openxmlformats.org/drawingml/2006/main" xmlns:r="http://schemas.openxmlformats.org/officeDocument/2006/relationships" xmlns:p="http://schemas.openxmlformats.org/presentationml/2006/main">
  <p:tag name="SHAPE" val="OLD"/>
</p:tagLst>
</file>

<file path=ppt/tags/tag196.xml><?xml version="1.0" encoding="utf-8"?>
<p:tagLst xmlns:a="http://schemas.openxmlformats.org/drawingml/2006/main" xmlns:r="http://schemas.openxmlformats.org/officeDocument/2006/relationships" xmlns:p="http://schemas.openxmlformats.org/presentationml/2006/main">
  <p:tag name="SHAPE" val="OLD"/>
</p:tagLst>
</file>

<file path=ppt/tags/tag197.xml><?xml version="1.0" encoding="utf-8"?>
<p:tagLst xmlns:a="http://schemas.openxmlformats.org/drawingml/2006/main" xmlns:r="http://schemas.openxmlformats.org/officeDocument/2006/relationships" xmlns:p="http://schemas.openxmlformats.org/presentationml/2006/main">
  <p:tag name="SHAPE" val="OLD"/>
</p:tagLst>
</file>

<file path=ppt/tags/tag198.xml><?xml version="1.0" encoding="utf-8"?>
<p:tagLst xmlns:a="http://schemas.openxmlformats.org/drawingml/2006/main" xmlns:r="http://schemas.openxmlformats.org/officeDocument/2006/relationships" xmlns:p="http://schemas.openxmlformats.org/presentationml/2006/main">
  <p:tag name="SHAPE" val="OLD"/>
</p:tagLst>
</file>

<file path=ppt/tags/tag19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00.xml><?xml version="1.0" encoding="utf-8"?>
<p:tagLst xmlns:a="http://schemas.openxmlformats.org/drawingml/2006/main" xmlns:r="http://schemas.openxmlformats.org/officeDocument/2006/relationships" xmlns:p="http://schemas.openxmlformats.org/presentationml/2006/main">
  <p:tag name="SHAPE" val="OLD"/>
</p:tagLst>
</file>

<file path=ppt/tags/tag201.xml><?xml version="1.0" encoding="utf-8"?>
<p:tagLst xmlns:a="http://schemas.openxmlformats.org/drawingml/2006/main" xmlns:r="http://schemas.openxmlformats.org/officeDocument/2006/relationships" xmlns:p="http://schemas.openxmlformats.org/presentationml/2006/main">
  <p:tag name="SHAPE" val="OLD"/>
</p:tagLst>
</file>

<file path=ppt/tags/tag202.xml><?xml version="1.0" encoding="utf-8"?>
<p:tagLst xmlns:a="http://schemas.openxmlformats.org/drawingml/2006/main" xmlns:r="http://schemas.openxmlformats.org/officeDocument/2006/relationships" xmlns:p="http://schemas.openxmlformats.org/presentationml/2006/main">
  <p:tag name="SHAPE" val="OLD"/>
</p:tagLst>
</file>

<file path=ppt/tags/tag203.xml><?xml version="1.0" encoding="utf-8"?>
<p:tagLst xmlns:a="http://schemas.openxmlformats.org/drawingml/2006/main" xmlns:r="http://schemas.openxmlformats.org/officeDocument/2006/relationships" xmlns:p="http://schemas.openxmlformats.org/presentationml/2006/main">
  <p:tag name="SHAPE" val="OLD"/>
</p:tagLst>
</file>

<file path=ppt/tags/tag204.xml><?xml version="1.0" encoding="utf-8"?>
<p:tagLst xmlns:a="http://schemas.openxmlformats.org/drawingml/2006/main" xmlns:r="http://schemas.openxmlformats.org/officeDocument/2006/relationships" xmlns:p="http://schemas.openxmlformats.org/presentationml/2006/main">
  <p:tag name="SHAPE" val="OLD"/>
</p:tagLst>
</file>

<file path=ppt/tags/tag205.xml><?xml version="1.0" encoding="utf-8"?>
<p:tagLst xmlns:a="http://schemas.openxmlformats.org/drawingml/2006/main" xmlns:r="http://schemas.openxmlformats.org/officeDocument/2006/relationships" xmlns:p="http://schemas.openxmlformats.org/presentationml/2006/main">
  <p:tag name="SHAPE" val="OLD"/>
</p:tagLst>
</file>

<file path=ppt/tags/tag206.xml><?xml version="1.0" encoding="utf-8"?>
<p:tagLst xmlns:a="http://schemas.openxmlformats.org/drawingml/2006/main" xmlns:r="http://schemas.openxmlformats.org/officeDocument/2006/relationships" xmlns:p="http://schemas.openxmlformats.org/presentationml/2006/main">
  <p:tag name="SHAPE" val="OLD"/>
</p:tagLst>
</file>

<file path=ppt/tags/tag207.xml><?xml version="1.0" encoding="utf-8"?>
<p:tagLst xmlns:a="http://schemas.openxmlformats.org/drawingml/2006/main" xmlns:r="http://schemas.openxmlformats.org/officeDocument/2006/relationships" xmlns:p="http://schemas.openxmlformats.org/presentationml/2006/main">
  <p:tag name="SHAPE" val="OLD"/>
</p:tagLst>
</file>

<file path=ppt/tags/tag208.xml><?xml version="1.0" encoding="utf-8"?>
<p:tagLst xmlns:a="http://schemas.openxmlformats.org/drawingml/2006/main" xmlns:r="http://schemas.openxmlformats.org/officeDocument/2006/relationships" xmlns:p="http://schemas.openxmlformats.org/presentationml/2006/main">
  <p:tag name="SHAPE" val="OLD"/>
</p:tagLst>
</file>

<file path=ppt/tags/tag209.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10.xml><?xml version="1.0" encoding="utf-8"?>
<p:tagLst xmlns:a="http://schemas.openxmlformats.org/drawingml/2006/main" xmlns:r="http://schemas.openxmlformats.org/officeDocument/2006/relationships" xmlns:p="http://schemas.openxmlformats.org/presentationml/2006/main">
  <p:tag name="SHAPE" val="OLD"/>
</p:tagLst>
</file>

<file path=ppt/tags/tag211.xml><?xml version="1.0" encoding="utf-8"?>
<p:tagLst xmlns:a="http://schemas.openxmlformats.org/drawingml/2006/main" xmlns:r="http://schemas.openxmlformats.org/officeDocument/2006/relationships" xmlns:p="http://schemas.openxmlformats.org/presentationml/2006/main">
  <p:tag name="SHAPE" val="OLD"/>
</p:tagLst>
</file>

<file path=ppt/tags/tag212.xml><?xml version="1.0" encoding="utf-8"?>
<p:tagLst xmlns:a="http://schemas.openxmlformats.org/drawingml/2006/main" xmlns:r="http://schemas.openxmlformats.org/officeDocument/2006/relationships" xmlns:p="http://schemas.openxmlformats.org/presentationml/2006/main">
  <p:tag name="SHAPE" val="OLD"/>
</p:tagLst>
</file>

<file path=ppt/tags/tag213.xml><?xml version="1.0" encoding="utf-8"?>
<p:tagLst xmlns:a="http://schemas.openxmlformats.org/drawingml/2006/main" xmlns:r="http://schemas.openxmlformats.org/officeDocument/2006/relationships" xmlns:p="http://schemas.openxmlformats.org/presentationml/2006/main">
  <p:tag name="SHAPE" val="OLD"/>
</p:tagLst>
</file>

<file path=ppt/tags/tag214.xml><?xml version="1.0" encoding="utf-8"?>
<p:tagLst xmlns:a="http://schemas.openxmlformats.org/drawingml/2006/main" xmlns:r="http://schemas.openxmlformats.org/officeDocument/2006/relationships" xmlns:p="http://schemas.openxmlformats.org/presentationml/2006/main">
  <p:tag name="SHAPE" val="OLD"/>
</p:tagLst>
</file>

<file path=ppt/tags/tag215.xml><?xml version="1.0" encoding="utf-8"?>
<p:tagLst xmlns:a="http://schemas.openxmlformats.org/drawingml/2006/main" xmlns:r="http://schemas.openxmlformats.org/officeDocument/2006/relationships" xmlns:p="http://schemas.openxmlformats.org/presentationml/2006/main">
  <p:tag name="SHAPE" val="OLD"/>
</p:tagLst>
</file>

<file path=ppt/tags/tag216.xml><?xml version="1.0" encoding="utf-8"?>
<p:tagLst xmlns:a="http://schemas.openxmlformats.org/drawingml/2006/main" xmlns:r="http://schemas.openxmlformats.org/officeDocument/2006/relationships" xmlns:p="http://schemas.openxmlformats.org/presentationml/2006/main">
  <p:tag name="SHAPE" val="OLD"/>
</p:tagLst>
</file>

<file path=ppt/tags/tag217.xml><?xml version="1.0" encoding="utf-8"?>
<p:tagLst xmlns:a="http://schemas.openxmlformats.org/drawingml/2006/main" xmlns:r="http://schemas.openxmlformats.org/officeDocument/2006/relationships" xmlns:p="http://schemas.openxmlformats.org/presentationml/2006/main">
  <p:tag name="SHAPE" val="OLD"/>
</p:tagLst>
</file>

<file path=ppt/tags/tag218.xml><?xml version="1.0" encoding="utf-8"?>
<p:tagLst xmlns:a="http://schemas.openxmlformats.org/drawingml/2006/main" xmlns:r="http://schemas.openxmlformats.org/officeDocument/2006/relationships" xmlns:p="http://schemas.openxmlformats.org/presentationml/2006/main">
  <p:tag name="SHAPE" val="OLD"/>
</p:tagLst>
</file>

<file path=ppt/tags/tag219.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20.xml><?xml version="1.0" encoding="utf-8"?>
<p:tagLst xmlns:a="http://schemas.openxmlformats.org/drawingml/2006/main" xmlns:r="http://schemas.openxmlformats.org/officeDocument/2006/relationships" xmlns:p="http://schemas.openxmlformats.org/presentationml/2006/main">
  <p:tag name="SHAPE" val="OLD"/>
</p:tagLst>
</file>

<file path=ppt/tags/tag221.xml><?xml version="1.0" encoding="utf-8"?>
<p:tagLst xmlns:a="http://schemas.openxmlformats.org/drawingml/2006/main" xmlns:r="http://schemas.openxmlformats.org/officeDocument/2006/relationships" xmlns:p="http://schemas.openxmlformats.org/presentationml/2006/main">
  <p:tag name="SHAPE" val="OLD"/>
</p:tagLst>
</file>

<file path=ppt/tags/tag222.xml><?xml version="1.0" encoding="utf-8"?>
<p:tagLst xmlns:a="http://schemas.openxmlformats.org/drawingml/2006/main" xmlns:r="http://schemas.openxmlformats.org/officeDocument/2006/relationships" xmlns:p="http://schemas.openxmlformats.org/presentationml/2006/main">
  <p:tag name="SHAPE" val="OLD"/>
</p:tagLst>
</file>

<file path=ppt/tags/tag223.xml><?xml version="1.0" encoding="utf-8"?>
<p:tagLst xmlns:a="http://schemas.openxmlformats.org/drawingml/2006/main" xmlns:r="http://schemas.openxmlformats.org/officeDocument/2006/relationships" xmlns:p="http://schemas.openxmlformats.org/presentationml/2006/main">
  <p:tag name="SHAPE" val="OLD"/>
</p:tagLst>
</file>

<file path=ppt/tags/tag224.xml><?xml version="1.0" encoding="utf-8"?>
<p:tagLst xmlns:a="http://schemas.openxmlformats.org/drawingml/2006/main" xmlns:r="http://schemas.openxmlformats.org/officeDocument/2006/relationships" xmlns:p="http://schemas.openxmlformats.org/presentationml/2006/main">
  <p:tag name="SHAPE" val="OLD"/>
</p:tagLst>
</file>

<file path=ppt/tags/tag225.xml><?xml version="1.0" encoding="utf-8"?>
<p:tagLst xmlns:a="http://schemas.openxmlformats.org/drawingml/2006/main" xmlns:r="http://schemas.openxmlformats.org/officeDocument/2006/relationships" xmlns:p="http://schemas.openxmlformats.org/presentationml/2006/main">
  <p:tag name="SHAPE" val="OLD"/>
</p:tagLst>
</file>

<file path=ppt/tags/tag226.xml><?xml version="1.0" encoding="utf-8"?>
<p:tagLst xmlns:a="http://schemas.openxmlformats.org/drawingml/2006/main" xmlns:r="http://schemas.openxmlformats.org/officeDocument/2006/relationships" xmlns:p="http://schemas.openxmlformats.org/presentationml/2006/main">
  <p:tag name="SHAPE" val="OLD"/>
</p:tagLst>
</file>

<file path=ppt/tags/tag227.xml><?xml version="1.0" encoding="utf-8"?>
<p:tagLst xmlns:a="http://schemas.openxmlformats.org/drawingml/2006/main" xmlns:r="http://schemas.openxmlformats.org/officeDocument/2006/relationships" xmlns:p="http://schemas.openxmlformats.org/presentationml/2006/main">
  <p:tag name="SHAPE" val="OLD"/>
</p:tagLst>
</file>

<file path=ppt/tags/tag228.xml><?xml version="1.0" encoding="utf-8"?>
<p:tagLst xmlns:a="http://schemas.openxmlformats.org/drawingml/2006/main" xmlns:r="http://schemas.openxmlformats.org/officeDocument/2006/relationships" xmlns:p="http://schemas.openxmlformats.org/presentationml/2006/main">
  <p:tag name="SHAPE" val="OLD"/>
</p:tagLst>
</file>

<file path=ppt/tags/tag229.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30.xml><?xml version="1.0" encoding="utf-8"?>
<p:tagLst xmlns:a="http://schemas.openxmlformats.org/drawingml/2006/main" xmlns:r="http://schemas.openxmlformats.org/officeDocument/2006/relationships" xmlns:p="http://schemas.openxmlformats.org/presentationml/2006/main">
  <p:tag name="SHAPE" val="OLD"/>
</p:tagLst>
</file>

<file path=ppt/tags/tag231.xml><?xml version="1.0" encoding="utf-8"?>
<p:tagLst xmlns:a="http://schemas.openxmlformats.org/drawingml/2006/main" xmlns:r="http://schemas.openxmlformats.org/officeDocument/2006/relationships" xmlns:p="http://schemas.openxmlformats.org/presentationml/2006/main">
  <p:tag name="SHAPE" val="OLD"/>
</p:tagLst>
</file>

<file path=ppt/tags/tag232.xml><?xml version="1.0" encoding="utf-8"?>
<p:tagLst xmlns:a="http://schemas.openxmlformats.org/drawingml/2006/main" xmlns:r="http://schemas.openxmlformats.org/officeDocument/2006/relationships" xmlns:p="http://schemas.openxmlformats.org/presentationml/2006/main">
  <p:tag name="SHAPE" val="OLD"/>
</p:tagLst>
</file>

<file path=ppt/tags/tag233.xml><?xml version="1.0" encoding="utf-8"?>
<p:tagLst xmlns:a="http://schemas.openxmlformats.org/drawingml/2006/main" xmlns:r="http://schemas.openxmlformats.org/officeDocument/2006/relationships" xmlns:p="http://schemas.openxmlformats.org/presentationml/2006/main">
  <p:tag name="SHAPE" val="OLD"/>
</p:tagLst>
</file>

<file path=ppt/tags/tag234.xml><?xml version="1.0" encoding="utf-8"?>
<p:tagLst xmlns:a="http://schemas.openxmlformats.org/drawingml/2006/main" xmlns:r="http://schemas.openxmlformats.org/officeDocument/2006/relationships" xmlns:p="http://schemas.openxmlformats.org/presentationml/2006/main">
  <p:tag name="SHAPE" val="OLD"/>
</p:tagLst>
</file>

<file path=ppt/tags/tag235.xml><?xml version="1.0" encoding="utf-8"?>
<p:tagLst xmlns:a="http://schemas.openxmlformats.org/drawingml/2006/main" xmlns:r="http://schemas.openxmlformats.org/officeDocument/2006/relationships" xmlns:p="http://schemas.openxmlformats.org/presentationml/2006/main">
  <p:tag name="SHAPE" val="OLD"/>
</p:tagLst>
</file>

<file path=ppt/tags/tag236.xml><?xml version="1.0" encoding="utf-8"?>
<p:tagLst xmlns:a="http://schemas.openxmlformats.org/drawingml/2006/main" xmlns:r="http://schemas.openxmlformats.org/officeDocument/2006/relationships" xmlns:p="http://schemas.openxmlformats.org/presentationml/2006/main">
  <p:tag name="SHAPE" val="OLD"/>
</p:tagLst>
</file>

<file path=ppt/tags/tag237.xml><?xml version="1.0" encoding="utf-8"?>
<p:tagLst xmlns:a="http://schemas.openxmlformats.org/drawingml/2006/main" xmlns:r="http://schemas.openxmlformats.org/officeDocument/2006/relationships" xmlns:p="http://schemas.openxmlformats.org/presentationml/2006/main">
  <p:tag name="SHAPE" val="OLD"/>
</p:tagLst>
</file>

<file path=ppt/tags/tag238.xml><?xml version="1.0" encoding="utf-8"?>
<p:tagLst xmlns:a="http://schemas.openxmlformats.org/drawingml/2006/main" xmlns:r="http://schemas.openxmlformats.org/officeDocument/2006/relationships" xmlns:p="http://schemas.openxmlformats.org/presentationml/2006/main">
  <p:tag name="SHAPE" val="OLD"/>
</p:tagLst>
</file>

<file path=ppt/tags/tag239.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40.xml><?xml version="1.0" encoding="utf-8"?>
<p:tagLst xmlns:a="http://schemas.openxmlformats.org/drawingml/2006/main" xmlns:r="http://schemas.openxmlformats.org/officeDocument/2006/relationships" xmlns:p="http://schemas.openxmlformats.org/presentationml/2006/main">
  <p:tag name="SHAPE" val="OLD"/>
</p:tagLst>
</file>

<file path=ppt/tags/tag241.xml><?xml version="1.0" encoding="utf-8"?>
<p:tagLst xmlns:a="http://schemas.openxmlformats.org/drawingml/2006/main" xmlns:r="http://schemas.openxmlformats.org/officeDocument/2006/relationships" xmlns:p="http://schemas.openxmlformats.org/presentationml/2006/main">
  <p:tag name="SHAPE" val="OLD"/>
</p:tagLst>
</file>

<file path=ppt/tags/tag242.xml><?xml version="1.0" encoding="utf-8"?>
<p:tagLst xmlns:a="http://schemas.openxmlformats.org/drawingml/2006/main" xmlns:r="http://schemas.openxmlformats.org/officeDocument/2006/relationships" xmlns:p="http://schemas.openxmlformats.org/presentationml/2006/main">
  <p:tag name="SHAPE" val="OLD"/>
</p:tagLst>
</file>

<file path=ppt/tags/tag243.xml><?xml version="1.0" encoding="utf-8"?>
<p:tagLst xmlns:a="http://schemas.openxmlformats.org/drawingml/2006/main" xmlns:r="http://schemas.openxmlformats.org/officeDocument/2006/relationships" xmlns:p="http://schemas.openxmlformats.org/presentationml/2006/main">
  <p:tag name="SHAPE" val="OLD"/>
</p:tagLst>
</file>

<file path=ppt/tags/tag244.xml><?xml version="1.0" encoding="utf-8"?>
<p:tagLst xmlns:a="http://schemas.openxmlformats.org/drawingml/2006/main" xmlns:r="http://schemas.openxmlformats.org/officeDocument/2006/relationships" xmlns:p="http://schemas.openxmlformats.org/presentationml/2006/main">
  <p:tag name="SHAPE" val="OLD"/>
</p:tagLst>
</file>

<file path=ppt/tags/tag245.xml><?xml version="1.0" encoding="utf-8"?>
<p:tagLst xmlns:a="http://schemas.openxmlformats.org/drawingml/2006/main" xmlns:r="http://schemas.openxmlformats.org/officeDocument/2006/relationships" xmlns:p="http://schemas.openxmlformats.org/presentationml/2006/main">
  <p:tag name="SHAPE" val="OLD"/>
</p:tagLst>
</file>

<file path=ppt/tags/tag246.xml><?xml version="1.0" encoding="utf-8"?>
<p:tagLst xmlns:a="http://schemas.openxmlformats.org/drawingml/2006/main" xmlns:r="http://schemas.openxmlformats.org/officeDocument/2006/relationships" xmlns:p="http://schemas.openxmlformats.org/presentationml/2006/main">
  <p:tag name="SHAPE" val="OLD"/>
</p:tagLst>
</file>

<file path=ppt/tags/tag247.xml><?xml version="1.0" encoding="utf-8"?>
<p:tagLst xmlns:a="http://schemas.openxmlformats.org/drawingml/2006/main" xmlns:r="http://schemas.openxmlformats.org/officeDocument/2006/relationships" xmlns:p="http://schemas.openxmlformats.org/presentationml/2006/main">
  <p:tag name="SHAPE" val="OLD"/>
</p:tagLst>
</file>

<file path=ppt/tags/tag248.xml><?xml version="1.0" encoding="utf-8"?>
<p:tagLst xmlns:a="http://schemas.openxmlformats.org/drawingml/2006/main" xmlns:r="http://schemas.openxmlformats.org/officeDocument/2006/relationships" xmlns:p="http://schemas.openxmlformats.org/presentationml/2006/main">
  <p:tag name="SHAPE" val="OLD"/>
</p:tagLst>
</file>

<file path=ppt/tags/tag249.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50.xml><?xml version="1.0" encoding="utf-8"?>
<p:tagLst xmlns:a="http://schemas.openxmlformats.org/drawingml/2006/main" xmlns:r="http://schemas.openxmlformats.org/officeDocument/2006/relationships" xmlns:p="http://schemas.openxmlformats.org/presentationml/2006/main">
  <p:tag name="SHAPE" val="OLD"/>
</p:tagLst>
</file>

<file path=ppt/tags/tag251.xml><?xml version="1.0" encoding="utf-8"?>
<p:tagLst xmlns:a="http://schemas.openxmlformats.org/drawingml/2006/main" xmlns:r="http://schemas.openxmlformats.org/officeDocument/2006/relationships" xmlns:p="http://schemas.openxmlformats.org/presentationml/2006/main">
  <p:tag name="SHAPE" val="OLD"/>
</p:tagLst>
</file>

<file path=ppt/tags/tag252.xml><?xml version="1.0" encoding="utf-8"?>
<p:tagLst xmlns:a="http://schemas.openxmlformats.org/drawingml/2006/main" xmlns:r="http://schemas.openxmlformats.org/officeDocument/2006/relationships" xmlns:p="http://schemas.openxmlformats.org/presentationml/2006/main">
  <p:tag name="SHAPE" val="OLD"/>
</p:tagLst>
</file>

<file path=ppt/tags/tag253.xml><?xml version="1.0" encoding="utf-8"?>
<p:tagLst xmlns:a="http://schemas.openxmlformats.org/drawingml/2006/main" xmlns:r="http://schemas.openxmlformats.org/officeDocument/2006/relationships" xmlns:p="http://schemas.openxmlformats.org/presentationml/2006/main">
  <p:tag name="SHAPE" val="OLD"/>
</p:tagLst>
</file>

<file path=ppt/tags/tag254.xml><?xml version="1.0" encoding="utf-8"?>
<p:tagLst xmlns:a="http://schemas.openxmlformats.org/drawingml/2006/main" xmlns:r="http://schemas.openxmlformats.org/officeDocument/2006/relationships" xmlns:p="http://schemas.openxmlformats.org/presentationml/2006/main">
  <p:tag name="SHAPE" val="OLD"/>
</p:tagLst>
</file>

<file path=ppt/tags/tag255.xml><?xml version="1.0" encoding="utf-8"?>
<p:tagLst xmlns:a="http://schemas.openxmlformats.org/drawingml/2006/main" xmlns:r="http://schemas.openxmlformats.org/officeDocument/2006/relationships" xmlns:p="http://schemas.openxmlformats.org/presentationml/2006/main">
  <p:tag name="SHAPE" val="OLD"/>
</p:tagLst>
</file>

<file path=ppt/tags/tag256.xml><?xml version="1.0" encoding="utf-8"?>
<p:tagLst xmlns:a="http://schemas.openxmlformats.org/drawingml/2006/main" xmlns:r="http://schemas.openxmlformats.org/officeDocument/2006/relationships" xmlns:p="http://schemas.openxmlformats.org/presentationml/2006/main">
  <p:tag name="SHAPE" val="OLD"/>
</p:tagLst>
</file>

<file path=ppt/tags/tag257.xml><?xml version="1.0" encoding="utf-8"?>
<p:tagLst xmlns:a="http://schemas.openxmlformats.org/drawingml/2006/main" xmlns:r="http://schemas.openxmlformats.org/officeDocument/2006/relationships" xmlns:p="http://schemas.openxmlformats.org/presentationml/2006/main">
  <p:tag name="SHAPE" val="OLD"/>
</p:tagLst>
</file>

<file path=ppt/tags/tag258.xml><?xml version="1.0" encoding="utf-8"?>
<p:tagLst xmlns:a="http://schemas.openxmlformats.org/drawingml/2006/main" xmlns:r="http://schemas.openxmlformats.org/officeDocument/2006/relationships" xmlns:p="http://schemas.openxmlformats.org/presentationml/2006/main">
  <p:tag name="SHAPE" val="OLD"/>
</p:tagLst>
</file>

<file path=ppt/tags/tag259.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60.xml><?xml version="1.0" encoding="utf-8"?>
<p:tagLst xmlns:a="http://schemas.openxmlformats.org/drawingml/2006/main" xmlns:r="http://schemas.openxmlformats.org/officeDocument/2006/relationships" xmlns:p="http://schemas.openxmlformats.org/presentationml/2006/main">
  <p:tag name="SHAPE" val="OLD"/>
</p:tagLst>
</file>

<file path=ppt/tags/tag261.xml><?xml version="1.0" encoding="utf-8"?>
<p:tagLst xmlns:a="http://schemas.openxmlformats.org/drawingml/2006/main" xmlns:r="http://schemas.openxmlformats.org/officeDocument/2006/relationships" xmlns:p="http://schemas.openxmlformats.org/presentationml/2006/main">
  <p:tag name="SHAPE" val="OLD"/>
</p:tagLst>
</file>

<file path=ppt/tags/tag262.xml><?xml version="1.0" encoding="utf-8"?>
<p:tagLst xmlns:a="http://schemas.openxmlformats.org/drawingml/2006/main" xmlns:r="http://schemas.openxmlformats.org/officeDocument/2006/relationships" xmlns:p="http://schemas.openxmlformats.org/presentationml/2006/main">
  <p:tag name="SHAPE" val="OLD"/>
</p:tagLst>
</file>

<file path=ppt/tags/tag263.xml><?xml version="1.0" encoding="utf-8"?>
<p:tagLst xmlns:a="http://schemas.openxmlformats.org/drawingml/2006/main" xmlns:r="http://schemas.openxmlformats.org/officeDocument/2006/relationships" xmlns:p="http://schemas.openxmlformats.org/presentationml/2006/main">
  <p:tag name="SHAPE" val="OLD"/>
</p:tagLst>
</file>

<file path=ppt/tags/tag264.xml><?xml version="1.0" encoding="utf-8"?>
<p:tagLst xmlns:a="http://schemas.openxmlformats.org/drawingml/2006/main" xmlns:r="http://schemas.openxmlformats.org/officeDocument/2006/relationships" xmlns:p="http://schemas.openxmlformats.org/presentationml/2006/main">
  <p:tag name="SHAPE" val="OLD"/>
</p:tagLst>
</file>

<file path=ppt/tags/tag265.xml><?xml version="1.0" encoding="utf-8"?>
<p:tagLst xmlns:a="http://schemas.openxmlformats.org/drawingml/2006/main" xmlns:r="http://schemas.openxmlformats.org/officeDocument/2006/relationships" xmlns:p="http://schemas.openxmlformats.org/presentationml/2006/main">
  <p:tag name="SHAPE" val="OLD"/>
</p:tagLst>
</file>

<file path=ppt/tags/tag266.xml><?xml version="1.0" encoding="utf-8"?>
<p:tagLst xmlns:a="http://schemas.openxmlformats.org/drawingml/2006/main" xmlns:r="http://schemas.openxmlformats.org/officeDocument/2006/relationships" xmlns:p="http://schemas.openxmlformats.org/presentationml/2006/main">
  <p:tag name="SHAPE" val="OLD"/>
</p:tagLst>
</file>

<file path=ppt/tags/tag267.xml><?xml version="1.0" encoding="utf-8"?>
<p:tagLst xmlns:a="http://schemas.openxmlformats.org/drawingml/2006/main" xmlns:r="http://schemas.openxmlformats.org/officeDocument/2006/relationships" xmlns:p="http://schemas.openxmlformats.org/presentationml/2006/main">
  <p:tag name="SHAPE" val="OLD"/>
</p:tagLst>
</file>

<file path=ppt/tags/tag268.xml><?xml version="1.0" encoding="utf-8"?>
<p:tagLst xmlns:a="http://schemas.openxmlformats.org/drawingml/2006/main" xmlns:r="http://schemas.openxmlformats.org/officeDocument/2006/relationships" xmlns:p="http://schemas.openxmlformats.org/presentationml/2006/main">
  <p:tag name="SHAPE" val="OLD"/>
</p:tagLst>
</file>

<file path=ppt/tags/tag269.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70.xml><?xml version="1.0" encoding="utf-8"?>
<p:tagLst xmlns:a="http://schemas.openxmlformats.org/drawingml/2006/main" xmlns:r="http://schemas.openxmlformats.org/officeDocument/2006/relationships" xmlns:p="http://schemas.openxmlformats.org/presentationml/2006/main">
  <p:tag name="SHAPE" val="OLD"/>
</p:tagLst>
</file>

<file path=ppt/tags/tag271.xml><?xml version="1.0" encoding="utf-8"?>
<p:tagLst xmlns:a="http://schemas.openxmlformats.org/drawingml/2006/main" xmlns:r="http://schemas.openxmlformats.org/officeDocument/2006/relationships" xmlns:p="http://schemas.openxmlformats.org/presentationml/2006/main">
  <p:tag name="SHAPE" val="OLD"/>
</p:tagLst>
</file>

<file path=ppt/tags/tag272.xml><?xml version="1.0" encoding="utf-8"?>
<p:tagLst xmlns:a="http://schemas.openxmlformats.org/drawingml/2006/main" xmlns:r="http://schemas.openxmlformats.org/officeDocument/2006/relationships" xmlns:p="http://schemas.openxmlformats.org/presentationml/2006/main">
  <p:tag name="SHAPE" val="OLD"/>
</p:tagLst>
</file>

<file path=ppt/tags/tag273.xml><?xml version="1.0" encoding="utf-8"?>
<p:tagLst xmlns:a="http://schemas.openxmlformats.org/drawingml/2006/main" xmlns:r="http://schemas.openxmlformats.org/officeDocument/2006/relationships" xmlns:p="http://schemas.openxmlformats.org/presentationml/2006/main">
  <p:tag name="SHAPE" val="OLD"/>
</p:tagLst>
</file>

<file path=ppt/tags/tag274.xml><?xml version="1.0" encoding="utf-8"?>
<p:tagLst xmlns:a="http://schemas.openxmlformats.org/drawingml/2006/main" xmlns:r="http://schemas.openxmlformats.org/officeDocument/2006/relationships" xmlns:p="http://schemas.openxmlformats.org/presentationml/2006/main">
  <p:tag name="SHAPE" val="OLD"/>
</p:tagLst>
</file>

<file path=ppt/tags/tag275.xml><?xml version="1.0" encoding="utf-8"?>
<p:tagLst xmlns:a="http://schemas.openxmlformats.org/drawingml/2006/main" xmlns:r="http://schemas.openxmlformats.org/officeDocument/2006/relationships" xmlns:p="http://schemas.openxmlformats.org/presentationml/2006/main">
  <p:tag name="SHAPE" val="OLD"/>
</p:tagLst>
</file>

<file path=ppt/tags/tag276.xml><?xml version="1.0" encoding="utf-8"?>
<p:tagLst xmlns:a="http://schemas.openxmlformats.org/drawingml/2006/main" xmlns:r="http://schemas.openxmlformats.org/officeDocument/2006/relationships" xmlns:p="http://schemas.openxmlformats.org/presentationml/2006/main">
  <p:tag name="SHAPE" val="OLD"/>
</p:tagLst>
</file>

<file path=ppt/tags/tag277.xml><?xml version="1.0" encoding="utf-8"?>
<p:tagLst xmlns:a="http://schemas.openxmlformats.org/drawingml/2006/main" xmlns:r="http://schemas.openxmlformats.org/officeDocument/2006/relationships" xmlns:p="http://schemas.openxmlformats.org/presentationml/2006/main">
  <p:tag name="SHAPE" val="OLD"/>
</p:tagLst>
</file>

<file path=ppt/tags/tag278.xml><?xml version="1.0" encoding="utf-8"?>
<p:tagLst xmlns:a="http://schemas.openxmlformats.org/drawingml/2006/main" xmlns:r="http://schemas.openxmlformats.org/officeDocument/2006/relationships" xmlns:p="http://schemas.openxmlformats.org/presentationml/2006/main">
  <p:tag name="SHAPE" val="OLD"/>
</p:tagLst>
</file>

<file path=ppt/tags/tag279.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80.xml><?xml version="1.0" encoding="utf-8"?>
<p:tagLst xmlns:a="http://schemas.openxmlformats.org/drawingml/2006/main" xmlns:r="http://schemas.openxmlformats.org/officeDocument/2006/relationships" xmlns:p="http://schemas.openxmlformats.org/presentationml/2006/main">
  <p:tag name="SHAPE" val="OLD"/>
</p:tagLst>
</file>

<file path=ppt/tags/tag281.xml><?xml version="1.0" encoding="utf-8"?>
<p:tagLst xmlns:a="http://schemas.openxmlformats.org/drawingml/2006/main" xmlns:r="http://schemas.openxmlformats.org/officeDocument/2006/relationships" xmlns:p="http://schemas.openxmlformats.org/presentationml/2006/main">
  <p:tag name="SHAPE" val="OLD"/>
</p:tagLst>
</file>

<file path=ppt/tags/tag282.xml><?xml version="1.0" encoding="utf-8"?>
<p:tagLst xmlns:a="http://schemas.openxmlformats.org/drawingml/2006/main" xmlns:r="http://schemas.openxmlformats.org/officeDocument/2006/relationships" xmlns:p="http://schemas.openxmlformats.org/presentationml/2006/main">
  <p:tag name="SHAPE" val="OLD"/>
</p:tagLst>
</file>

<file path=ppt/tags/tag283.xml><?xml version="1.0" encoding="utf-8"?>
<p:tagLst xmlns:a="http://schemas.openxmlformats.org/drawingml/2006/main" xmlns:r="http://schemas.openxmlformats.org/officeDocument/2006/relationships" xmlns:p="http://schemas.openxmlformats.org/presentationml/2006/main">
  <p:tag name="SHAPE" val="OLD"/>
</p:tagLst>
</file>

<file path=ppt/tags/tag284.xml><?xml version="1.0" encoding="utf-8"?>
<p:tagLst xmlns:a="http://schemas.openxmlformats.org/drawingml/2006/main" xmlns:r="http://schemas.openxmlformats.org/officeDocument/2006/relationships" xmlns:p="http://schemas.openxmlformats.org/presentationml/2006/main">
  <p:tag name="SHAPE" val="OLD"/>
</p:tagLst>
</file>

<file path=ppt/tags/tag285.xml><?xml version="1.0" encoding="utf-8"?>
<p:tagLst xmlns:a="http://schemas.openxmlformats.org/drawingml/2006/main" xmlns:r="http://schemas.openxmlformats.org/officeDocument/2006/relationships" xmlns:p="http://schemas.openxmlformats.org/presentationml/2006/main">
  <p:tag name="SHAPE" val="OLD"/>
</p:tagLst>
</file>

<file path=ppt/tags/tag286.xml><?xml version="1.0" encoding="utf-8"?>
<p:tagLst xmlns:a="http://schemas.openxmlformats.org/drawingml/2006/main" xmlns:r="http://schemas.openxmlformats.org/officeDocument/2006/relationships" xmlns:p="http://schemas.openxmlformats.org/presentationml/2006/main">
  <p:tag name="SHAPE" val="OLD"/>
</p:tagLst>
</file>

<file path=ppt/tags/tag287.xml><?xml version="1.0" encoding="utf-8"?>
<p:tagLst xmlns:a="http://schemas.openxmlformats.org/drawingml/2006/main" xmlns:r="http://schemas.openxmlformats.org/officeDocument/2006/relationships" xmlns:p="http://schemas.openxmlformats.org/presentationml/2006/main">
  <p:tag name="SHAPE" val="OLD"/>
</p:tagLst>
</file>

<file path=ppt/tags/tag288.xml><?xml version="1.0" encoding="utf-8"?>
<p:tagLst xmlns:a="http://schemas.openxmlformats.org/drawingml/2006/main" xmlns:r="http://schemas.openxmlformats.org/officeDocument/2006/relationships" xmlns:p="http://schemas.openxmlformats.org/presentationml/2006/main">
  <p:tag name="SHAPE" val="OLD"/>
</p:tagLst>
</file>

<file path=ppt/tags/tag289.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290.xml><?xml version="1.0" encoding="utf-8"?>
<p:tagLst xmlns:a="http://schemas.openxmlformats.org/drawingml/2006/main" xmlns:r="http://schemas.openxmlformats.org/officeDocument/2006/relationships" xmlns:p="http://schemas.openxmlformats.org/presentationml/2006/main">
  <p:tag name="SHAPE" val="OLD"/>
</p:tagLst>
</file>

<file path=ppt/tags/tag291.xml><?xml version="1.0" encoding="utf-8"?>
<p:tagLst xmlns:a="http://schemas.openxmlformats.org/drawingml/2006/main" xmlns:r="http://schemas.openxmlformats.org/officeDocument/2006/relationships" xmlns:p="http://schemas.openxmlformats.org/presentationml/2006/main">
  <p:tag name="SHAPE" val="OLD"/>
</p:tagLst>
</file>

<file path=ppt/tags/tag292.xml><?xml version="1.0" encoding="utf-8"?>
<p:tagLst xmlns:a="http://schemas.openxmlformats.org/drawingml/2006/main" xmlns:r="http://schemas.openxmlformats.org/officeDocument/2006/relationships" xmlns:p="http://schemas.openxmlformats.org/presentationml/2006/main">
  <p:tag name="SHAPE" val="OLD"/>
</p:tagLst>
</file>

<file path=ppt/tags/tag293.xml><?xml version="1.0" encoding="utf-8"?>
<p:tagLst xmlns:a="http://schemas.openxmlformats.org/drawingml/2006/main" xmlns:r="http://schemas.openxmlformats.org/officeDocument/2006/relationships" xmlns:p="http://schemas.openxmlformats.org/presentationml/2006/main">
  <p:tag name="SHAPE" val="OLD"/>
</p:tagLst>
</file>

<file path=ppt/tags/tag294.xml><?xml version="1.0" encoding="utf-8"?>
<p:tagLst xmlns:a="http://schemas.openxmlformats.org/drawingml/2006/main" xmlns:r="http://schemas.openxmlformats.org/officeDocument/2006/relationships" xmlns:p="http://schemas.openxmlformats.org/presentationml/2006/main">
  <p:tag name="SHAPE" val="OLD"/>
</p:tagLst>
</file>

<file path=ppt/tags/tag295.xml><?xml version="1.0" encoding="utf-8"?>
<p:tagLst xmlns:a="http://schemas.openxmlformats.org/drawingml/2006/main" xmlns:r="http://schemas.openxmlformats.org/officeDocument/2006/relationships" xmlns:p="http://schemas.openxmlformats.org/presentationml/2006/main">
  <p:tag name="SHAPE" val="OLD"/>
</p:tagLst>
</file>

<file path=ppt/tags/tag296.xml><?xml version="1.0" encoding="utf-8"?>
<p:tagLst xmlns:a="http://schemas.openxmlformats.org/drawingml/2006/main" xmlns:r="http://schemas.openxmlformats.org/officeDocument/2006/relationships" xmlns:p="http://schemas.openxmlformats.org/presentationml/2006/main">
  <p:tag name="SHAPE" val="OLD"/>
</p:tagLst>
</file>

<file path=ppt/tags/tag297.xml><?xml version="1.0" encoding="utf-8"?>
<p:tagLst xmlns:a="http://schemas.openxmlformats.org/drawingml/2006/main" xmlns:r="http://schemas.openxmlformats.org/officeDocument/2006/relationships" xmlns:p="http://schemas.openxmlformats.org/presentationml/2006/main">
  <p:tag name="SHAPE" val="OLD"/>
</p:tagLst>
</file>

<file path=ppt/tags/tag298.xml><?xml version="1.0" encoding="utf-8"?>
<p:tagLst xmlns:a="http://schemas.openxmlformats.org/drawingml/2006/main" xmlns:r="http://schemas.openxmlformats.org/officeDocument/2006/relationships" xmlns:p="http://schemas.openxmlformats.org/presentationml/2006/main">
  <p:tag name="SHAPE" val="OLD"/>
</p:tagLst>
</file>

<file path=ppt/tags/tag29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00.xml><?xml version="1.0" encoding="utf-8"?>
<p:tagLst xmlns:a="http://schemas.openxmlformats.org/drawingml/2006/main" xmlns:r="http://schemas.openxmlformats.org/officeDocument/2006/relationships" xmlns:p="http://schemas.openxmlformats.org/presentationml/2006/main">
  <p:tag name="SHAPE" val="OLD"/>
</p:tagLst>
</file>

<file path=ppt/tags/tag301.xml><?xml version="1.0" encoding="utf-8"?>
<p:tagLst xmlns:a="http://schemas.openxmlformats.org/drawingml/2006/main" xmlns:r="http://schemas.openxmlformats.org/officeDocument/2006/relationships" xmlns:p="http://schemas.openxmlformats.org/presentationml/2006/main">
  <p:tag name="SHAPE" val="OLD"/>
</p:tagLst>
</file>

<file path=ppt/tags/tag302.xml><?xml version="1.0" encoding="utf-8"?>
<p:tagLst xmlns:a="http://schemas.openxmlformats.org/drawingml/2006/main" xmlns:r="http://schemas.openxmlformats.org/officeDocument/2006/relationships" xmlns:p="http://schemas.openxmlformats.org/presentationml/2006/main">
  <p:tag name="SHAPE" val="OLD"/>
</p:tagLst>
</file>

<file path=ppt/tags/tag303.xml><?xml version="1.0" encoding="utf-8"?>
<p:tagLst xmlns:a="http://schemas.openxmlformats.org/drawingml/2006/main" xmlns:r="http://schemas.openxmlformats.org/officeDocument/2006/relationships" xmlns:p="http://schemas.openxmlformats.org/presentationml/2006/main">
  <p:tag name="SHAPE" val="OLD"/>
</p:tagLst>
</file>

<file path=ppt/tags/tag304.xml><?xml version="1.0" encoding="utf-8"?>
<p:tagLst xmlns:a="http://schemas.openxmlformats.org/drawingml/2006/main" xmlns:r="http://schemas.openxmlformats.org/officeDocument/2006/relationships" xmlns:p="http://schemas.openxmlformats.org/presentationml/2006/main">
  <p:tag name="SHAPE" val="OLD"/>
</p:tagLst>
</file>

<file path=ppt/tags/tag305.xml><?xml version="1.0" encoding="utf-8"?>
<p:tagLst xmlns:a="http://schemas.openxmlformats.org/drawingml/2006/main" xmlns:r="http://schemas.openxmlformats.org/officeDocument/2006/relationships" xmlns:p="http://schemas.openxmlformats.org/presentationml/2006/main">
  <p:tag name="SHAPE" val="OLD"/>
</p:tagLst>
</file>

<file path=ppt/tags/tag306.xml><?xml version="1.0" encoding="utf-8"?>
<p:tagLst xmlns:a="http://schemas.openxmlformats.org/drawingml/2006/main" xmlns:r="http://schemas.openxmlformats.org/officeDocument/2006/relationships" xmlns:p="http://schemas.openxmlformats.org/presentationml/2006/main">
  <p:tag name="SHAPE" val="OLD"/>
</p:tagLst>
</file>

<file path=ppt/tags/tag307.xml><?xml version="1.0" encoding="utf-8"?>
<p:tagLst xmlns:a="http://schemas.openxmlformats.org/drawingml/2006/main" xmlns:r="http://schemas.openxmlformats.org/officeDocument/2006/relationships" xmlns:p="http://schemas.openxmlformats.org/presentationml/2006/main">
  <p:tag name="SHAPE" val="OLD"/>
</p:tagLst>
</file>

<file path=ppt/tags/tag308.xml><?xml version="1.0" encoding="utf-8"?>
<p:tagLst xmlns:a="http://schemas.openxmlformats.org/drawingml/2006/main" xmlns:r="http://schemas.openxmlformats.org/officeDocument/2006/relationships" xmlns:p="http://schemas.openxmlformats.org/presentationml/2006/main">
  <p:tag name="SHAPE" val="OLD"/>
</p:tagLst>
</file>

<file path=ppt/tags/tag309.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10.xml><?xml version="1.0" encoding="utf-8"?>
<p:tagLst xmlns:a="http://schemas.openxmlformats.org/drawingml/2006/main" xmlns:r="http://schemas.openxmlformats.org/officeDocument/2006/relationships" xmlns:p="http://schemas.openxmlformats.org/presentationml/2006/main">
  <p:tag name="SHAPE" val="OLD"/>
</p:tagLst>
</file>

<file path=ppt/tags/tag311.xml><?xml version="1.0" encoding="utf-8"?>
<p:tagLst xmlns:a="http://schemas.openxmlformats.org/drawingml/2006/main" xmlns:r="http://schemas.openxmlformats.org/officeDocument/2006/relationships" xmlns:p="http://schemas.openxmlformats.org/presentationml/2006/main">
  <p:tag name="SHAPE" val="OLD"/>
</p:tagLst>
</file>

<file path=ppt/tags/tag312.xml><?xml version="1.0" encoding="utf-8"?>
<p:tagLst xmlns:a="http://schemas.openxmlformats.org/drawingml/2006/main" xmlns:r="http://schemas.openxmlformats.org/officeDocument/2006/relationships" xmlns:p="http://schemas.openxmlformats.org/presentationml/2006/main">
  <p:tag name="SHAPE" val="OLD"/>
</p:tagLst>
</file>

<file path=ppt/tags/tag313.xml><?xml version="1.0" encoding="utf-8"?>
<p:tagLst xmlns:a="http://schemas.openxmlformats.org/drawingml/2006/main" xmlns:r="http://schemas.openxmlformats.org/officeDocument/2006/relationships" xmlns:p="http://schemas.openxmlformats.org/presentationml/2006/main">
  <p:tag name="SHAPE" val="OLD"/>
</p:tagLst>
</file>

<file path=ppt/tags/tag314.xml><?xml version="1.0" encoding="utf-8"?>
<p:tagLst xmlns:a="http://schemas.openxmlformats.org/drawingml/2006/main" xmlns:r="http://schemas.openxmlformats.org/officeDocument/2006/relationships" xmlns:p="http://schemas.openxmlformats.org/presentationml/2006/main">
  <p:tag name="SHAPE" val="OLD"/>
</p:tagLst>
</file>

<file path=ppt/tags/tag315.xml><?xml version="1.0" encoding="utf-8"?>
<p:tagLst xmlns:a="http://schemas.openxmlformats.org/drawingml/2006/main" xmlns:r="http://schemas.openxmlformats.org/officeDocument/2006/relationships" xmlns:p="http://schemas.openxmlformats.org/presentationml/2006/main">
  <p:tag name="SHAPE" val="OLD"/>
</p:tagLst>
</file>

<file path=ppt/tags/tag316.xml><?xml version="1.0" encoding="utf-8"?>
<p:tagLst xmlns:a="http://schemas.openxmlformats.org/drawingml/2006/main" xmlns:r="http://schemas.openxmlformats.org/officeDocument/2006/relationships" xmlns:p="http://schemas.openxmlformats.org/presentationml/2006/main">
  <p:tag name="SHAPE" val="OLD"/>
</p:tagLst>
</file>

<file path=ppt/tags/tag317.xml><?xml version="1.0" encoding="utf-8"?>
<p:tagLst xmlns:a="http://schemas.openxmlformats.org/drawingml/2006/main" xmlns:r="http://schemas.openxmlformats.org/officeDocument/2006/relationships" xmlns:p="http://schemas.openxmlformats.org/presentationml/2006/main">
  <p:tag name="SHAPE" val="OLD"/>
</p:tagLst>
</file>

<file path=ppt/tags/tag318.xml><?xml version="1.0" encoding="utf-8"?>
<p:tagLst xmlns:a="http://schemas.openxmlformats.org/drawingml/2006/main" xmlns:r="http://schemas.openxmlformats.org/officeDocument/2006/relationships" xmlns:p="http://schemas.openxmlformats.org/presentationml/2006/main">
  <p:tag name="SHAPE" val="OLD"/>
</p:tagLst>
</file>

<file path=ppt/tags/tag319.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20.xml><?xml version="1.0" encoding="utf-8"?>
<p:tagLst xmlns:a="http://schemas.openxmlformats.org/drawingml/2006/main" xmlns:r="http://schemas.openxmlformats.org/officeDocument/2006/relationships" xmlns:p="http://schemas.openxmlformats.org/presentationml/2006/main">
  <p:tag name="SHAPE" val="OLD"/>
</p:tagLst>
</file>

<file path=ppt/tags/tag321.xml><?xml version="1.0" encoding="utf-8"?>
<p:tagLst xmlns:a="http://schemas.openxmlformats.org/drawingml/2006/main" xmlns:r="http://schemas.openxmlformats.org/officeDocument/2006/relationships" xmlns:p="http://schemas.openxmlformats.org/presentationml/2006/main">
  <p:tag name="SHAPE" val="OLD"/>
</p:tagLst>
</file>

<file path=ppt/tags/tag322.xml><?xml version="1.0" encoding="utf-8"?>
<p:tagLst xmlns:a="http://schemas.openxmlformats.org/drawingml/2006/main" xmlns:r="http://schemas.openxmlformats.org/officeDocument/2006/relationships" xmlns:p="http://schemas.openxmlformats.org/presentationml/2006/main">
  <p:tag name="SHAPE" val="OLD"/>
</p:tagLst>
</file>

<file path=ppt/tags/tag323.xml><?xml version="1.0" encoding="utf-8"?>
<p:tagLst xmlns:a="http://schemas.openxmlformats.org/drawingml/2006/main" xmlns:r="http://schemas.openxmlformats.org/officeDocument/2006/relationships" xmlns:p="http://schemas.openxmlformats.org/presentationml/2006/main">
  <p:tag name="SHAPE" val="OLD"/>
</p:tagLst>
</file>

<file path=ppt/tags/tag324.xml><?xml version="1.0" encoding="utf-8"?>
<p:tagLst xmlns:a="http://schemas.openxmlformats.org/drawingml/2006/main" xmlns:r="http://schemas.openxmlformats.org/officeDocument/2006/relationships" xmlns:p="http://schemas.openxmlformats.org/presentationml/2006/main">
  <p:tag name="SHAPE" val="OLD"/>
</p:tagLst>
</file>

<file path=ppt/tags/tag325.xml><?xml version="1.0" encoding="utf-8"?>
<p:tagLst xmlns:a="http://schemas.openxmlformats.org/drawingml/2006/main" xmlns:r="http://schemas.openxmlformats.org/officeDocument/2006/relationships" xmlns:p="http://schemas.openxmlformats.org/presentationml/2006/main">
  <p:tag name="SHAPE" val="OLD"/>
</p:tagLst>
</file>

<file path=ppt/tags/tag326.xml><?xml version="1.0" encoding="utf-8"?>
<p:tagLst xmlns:a="http://schemas.openxmlformats.org/drawingml/2006/main" xmlns:r="http://schemas.openxmlformats.org/officeDocument/2006/relationships" xmlns:p="http://schemas.openxmlformats.org/presentationml/2006/main">
  <p:tag name="SHAPE" val="OLD"/>
</p:tagLst>
</file>

<file path=ppt/tags/tag327.xml><?xml version="1.0" encoding="utf-8"?>
<p:tagLst xmlns:a="http://schemas.openxmlformats.org/drawingml/2006/main" xmlns:r="http://schemas.openxmlformats.org/officeDocument/2006/relationships" xmlns:p="http://schemas.openxmlformats.org/presentationml/2006/main">
  <p:tag name="SHAPE" val="OLD"/>
</p:tagLst>
</file>

<file path=ppt/tags/tag328.xml><?xml version="1.0" encoding="utf-8"?>
<p:tagLst xmlns:a="http://schemas.openxmlformats.org/drawingml/2006/main" xmlns:r="http://schemas.openxmlformats.org/officeDocument/2006/relationships" xmlns:p="http://schemas.openxmlformats.org/presentationml/2006/main">
  <p:tag name="SHAPE" val="OLD"/>
</p:tagLst>
</file>

<file path=ppt/tags/tag329.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30.xml><?xml version="1.0" encoding="utf-8"?>
<p:tagLst xmlns:a="http://schemas.openxmlformats.org/drawingml/2006/main" xmlns:r="http://schemas.openxmlformats.org/officeDocument/2006/relationships" xmlns:p="http://schemas.openxmlformats.org/presentationml/2006/main">
  <p:tag name="SHAPE" val="OLD"/>
</p:tagLst>
</file>

<file path=ppt/tags/tag331.xml><?xml version="1.0" encoding="utf-8"?>
<p:tagLst xmlns:a="http://schemas.openxmlformats.org/drawingml/2006/main" xmlns:r="http://schemas.openxmlformats.org/officeDocument/2006/relationships" xmlns:p="http://schemas.openxmlformats.org/presentationml/2006/main">
  <p:tag name="SHAPE" val="OLD"/>
</p:tagLst>
</file>

<file path=ppt/tags/tag332.xml><?xml version="1.0" encoding="utf-8"?>
<p:tagLst xmlns:a="http://schemas.openxmlformats.org/drawingml/2006/main" xmlns:r="http://schemas.openxmlformats.org/officeDocument/2006/relationships" xmlns:p="http://schemas.openxmlformats.org/presentationml/2006/main">
  <p:tag name="SHAPE" val="OLD"/>
</p:tagLst>
</file>

<file path=ppt/tags/tag333.xml><?xml version="1.0" encoding="utf-8"?>
<p:tagLst xmlns:a="http://schemas.openxmlformats.org/drawingml/2006/main" xmlns:r="http://schemas.openxmlformats.org/officeDocument/2006/relationships" xmlns:p="http://schemas.openxmlformats.org/presentationml/2006/main">
  <p:tag name="SHAPE" val="OLD"/>
</p:tagLst>
</file>

<file path=ppt/tags/tag334.xml><?xml version="1.0" encoding="utf-8"?>
<p:tagLst xmlns:a="http://schemas.openxmlformats.org/drawingml/2006/main" xmlns:r="http://schemas.openxmlformats.org/officeDocument/2006/relationships" xmlns:p="http://schemas.openxmlformats.org/presentationml/2006/main">
  <p:tag name="SHAPE" val="OLD"/>
</p:tagLst>
</file>

<file path=ppt/tags/tag335.xml><?xml version="1.0" encoding="utf-8"?>
<p:tagLst xmlns:a="http://schemas.openxmlformats.org/drawingml/2006/main" xmlns:r="http://schemas.openxmlformats.org/officeDocument/2006/relationships" xmlns:p="http://schemas.openxmlformats.org/presentationml/2006/main">
  <p:tag name="SHAPE" val="OLD"/>
</p:tagLst>
</file>

<file path=ppt/tags/tag336.xml><?xml version="1.0" encoding="utf-8"?>
<p:tagLst xmlns:a="http://schemas.openxmlformats.org/drawingml/2006/main" xmlns:r="http://schemas.openxmlformats.org/officeDocument/2006/relationships" xmlns:p="http://schemas.openxmlformats.org/presentationml/2006/main">
  <p:tag name="SHAPE" val="OLD"/>
</p:tagLst>
</file>

<file path=ppt/tags/tag337.xml><?xml version="1.0" encoding="utf-8"?>
<p:tagLst xmlns:a="http://schemas.openxmlformats.org/drawingml/2006/main" xmlns:r="http://schemas.openxmlformats.org/officeDocument/2006/relationships" xmlns:p="http://schemas.openxmlformats.org/presentationml/2006/main">
  <p:tag name="SHAPE" val="OLD"/>
</p:tagLst>
</file>

<file path=ppt/tags/tag338.xml><?xml version="1.0" encoding="utf-8"?>
<p:tagLst xmlns:a="http://schemas.openxmlformats.org/drawingml/2006/main" xmlns:r="http://schemas.openxmlformats.org/officeDocument/2006/relationships" xmlns:p="http://schemas.openxmlformats.org/presentationml/2006/main">
  <p:tag name="SHAPE" val="OLD"/>
</p:tagLst>
</file>

<file path=ppt/tags/tag339.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40.xml><?xml version="1.0" encoding="utf-8"?>
<p:tagLst xmlns:a="http://schemas.openxmlformats.org/drawingml/2006/main" xmlns:r="http://schemas.openxmlformats.org/officeDocument/2006/relationships" xmlns:p="http://schemas.openxmlformats.org/presentationml/2006/main">
  <p:tag name="SHAPE" val="OLD"/>
</p:tagLst>
</file>

<file path=ppt/tags/tag341.xml><?xml version="1.0" encoding="utf-8"?>
<p:tagLst xmlns:a="http://schemas.openxmlformats.org/drawingml/2006/main" xmlns:r="http://schemas.openxmlformats.org/officeDocument/2006/relationships" xmlns:p="http://schemas.openxmlformats.org/presentationml/2006/main">
  <p:tag name="SHAPE" val="OLD"/>
</p:tagLst>
</file>

<file path=ppt/tags/tag342.xml><?xml version="1.0" encoding="utf-8"?>
<p:tagLst xmlns:a="http://schemas.openxmlformats.org/drawingml/2006/main" xmlns:r="http://schemas.openxmlformats.org/officeDocument/2006/relationships" xmlns:p="http://schemas.openxmlformats.org/presentationml/2006/main">
  <p:tag name="SHAPE" val="OLD"/>
</p:tagLst>
</file>

<file path=ppt/tags/tag343.xml><?xml version="1.0" encoding="utf-8"?>
<p:tagLst xmlns:a="http://schemas.openxmlformats.org/drawingml/2006/main" xmlns:r="http://schemas.openxmlformats.org/officeDocument/2006/relationships" xmlns:p="http://schemas.openxmlformats.org/presentationml/2006/main">
  <p:tag name="SHAPE" val="OLD"/>
</p:tagLst>
</file>

<file path=ppt/tags/tag344.xml><?xml version="1.0" encoding="utf-8"?>
<p:tagLst xmlns:a="http://schemas.openxmlformats.org/drawingml/2006/main" xmlns:r="http://schemas.openxmlformats.org/officeDocument/2006/relationships" xmlns:p="http://schemas.openxmlformats.org/presentationml/2006/main">
  <p:tag name="SHAPE" val="OLD"/>
</p:tagLst>
</file>

<file path=ppt/tags/tag345.xml><?xml version="1.0" encoding="utf-8"?>
<p:tagLst xmlns:a="http://schemas.openxmlformats.org/drawingml/2006/main" xmlns:r="http://schemas.openxmlformats.org/officeDocument/2006/relationships" xmlns:p="http://schemas.openxmlformats.org/presentationml/2006/main">
  <p:tag name="SHAPE" val="OLD"/>
</p:tagLst>
</file>

<file path=ppt/tags/tag346.xml><?xml version="1.0" encoding="utf-8"?>
<p:tagLst xmlns:a="http://schemas.openxmlformats.org/drawingml/2006/main" xmlns:r="http://schemas.openxmlformats.org/officeDocument/2006/relationships" xmlns:p="http://schemas.openxmlformats.org/presentationml/2006/main">
  <p:tag name="SHAPE" val="OLD"/>
</p:tagLst>
</file>

<file path=ppt/tags/tag347.xml><?xml version="1.0" encoding="utf-8"?>
<p:tagLst xmlns:a="http://schemas.openxmlformats.org/drawingml/2006/main" xmlns:r="http://schemas.openxmlformats.org/officeDocument/2006/relationships" xmlns:p="http://schemas.openxmlformats.org/presentationml/2006/main">
  <p:tag name="SHAPE" val="OLD"/>
</p:tagLst>
</file>

<file path=ppt/tags/tag348.xml><?xml version="1.0" encoding="utf-8"?>
<p:tagLst xmlns:a="http://schemas.openxmlformats.org/drawingml/2006/main" xmlns:r="http://schemas.openxmlformats.org/officeDocument/2006/relationships" xmlns:p="http://schemas.openxmlformats.org/presentationml/2006/main">
  <p:tag name="SHAPE" val="OLD"/>
</p:tagLst>
</file>

<file path=ppt/tags/tag349.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50.xml><?xml version="1.0" encoding="utf-8"?>
<p:tagLst xmlns:a="http://schemas.openxmlformats.org/drawingml/2006/main" xmlns:r="http://schemas.openxmlformats.org/officeDocument/2006/relationships" xmlns:p="http://schemas.openxmlformats.org/presentationml/2006/main">
  <p:tag name="SHAPE" val="OLD"/>
</p:tagLst>
</file>

<file path=ppt/tags/tag351.xml><?xml version="1.0" encoding="utf-8"?>
<p:tagLst xmlns:a="http://schemas.openxmlformats.org/drawingml/2006/main" xmlns:r="http://schemas.openxmlformats.org/officeDocument/2006/relationships" xmlns:p="http://schemas.openxmlformats.org/presentationml/2006/main">
  <p:tag name="SHAPE" val="OLD"/>
</p:tagLst>
</file>

<file path=ppt/tags/tag352.xml><?xml version="1.0" encoding="utf-8"?>
<p:tagLst xmlns:a="http://schemas.openxmlformats.org/drawingml/2006/main" xmlns:r="http://schemas.openxmlformats.org/officeDocument/2006/relationships" xmlns:p="http://schemas.openxmlformats.org/presentationml/2006/main">
  <p:tag name="SHAPE" val="OLD"/>
</p:tagLst>
</file>

<file path=ppt/tags/tag353.xml><?xml version="1.0" encoding="utf-8"?>
<p:tagLst xmlns:a="http://schemas.openxmlformats.org/drawingml/2006/main" xmlns:r="http://schemas.openxmlformats.org/officeDocument/2006/relationships" xmlns:p="http://schemas.openxmlformats.org/presentationml/2006/main">
  <p:tag name="SHAPE" val="OLD"/>
</p:tagLst>
</file>

<file path=ppt/tags/tag354.xml><?xml version="1.0" encoding="utf-8"?>
<p:tagLst xmlns:a="http://schemas.openxmlformats.org/drawingml/2006/main" xmlns:r="http://schemas.openxmlformats.org/officeDocument/2006/relationships" xmlns:p="http://schemas.openxmlformats.org/presentationml/2006/main">
  <p:tag name="SHAPE" val="OLD"/>
</p:tagLst>
</file>

<file path=ppt/tags/tag355.xml><?xml version="1.0" encoding="utf-8"?>
<p:tagLst xmlns:a="http://schemas.openxmlformats.org/drawingml/2006/main" xmlns:r="http://schemas.openxmlformats.org/officeDocument/2006/relationships" xmlns:p="http://schemas.openxmlformats.org/presentationml/2006/main">
  <p:tag name="SHAPE" val="OLD"/>
</p:tagLst>
</file>

<file path=ppt/tags/tag356.xml><?xml version="1.0" encoding="utf-8"?>
<p:tagLst xmlns:a="http://schemas.openxmlformats.org/drawingml/2006/main" xmlns:r="http://schemas.openxmlformats.org/officeDocument/2006/relationships" xmlns:p="http://schemas.openxmlformats.org/presentationml/2006/main">
  <p:tag name="SHAPE" val="OLD"/>
</p:tagLst>
</file>

<file path=ppt/tags/tag357.xml><?xml version="1.0" encoding="utf-8"?>
<p:tagLst xmlns:a="http://schemas.openxmlformats.org/drawingml/2006/main" xmlns:r="http://schemas.openxmlformats.org/officeDocument/2006/relationships" xmlns:p="http://schemas.openxmlformats.org/presentationml/2006/main">
  <p:tag name="SHAPE" val="OLD"/>
</p:tagLst>
</file>

<file path=ppt/tags/tag358.xml><?xml version="1.0" encoding="utf-8"?>
<p:tagLst xmlns:a="http://schemas.openxmlformats.org/drawingml/2006/main" xmlns:r="http://schemas.openxmlformats.org/officeDocument/2006/relationships" xmlns:p="http://schemas.openxmlformats.org/presentationml/2006/main">
  <p:tag name="SHAPE" val="OLD"/>
</p:tagLst>
</file>

<file path=ppt/tags/tag359.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60.xml><?xml version="1.0" encoding="utf-8"?>
<p:tagLst xmlns:a="http://schemas.openxmlformats.org/drawingml/2006/main" xmlns:r="http://schemas.openxmlformats.org/officeDocument/2006/relationships" xmlns:p="http://schemas.openxmlformats.org/presentationml/2006/main">
  <p:tag name="SHAPE" val="OLD"/>
</p:tagLst>
</file>

<file path=ppt/tags/tag361.xml><?xml version="1.0" encoding="utf-8"?>
<p:tagLst xmlns:a="http://schemas.openxmlformats.org/drawingml/2006/main" xmlns:r="http://schemas.openxmlformats.org/officeDocument/2006/relationships" xmlns:p="http://schemas.openxmlformats.org/presentationml/2006/main">
  <p:tag name="SHAPE" val="OLD"/>
</p:tagLst>
</file>

<file path=ppt/tags/tag362.xml><?xml version="1.0" encoding="utf-8"?>
<p:tagLst xmlns:a="http://schemas.openxmlformats.org/drawingml/2006/main" xmlns:r="http://schemas.openxmlformats.org/officeDocument/2006/relationships" xmlns:p="http://schemas.openxmlformats.org/presentationml/2006/main">
  <p:tag name="SHAPE" val="OLD"/>
</p:tagLst>
</file>

<file path=ppt/tags/tag363.xml><?xml version="1.0" encoding="utf-8"?>
<p:tagLst xmlns:a="http://schemas.openxmlformats.org/drawingml/2006/main" xmlns:r="http://schemas.openxmlformats.org/officeDocument/2006/relationships" xmlns:p="http://schemas.openxmlformats.org/presentationml/2006/main">
  <p:tag name="SHAPE" val="OLD"/>
</p:tagLst>
</file>

<file path=ppt/tags/tag364.xml><?xml version="1.0" encoding="utf-8"?>
<p:tagLst xmlns:a="http://schemas.openxmlformats.org/drawingml/2006/main" xmlns:r="http://schemas.openxmlformats.org/officeDocument/2006/relationships" xmlns:p="http://schemas.openxmlformats.org/presentationml/2006/main">
  <p:tag name="SHAPE" val="OLD"/>
</p:tagLst>
</file>

<file path=ppt/tags/tag365.xml><?xml version="1.0" encoding="utf-8"?>
<p:tagLst xmlns:a="http://schemas.openxmlformats.org/drawingml/2006/main" xmlns:r="http://schemas.openxmlformats.org/officeDocument/2006/relationships" xmlns:p="http://schemas.openxmlformats.org/presentationml/2006/main">
  <p:tag name="SHAPE" val="OLD"/>
</p:tagLst>
</file>

<file path=ppt/tags/tag366.xml><?xml version="1.0" encoding="utf-8"?>
<p:tagLst xmlns:a="http://schemas.openxmlformats.org/drawingml/2006/main" xmlns:r="http://schemas.openxmlformats.org/officeDocument/2006/relationships" xmlns:p="http://schemas.openxmlformats.org/presentationml/2006/main">
  <p:tag name="SHAPE" val="OLD"/>
</p:tagLst>
</file>

<file path=ppt/tags/tag367.xml><?xml version="1.0" encoding="utf-8"?>
<p:tagLst xmlns:a="http://schemas.openxmlformats.org/drawingml/2006/main" xmlns:r="http://schemas.openxmlformats.org/officeDocument/2006/relationships" xmlns:p="http://schemas.openxmlformats.org/presentationml/2006/main">
  <p:tag name="SHAPE" val="OLD"/>
</p:tagLst>
</file>

<file path=ppt/tags/tag368.xml><?xml version="1.0" encoding="utf-8"?>
<p:tagLst xmlns:a="http://schemas.openxmlformats.org/drawingml/2006/main" xmlns:r="http://schemas.openxmlformats.org/officeDocument/2006/relationships" xmlns:p="http://schemas.openxmlformats.org/presentationml/2006/main">
  <p:tag name="SHAPE" val="OLD"/>
</p:tagLst>
</file>

<file path=ppt/tags/tag369.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70.xml><?xml version="1.0" encoding="utf-8"?>
<p:tagLst xmlns:a="http://schemas.openxmlformats.org/drawingml/2006/main" xmlns:r="http://schemas.openxmlformats.org/officeDocument/2006/relationships" xmlns:p="http://schemas.openxmlformats.org/presentationml/2006/main">
  <p:tag name="SHAPE" val="OLD"/>
</p:tagLst>
</file>

<file path=ppt/tags/tag371.xml><?xml version="1.0" encoding="utf-8"?>
<p:tagLst xmlns:a="http://schemas.openxmlformats.org/drawingml/2006/main" xmlns:r="http://schemas.openxmlformats.org/officeDocument/2006/relationships" xmlns:p="http://schemas.openxmlformats.org/presentationml/2006/main">
  <p:tag name="SHAPE" val="OLD"/>
</p:tagLst>
</file>

<file path=ppt/tags/tag372.xml><?xml version="1.0" encoding="utf-8"?>
<p:tagLst xmlns:a="http://schemas.openxmlformats.org/drawingml/2006/main" xmlns:r="http://schemas.openxmlformats.org/officeDocument/2006/relationships" xmlns:p="http://schemas.openxmlformats.org/presentationml/2006/main">
  <p:tag name="SHAPE" val="OLD"/>
</p:tagLst>
</file>

<file path=ppt/tags/tag373.xml><?xml version="1.0" encoding="utf-8"?>
<p:tagLst xmlns:a="http://schemas.openxmlformats.org/drawingml/2006/main" xmlns:r="http://schemas.openxmlformats.org/officeDocument/2006/relationships" xmlns:p="http://schemas.openxmlformats.org/presentationml/2006/main">
  <p:tag name="SHAPE" val="OLD"/>
</p:tagLst>
</file>

<file path=ppt/tags/tag374.xml><?xml version="1.0" encoding="utf-8"?>
<p:tagLst xmlns:a="http://schemas.openxmlformats.org/drawingml/2006/main" xmlns:r="http://schemas.openxmlformats.org/officeDocument/2006/relationships" xmlns:p="http://schemas.openxmlformats.org/presentationml/2006/main">
  <p:tag name="SHAPE" val="OLD"/>
</p:tagLst>
</file>

<file path=ppt/tags/tag375.xml><?xml version="1.0" encoding="utf-8"?>
<p:tagLst xmlns:a="http://schemas.openxmlformats.org/drawingml/2006/main" xmlns:r="http://schemas.openxmlformats.org/officeDocument/2006/relationships" xmlns:p="http://schemas.openxmlformats.org/presentationml/2006/main">
  <p:tag name="SHAPE" val="OLD"/>
</p:tagLst>
</file>

<file path=ppt/tags/tag376.xml><?xml version="1.0" encoding="utf-8"?>
<p:tagLst xmlns:a="http://schemas.openxmlformats.org/drawingml/2006/main" xmlns:r="http://schemas.openxmlformats.org/officeDocument/2006/relationships" xmlns:p="http://schemas.openxmlformats.org/presentationml/2006/main">
  <p:tag name="SHAPE" val="OLD"/>
</p:tagLst>
</file>

<file path=ppt/tags/tag377.xml><?xml version="1.0" encoding="utf-8"?>
<p:tagLst xmlns:a="http://schemas.openxmlformats.org/drawingml/2006/main" xmlns:r="http://schemas.openxmlformats.org/officeDocument/2006/relationships" xmlns:p="http://schemas.openxmlformats.org/presentationml/2006/main">
  <p:tag name="SHAPE" val="OLD"/>
</p:tagLst>
</file>

<file path=ppt/tags/tag378.xml><?xml version="1.0" encoding="utf-8"?>
<p:tagLst xmlns:a="http://schemas.openxmlformats.org/drawingml/2006/main" xmlns:r="http://schemas.openxmlformats.org/officeDocument/2006/relationships" xmlns:p="http://schemas.openxmlformats.org/presentationml/2006/main">
  <p:tag name="SHAPE" val="OLD"/>
</p:tagLst>
</file>

<file path=ppt/tags/tag379.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80.xml><?xml version="1.0" encoding="utf-8"?>
<p:tagLst xmlns:a="http://schemas.openxmlformats.org/drawingml/2006/main" xmlns:r="http://schemas.openxmlformats.org/officeDocument/2006/relationships" xmlns:p="http://schemas.openxmlformats.org/presentationml/2006/main">
  <p:tag name="SHAPE" val="OLD"/>
</p:tagLst>
</file>

<file path=ppt/tags/tag381.xml><?xml version="1.0" encoding="utf-8"?>
<p:tagLst xmlns:a="http://schemas.openxmlformats.org/drawingml/2006/main" xmlns:r="http://schemas.openxmlformats.org/officeDocument/2006/relationships" xmlns:p="http://schemas.openxmlformats.org/presentationml/2006/main">
  <p:tag name="SHAPE" val="OLD"/>
</p:tagLst>
</file>

<file path=ppt/tags/tag382.xml><?xml version="1.0" encoding="utf-8"?>
<p:tagLst xmlns:a="http://schemas.openxmlformats.org/drawingml/2006/main" xmlns:r="http://schemas.openxmlformats.org/officeDocument/2006/relationships" xmlns:p="http://schemas.openxmlformats.org/presentationml/2006/main">
  <p:tag name="SHAPE" val="OLD"/>
</p:tagLst>
</file>

<file path=ppt/tags/tag383.xml><?xml version="1.0" encoding="utf-8"?>
<p:tagLst xmlns:a="http://schemas.openxmlformats.org/drawingml/2006/main" xmlns:r="http://schemas.openxmlformats.org/officeDocument/2006/relationships" xmlns:p="http://schemas.openxmlformats.org/presentationml/2006/main">
  <p:tag name="SHAPE" val="OLD"/>
</p:tagLst>
</file>

<file path=ppt/tags/tag384.xml><?xml version="1.0" encoding="utf-8"?>
<p:tagLst xmlns:a="http://schemas.openxmlformats.org/drawingml/2006/main" xmlns:r="http://schemas.openxmlformats.org/officeDocument/2006/relationships" xmlns:p="http://schemas.openxmlformats.org/presentationml/2006/main">
  <p:tag name="SHAPE" val="OLD"/>
</p:tagLst>
</file>

<file path=ppt/tags/tag385.xml><?xml version="1.0" encoding="utf-8"?>
<p:tagLst xmlns:a="http://schemas.openxmlformats.org/drawingml/2006/main" xmlns:r="http://schemas.openxmlformats.org/officeDocument/2006/relationships" xmlns:p="http://schemas.openxmlformats.org/presentationml/2006/main">
  <p:tag name="SHAPE" val="OLD"/>
</p:tagLst>
</file>

<file path=ppt/tags/tag386.xml><?xml version="1.0" encoding="utf-8"?>
<p:tagLst xmlns:a="http://schemas.openxmlformats.org/drawingml/2006/main" xmlns:r="http://schemas.openxmlformats.org/officeDocument/2006/relationships" xmlns:p="http://schemas.openxmlformats.org/presentationml/2006/main">
  <p:tag name="SHAPE" val="OLD"/>
</p:tagLst>
</file>

<file path=ppt/tags/tag387.xml><?xml version="1.0" encoding="utf-8"?>
<p:tagLst xmlns:a="http://schemas.openxmlformats.org/drawingml/2006/main" xmlns:r="http://schemas.openxmlformats.org/officeDocument/2006/relationships" xmlns:p="http://schemas.openxmlformats.org/presentationml/2006/main">
  <p:tag name="SHAPE" val="OLD"/>
</p:tagLst>
</file>

<file path=ppt/tags/tag388.xml><?xml version="1.0" encoding="utf-8"?>
<p:tagLst xmlns:a="http://schemas.openxmlformats.org/drawingml/2006/main" xmlns:r="http://schemas.openxmlformats.org/officeDocument/2006/relationships" xmlns:p="http://schemas.openxmlformats.org/presentationml/2006/main">
  <p:tag name="SHAPE" val="OLD"/>
</p:tagLst>
</file>

<file path=ppt/tags/tag389.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390.xml><?xml version="1.0" encoding="utf-8"?>
<p:tagLst xmlns:a="http://schemas.openxmlformats.org/drawingml/2006/main" xmlns:r="http://schemas.openxmlformats.org/officeDocument/2006/relationships" xmlns:p="http://schemas.openxmlformats.org/presentationml/2006/main">
  <p:tag name="SHAPE" val="OLD"/>
</p:tagLst>
</file>

<file path=ppt/tags/tag391.xml><?xml version="1.0" encoding="utf-8"?>
<p:tagLst xmlns:a="http://schemas.openxmlformats.org/drawingml/2006/main" xmlns:r="http://schemas.openxmlformats.org/officeDocument/2006/relationships" xmlns:p="http://schemas.openxmlformats.org/presentationml/2006/main">
  <p:tag name="SHAPE" val="OLD"/>
</p:tagLst>
</file>

<file path=ppt/tags/tag392.xml><?xml version="1.0" encoding="utf-8"?>
<p:tagLst xmlns:a="http://schemas.openxmlformats.org/drawingml/2006/main" xmlns:r="http://schemas.openxmlformats.org/officeDocument/2006/relationships" xmlns:p="http://schemas.openxmlformats.org/presentationml/2006/main">
  <p:tag name="SHAPE" val="OLD"/>
</p:tagLst>
</file>

<file path=ppt/tags/tag393.xml><?xml version="1.0" encoding="utf-8"?>
<p:tagLst xmlns:a="http://schemas.openxmlformats.org/drawingml/2006/main" xmlns:r="http://schemas.openxmlformats.org/officeDocument/2006/relationships" xmlns:p="http://schemas.openxmlformats.org/presentationml/2006/main">
  <p:tag name="SHAPE" val="OLD"/>
</p:tagLst>
</file>

<file path=ppt/tags/tag394.xml><?xml version="1.0" encoding="utf-8"?>
<p:tagLst xmlns:a="http://schemas.openxmlformats.org/drawingml/2006/main" xmlns:r="http://schemas.openxmlformats.org/officeDocument/2006/relationships" xmlns:p="http://schemas.openxmlformats.org/presentationml/2006/main">
  <p:tag name="SHAPE" val="OLD"/>
</p:tagLst>
</file>

<file path=ppt/tags/tag395.xml><?xml version="1.0" encoding="utf-8"?>
<p:tagLst xmlns:a="http://schemas.openxmlformats.org/drawingml/2006/main" xmlns:r="http://schemas.openxmlformats.org/officeDocument/2006/relationships" xmlns:p="http://schemas.openxmlformats.org/presentationml/2006/main">
  <p:tag name="SHAPE" val="OLD"/>
</p:tagLst>
</file>

<file path=ppt/tags/tag396.xml><?xml version="1.0" encoding="utf-8"?>
<p:tagLst xmlns:a="http://schemas.openxmlformats.org/drawingml/2006/main" xmlns:r="http://schemas.openxmlformats.org/officeDocument/2006/relationships" xmlns:p="http://schemas.openxmlformats.org/presentationml/2006/main">
  <p:tag name="SHAPE" val="OLD"/>
</p:tagLst>
</file>

<file path=ppt/tags/tag397.xml><?xml version="1.0" encoding="utf-8"?>
<p:tagLst xmlns:a="http://schemas.openxmlformats.org/drawingml/2006/main" xmlns:r="http://schemas.openxmlformats.org/officeDocument/2006/relationships" xmlns:p="http://schemas.openxmlformats.org/presentationml/2006/main">
  <p:tag name="SHAPE" val="OLD"/>
</p:tagLst>
</file>

<file path=ppt/tags/tag398.xml><?xml version="1.0" encoding="utf-8"?>
<p:tagLst xmlns:a="http://schemas.openxmlformats.org/drawingml/2006/main" xmlns:r="http://schemas.openxmlformats.org/officeDocument/2006/relationships" xmlns:p="http://schemas.openxmlformats.org/presentationml/2006/main">
  <p:tag name="SHAPE" val="OLD"/>
</p:tagLst>
</file>

<file path=ppt/tags/tag39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00.xml><?xml version="1.0" encoding="utf-8"?>
<p:tagLst xmlns:a="http://schemas.openxmlformats.org/drawingml/2006/main" xmlns:r="http://schemas.openxmlformats.org/officeDocument/2006/relationships" xmlns:p="http://schemas.openxmlformats.org/presentationml/2006/main">
  <p:tag name="SHAPE" val="OLD"/>
</p:tagLst>
</file>

<file path=ppt/tags/tag401.xml><?xml version="1.0" encoding="utf-8"?>
<p:tagLst xmlns:a="http://schemas.openxmlformats.org/drawingml/2006/main" xmlns:r="http://schemas.openxmlformats.org/officeDocument/2006/relationships" xmlns:p="http://schemas.openxmlformats.org/presentationml/2006/main">
  <p:tag name="SHAPE" val="OLD"/>
</p:tagLst>
</file>

<file path=ppt/tags/tag402.xml><?xml version="1.0" encoding="utf-8"?>
<p:tagLst xmlns:a="http://schemas.openxmlformats.org/drawingml/2006/main" xmlns:r="http://schemas.openxmlformats.org/officeDocument/2006/relationships" xmlns:p="http://schemas.openxmlformats.org/presentationml/2006/main">
  <p:tag name="SHAPE" val="OLD"/>
</p:tagLst>
</file>

<file path=ppt/tags/tag403.xml><?xml version="1.0" encoding="utf-8"?>
<p:tagLst xmlns:a="http://schemas.openxmlformats.org/drawingml/2006/main" xmlns:r="http://schemas.openxmlformats.org/officeDocument/2006/relationships" xmlns:p="http://schemas.openxmlformats.org/presentationml/2006/main">
  <p:tag name="SHAPE" val="OLD"/>
</p:tagLst>
</file>

<file path=ppt/tags/tag404.xml><?xml version="1.0" encoding="utf-8"?>
<p:tagLst xmlns:a="http://schemas.openxmlformats.org/drawingml/2006/main" xmlns:r="http://schemas.openxmlformats.org/officeDocument/2006/relationships" xmlns:p="http://schemas.openxmlformats.org/presentationml/2006/main">
  <p:tag name="SHAPE" val="OLD"/>
</p:tagLst>
</file>

<file path=ppt/tags/tag405.xml><?xml version="1.0" encoding="utf-8"?>
<p:tagLst xmlns:a="http://schemas.openxmlformats.org/drawingml/2006/main" xmlns:r="http://schemas.openxmlformats.org/officeDocument/2006/relationships" xmlns:p="http://schemas.openxmlformats.org/presentationml/2006/main">
  <p:tag name="SHAPE" val="OLD"/>
</p:tagLst>
</file>

<file path=ppt/tags/tag406.xml><?xml version="1.0" encoding="utf-8"?>
<p:tagLst xmlns:a="http://schemas.openxmlformats.org/drawingml/2006/main" xmlns:r="http://schemas.openxmlformats.org/officeDocument/2006/relationships" xmlns:p="http://schemas.openxmlformats.org/presentationml/2006/main">
  <p:tag name="SHAPE" val="OLD"/>
</p:tagLst>
</file>

<file path=ppt/tags/tag407.xml><?xml version="1.0" encoding="utf-8"?>
<p:tagLst xmlns:a="http://schemas.openxmlformats.org/drawingml/2006/main" xmlns:r="http://schemas.openxmlformats.org/officeDocument/2006/relationships" xmlns:p="http://schemas.openxmlformats.org/presentationml/2006/main">
  <p:tag name="SHAPE" val="OLD"/>
</p:tagLst>
</file>

<file path=ppt/tags/tag408.xml><?xml version="1.0" encoding="utf-8"?>
<p:tagLst xmlns:a="http://schemas.openxmlformats.org/drawingml/2006/main" xmlns:r="http://schemas.openxmlformats.org/officeDocument/2006/relationships" xmlns:p="http://schemas.openxmlformats.org/presentationml/2006/main">
  <p:tag name="SHAPE" val="OLD"/>
</p:tagLst>
</file>

<file path=ppt/tags/tag409.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10.xml><?xml version="1.0" encoding="utf-8"?>
<p:tagLst xmlns:a="http://schemas.openxmlformats.org/drawingml/2006/main" xmlns:r="http://schemas.openxmlformats.org/officeDocument/2006/relationships" xmlns:p="http://schemas.openxmlformats.org/presentationml/2006/main">
  <p:tag name="SHAPE" val="OLD"/>
</p:tagLst>
</file>

<file path=ppt/tags/tag411.xml><?xml version="1.0" encoding="utf-8"?>
<p:tagLst xmlns:a="http://schemas.openxmlformats.org/drawingml/2006/main" xmlns:r="http://schemas.openxmlformats.org/officeDocument/2006/relationships" xmlns:p="http://schemas.openxmlformats.org/presentationml/2006/main">
  <p:tag name="SHAPE" val="OLD"/>
</p:tagLst>
</file>

<file path=ppt/tags/tag412.xml><?xml version="1.0" encoding="utf-8"?>
<p:tagLst xmlns:a="http://schemas.openxmlformats.org/drawingml/2006/main" xmlns:r="http://schemas.openxmlformats.org/officeDocument/2006/relationships" xmlns:p="http://schemas.openxmlformats.org/presentationml/2006/main">
  <p:tag name="SHAPE" val="OLD"/>
</p:tagLst>
</file>

<file path=ppt/tags/tag413.xml><?xml version="1.0" encoding="utf-8"?>
<p:tagLst xmlns:a="http://schemas.openxmlformats.org/drawingml/2006/main" xmlns:r="http://schemas.openxmlformats.org/officeDocument/2006/relationships" xmlns:p="http://schemas.openxmlformats.org/presentationml/2006/main">
  <p:tag name="SHAPE" val="OLD"/>
</p:tagLst>
</file>

<file path=ppt/tags/tag414.xml><?xml version="1.0" encoding="utf-8"?>
<p:tagLst xmlns:a="http://schemas.openxmlformats.org/drawingml/2006/main" xmlns:r="http://schemas.openxmlformats.org/officeDocument/2006/relationships" xmlns:p="http://schemas.openxmlformats.org/presentationml/2006/main">
  <p:tag name="SHAPE" val="OLD"/>
</p:tagLst>
</file>

<file path=ppt/tags/tag415.xml><?xml version="1.0" encoding="utf-8"?>
<p:tagLst xmlns:a="http://schemas.openxmlformats.org/drawingml/2006/main" xmlns:r="http://schemas.openxmlformats.org/officeDocument/2006/relationships" xmlns:p="http://schemas.openxmlformats.org/presentationml/2006/main">
  <p:tag name="SHAPE" val="OLD"/>
</p:tagLst>
</file>

<file path=ppt/tags/tag416.xml><?xml version="1.0" encoding="utf-8"?>
<p:tagLst xmlns:a="http://schemas.openxmlformats.org/drawingml/2006/main" xmlns:r="http://schemas.openxmlformats.org/officeDocument/2006/relationships" xmlns:p="http://schemas.openxmlformats.org/presentationml/2006/main">
  <p:tag name="SHAPE" val="OLD"/>
</p:tagLst>
</file>

<file path=ppt/tags/tag417.xml><?xml version="1.0" encoding="utf-8"?>
<p:tagLst xmlns:a="http://schemas.openxmlformats.org/drawingml/2006/main" xmlns:r="http://schemas.openxmlformats.org/officeDocument/2006/relationships" xmlns:p="http://schemas.openxmlformats.org/presentationml/2006/main">
  <p:tag name="SHAPE" val="OLD"/>
</p:tagLst>
</file>

<file path=ppt/tags/tag418.xml><?xml version="1.0" encoding="utf-8"?>
<p:tagLst xmlns:a="http://schemas.openxmlformats.org/drawingml/2006/main" xmlns:r="http://schemas.openxmlformats.org/officeDocument/2006/relationships" xmlns:p="http://schemas.openxmlformats.org/presentationml/2006/main">
  <p:tag name="SHAPE" val="OLD"/>
</p:tagLst>
</file>

<file path=ppt/tags/tag419.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20.xml><?xml version="1.0" encoding="utf-8"?>
<p:tagLst xmlns:a="http://schemas.openxmlformats.org/drawingml/2006/main" xmlns:r="http://schemas.openxmlformats.org/officeDocument/2006/relationships" xmlns:p="http://schemas.openxmlformats.org/presentationml/2006/main">
  <p:tag name="SHAPE" val="OLD"/>
</p:tagLst>
</file>

<file path=ppt/tags/tag421.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0\Continent\UN Region\UN Sub Region"/>
  <p:tag name="EE4P_MAPWIZARD" val="Argentina\South America\Americas\South America"/>
</p:tagLst>
</file>

<file path=ppt/tags/tag422.xml><?xml version="1.0" encoding="utf-8"?>
<p:tagLst xmlns:a="http://schemas.openxmlformats.org/drawingml/2006/main" xmlns:r="http://schemas.openxmlformats.org/officeDocument/2006/relationships" xmlns:p="http://schemas.openxmlformats.org/presentationml/2006/main">
  <p:tag name="EE4P_MAPWIZARD_ID" val="BS"/>
  <p:tag name="EE4P_MAPWIZARD_HEADINGS" val="Admin 0\Continent\UN Region\UN Sub Region"/>
  <p:tag name="EE4P_MAPWIZARD" val="The Bahamas\North America\Americas\Caribbean"/>
</p:tagLst>
</file>

<file path=ppt/tags/tag423.xml><?xml version="1.0" encoding="utf-8"?>
<p:tagLst xmlns:a="http://schemas.openxmlformats.org/drawingml/2006/main" xmlns:r="http://schemas.openxmlformats.org/officeDocument/2006/relationships" xmlns:p="http://schemas.openxmlformats.org/presentationml/2006/main">
  <p:tag name="EE4P_MAPWIZARD_ID" val="BZ"/>
  <p:tag name="EE4P_MAPWIZARD_HEADINGS" val="Admin 0\Continent\UN Region\UN Sub Region"/>
  <p:tag name="EE4P_MAPWIZARD" val="Belize\North America\Americas\Central America"/>
</p:tagLst>
</file>

<file path=ppt/tags/tag424.xml><?xml version="1.0" encoding="utf-8"?>
<p:tagLst xmlns:a="http://schemas.openxmlformats.org/drawingml/2006/main" xmlns:r="http://schemas.openxmlformats.org/officeDocument/2006/relationships" xmlns:p="http://schemas.openxmlformats.org/presentationml/2006/main">
  <p:tag name="EE4P_MAPWIZARD_ID" val="BO"/>
  <p:tag name="EE4P_MAPWIZARD_HEADINGS" val="Admin 0\Continent\UN Region\UN Sub Region"/>
  <p:tag name="EE4P_MAPWIZARD" val="Bolivia\South America\Americas\South America"/>
</p:tagLst>
</file>

<file path=ppt/tags/tag425.xml><?xml version="1.0" encoding="utf-8"?>
<p:tagLst xmlns:a="http://schemas.openxmlformats.org/drawingml/2006/main" xmlns:r="http://schemas.openxmlformats.org/officeDocument/2006/relationships" xmlns:p="http://schemas.openxmlformats.org/presentationml/2006/main">
  <p:tag name="EE4P_MAPWIZARD_ID" val="BR"/>
  <p:tag name="EE4P_MAPWIZARD_HEADINGS" val="Admin 0\Continent\UN Region\UN Sub Region"/>
  <p:tag name="EE4P_MAPWIZARD" val="Brazil\South America\Americas\South America"/>
</p:tagLst>
</file>

<file path=ppt/tags/tag426.xml><?xml version="1.0" encoding="utf-8"?>
<p:tagLst xmlns:a="http://schemas.openxmlformats.org/drawingml/2006/main" xmlns:r="http://schemas.openxmlformats.org/officeDocument/2006/relationships" xmlns:p="http://schemas.openxmlformats.org/presentationml/2006/main">
  <p:tag name="EE4P_MAPWIZARD_ID" val="CA"/>
  <p:tag name="EE4P_MAPWIZARD_HEADINGS" val="Admin 0\Continent\UN Region\UN Sub Region"/>
  <p:tag name="EE4P_MAPWIZARD" val="Canada\North America\Americas\Northern America"/>
</p:tagLst>
</file>

<file path=ppt/tags/tag427.xml><?xml version="1.0" encoding="utf-8"?>
<p:tagLst xmlns:a="http://schemas.openxmlformats.org/drawingml/2006/main" xmlns:r="http://schemas.openxmlformats.org/officeDocument/2006/relationships" xmlns:p="http://schemas.openxmlformats.org/presentationml/2006/main">
  <p:tag name="EE4P_MAPWIZARD_ID" val="CL"/>
  <p:tag name="EE4P_MAPWIZARD_HEADINGS" val="Admin 0\Continent\UN Region\UN Sub Region"/>
  <p:tag name="EE4P_MAPWIZARD" val="Chile\South America\Americas\South America"/>
</p:tagLst>
</file>

<file path=ppt/tags/tag428.xml><?xml version="1.0" encoding="utf-8"?>
<p:tagLst xmlns:a="http://schemas.openxmlformats.org/drawingml/2006/main" xmlns:r="http://schemas.openxmlformats.org/officeDocument/2006/relationships" xmlns:p="http://schemas.openxmlformats.org/presentationml/2006/main">
  <p:tag name="EE4P_MAPWIZARD_ID" val="CO"/>
  <p:tag name="EE4P_MAPWIZARD_HEADINGS" val="Admin 0\Continent\UN Region\UN Sub Region"/>
  <p:tag name="EE4P_MAPWIZARD" val="Colombia\South America\Americas\South America"/>
</p:tagLst>
</file>

<file path=ppt/tags/tag429.xml><?xml version="1.0" encoding="utf-8"?>
<p:tagLst xmlns:a="http://schemas.openxmlformats.org/drawingml/2006/main" xmlns:r="http://schemas.openxmlformats.org/officeDocument/2006/relationships" xmlns:p="http://schemas.openxmlformats.org/presentationml/2006/main">
  <p:tag name="EE4P_MAPWIZARD_ID" val="CR"/>
  <p:tag name="EE4P_MAPWIZARD_HEADINGS" val="Admin 0\Continent\UN Region\UN Sub Region"/>
  <p:tag name="EE4P_MAPWIZARD" val="Costa Rica\North America\Americas\Central America"/>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30.xml><?xml version="1.0" encoding="utf-8"?>
<p:tagLst xmlns:a="http://schemas.openxmlformats.org/drawingml/2006/main" xmlns:r="http://schemas.openxmlformats.org/officeDocument/2006/relationships" xmlns:p="http://schemas.openxmlformats.org/presentationml/2006/main">
  <p:tag name="EE4P_MAPWIZARD_ID" val="CU"/>
  <p:tag name="EE4P_MAPWIZARD_HEADINGS" val="Admin 0\Continent\UN Region\UN Sub Region"/>
  <p:tag name="EE4P_MAPWIZARD" val="Cuba\North America\Americas\Caribbean"/>
</p:tagLst>
</file>

<file path=ppt/tags/tag431.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0\Continent\UN Region\UN Sub Region"/>
  <p:tag name="EE4P_MAPWIZARD" val="Dominican Republic\North America\Americas\Caribbean"/>
</p:tagLst>
</file>

<file path=ppt/tags/tag432.xml><?xml version="1.0" encoding="utf-8"?>
<p:tagLst xmlns:a="http://schemas.openxmlformats.org/drawingml/2006/main" xmlns:r="http://schemas.openxmlformats.org/officeDocument/2006/relationships" xmlns:p="http://schemas.openxmlformats.org/presentationml/2006/main">
  <p:tag name="EE4P_MAPWIZARD_ID" val="EC"/>
  <p:tag name="EE4P_MAPWIZARD_HEADINGS" val="Admin 0\Continent\UN Region\UN Sub Region"/>
  <p:tag name="EE4P_MAPWIZARD" val="Ecuador\South America\Americas\South America"/>
</p:tagLst>
</file>

<file path=ppt/tags/tag433.xml><?xml version="1.0" encoding="utf-8"?>
<p:tagLst xmlns:a="http://schemas.openxmlformats.org/drawingml/2006/main" xmlns:r="http://schemas.openxmlformats.org/officeDocument/2006/relationships" xmlns:p="http://schemas.openxmlformats.org/presentationml/2006/main">
  <p:tag name="EE4P_MAPWIZARD_ID" val="GT"/>
  <p:tag name="EE4P_MAPWIZARD_HEADINGS" val="Admin 0\Continent\UN Region\UN Sub Region"/>
  <p:tag name="EE4P_MAPWIZARD" val="Guatemala\North America\Americas\Central America"/>
</p:tagLst>
</file>

<file path=ppt/tags/tag434.xml><?xml version="1.0" encoding="utf-8"?>
<p:tagLst xmlns:a="http://schemas.openxmlformats.org/drawingml/2006/main" xmlns:r="http://schemas.openxmlformats.org/officeDocument/2006/relationships" xmlns:p="http://schemas.openxmlformats.org/presentationml/2006/main">
  <p:tag name="EE4P_MAPWIZARD_ID" val="GY"/>
  <p:tag name="EE4P_MAPWIZARD_HEADINGS" val="Admin 0\Continent\UN Region\UN Sub Region"/>
  <p:tag name="EE4P_MAPWIZARD" val="Guyana\South America\Americas\South America"/>
</p:tagLst>
</file>

<file path=ppt/tags/tag435.xml><?xml version="1.0" encoding="utf-8"?>
<p:tagLst xmlns:a="http://schemas.openxmlformats.org/drawingml/2006/main" xmlns:r="http://schemas.openxmlformats.org/officeDocument/2006/relationships" xmlns:p="http://schemas.openxmlformats.org/presentationml/2006/main">
  <p:tag name="EE4P_MAPWIZARD_ID" val="HN"/>
  <p:tag name="EE4P_MAPWIZARD_HEADINGS" val="Admin 0\Continent\UN Region\UN Sub Region"/>
  <p:tag name="EE4P_MAPWIZARD" val="Honduras\North America\Americas\Central America"/>
</p:tagLst>
</file>

<file path=ppt/tags/tag436.xml><?xml version="1.0" encoding="utf-8"?>
<p:tagLst xmlns:a="http://schemas.openxmlformats.org/drawingml/2006/main" xmlns:r="http://schemas.openxmlformats.org/officeDocument/2006/relationships" xmlns:p="http://schemas.openxmlformats.org/presentationml/2006/main">
  <p:tag name="EE4P_MAPWIZARD_ID" val="HT"/>
  <p:tag name="EE4P_MAPWIZARD_HEADINGS" val="Admin 0\Continent\UN Region\UN Sub Region"/>
  <p:tag name="EE4P_MAPWIZARD" val="Haiti\North America\Americas\Caribbean"/>
</p:tagLst>
</file>

<file path=ppt/tags/tag437.xml><?xml version="1.0" encoding="utf-8"?>
<p:tagLst xmlns:a="http://schemas.openxmlformats.org/drawingml/2006/main" xmlns:r="http://schemas.openxmlformats.org/officeDocument/2006/relationships" xmlns:p="http://schemas.openxmlformats.org/presentationml/2006/main">
  <p:tag name="EE4P_MAPWIZARD_ID" val="JM"/>
  <p:tag name="EE4P_MAPWIZARD_HEADINGS" val="Admin 0\Continent\UN Region\UN Sub Region"/>
  <p:tag name="EE4P_MAPWIZARD" val="Jamaica\North America\Americas\Caribbean"/>
</p:tagLst>
</file>

<file path=ppt/tags/tag438.xml><?xml version="1.0" encoding="utf-8"?>
<p:tagLst xmlns:a="http://schemas.openxmlformats.org/drawingml/2006/main" xmlns:r="http://schemas.openxmlformats.org/officeDocument/2006/relationships" xmlns:p="http://schemas.openxmlformats.org/presentationml/2006/main">
  <p:tag name="EE4P_MAPWIZARD_ID" val="MX"/>
  <p:tag name="EE4P_MAPWIZARD_HEADINGS" val="Admin 0\Continent\UN Region\UN Sub Region"/>
  <p:tag name="EE4P_MAPWIZARD" val="Mexico\North America\Americas\Central America"/>
</p:tagLst>
</file>

<file path=ppt/tags/tag439.xml><?xml version="1.0" encoding="utf-8"?>
<p:tagLst xmlns:a="http://schemas.openxmlformats.org/drawingml/2006/main" xmlns:r="http://schemas.openxmlformats.org/officeDocument/2006/relationships" xmlns:p="http://schemas.openxmlformats.org/presentationml/2006/main">
  <p:tag name="EE4P_MAPWIZARD_ID" val="NI"/>
  <p:tag name="EE4P_MAPWIZARD_HEADINGS" val="Admin 0\Continent\UN Region\UN Sub Region"/>
  <p:tag name="EE4P_MAPWIZARD" val="Nicaragua\North America\Americas\Central America"/>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40.xml><?xml version="1.0" encoding="utf-8"?>
<p:tagLst xmlns:a="http://schemas.openxmlformats.org/drawingml/2006/main" xmlns:r="http://schemas.openxmlformats.org/officeDocument/2006/relationships" xmlns:p="http://schemas.openxmlformats.org/presentationml/2006/main">
  <p:tag name="EE4P_MAPWIZARD_ID" val="PA"/>
  <p:tag name="EE4P_MAPWIZARD_HEADINGS" val="Admin 0\Continent\UN Region\UN Sub Region"/>
  <p:tag name="EE4P_MAPWIZARD" val="Panama\North America\Americas\Central America"/>
</p:tagLst>
</file>

<file path=ppt/tags/tag441.xml><?xml version="1.0" encoding="utf-8"?>
<p:tagLst xmlns:a="http://schemas.openxmlformats.org/drawingml/2006/main" xmlns:r="http://schemas.openxmlformats.org/officeDocument/2006/relationships" xmlns:p="http://schemas.openxmlformats.org/presentationml/2006/main">
  <p:tag name="EE4P_MAPWIZARD_ID" val="PE"/>
  <p:tag name="EE4P_MAPWIZARD_HEADINGS" val="Admin 0\Continent\UN Region\UN Sub Region"/>
  <p:tag name="EE4P_MAPWIZARD" val="Peru\South America\Americas\South America"/>
</p:tagLst>
</file>

<file path=ppt/tags/tag442.xml><?xml version="1.0" encoding="utf-8"?>
<p:tagLst xmlns:a="http://schemas.openxmlformats.org/drawingml/2006/main" xmlns:r="http://schemas.openxmlformats.org/officeDocument/2006/relationships" xmlns:p="http://schemas.openxmlformats.org/presentationml/2006/main">
  <p:tag name="EE4P_MAPWIZARD_ID" val="PY"/>
  <p:tag name="EE4P_MAPWIZARD_HEADINGS" val="Admin 0\Continent\UN Region\UN Sub Region"/>
  <p:tag name="EE4P_MAPWIZARD" val="Paraguay\South America\Americas\South America"/>
</p:tagLst>
</file>

<file path=ppt/tags/tag443.xml><?xml version="1.0" encoding="utf-8"?>
<p:tagLst xmlns:a="http://schemas.openxmlformats.org/drawingml/2006/main" xmlns:r="http://schemas.openxmlformats.org/officeDocument/2006/relationships" xmlns:p="http://schemas.openxmlformats.org/presentationml/2006/main">
  <p:tag name="EE4P_MAPWIZARD_ID" val="SV"/>
  <p:tag name="EE4P_MAPWIZARD_HEADINGS" val="Admin 0\Continent\UN Region\UN Sub Region"/>
  <p:tag name="EE4P_MAPWIZARD" val="El Salvador\North America\Americas\Central America"/>
</p:tagLst>
</file>

<file path=ppt/tags/tag444.xml><?xml version="1.0" encoding="utf-8"?>
<p:tagLst xmlns:a="http://schemas.openxmlformats.org/drawingml/2006/main" xmlns:r="http://schemas.openxmlformats.org/officeDocument/2006/relationships" xmlns:p="http://schemas.openxmlformats.org/presentationml/2006/main">
  <p:tag name="EE4P_MAPWIZARD_ID" val="SR"/>
  <p:tag name="EE4P_MAPWIZARD_HEADINGS" val="Admin 0\Continent\UN Region\UN Sub Region"/>
  <p:tag name="EE4P_MAPWIZARD" val="Suriname\South America\Americas\South America"/>
</p:tagLst>
</file>

<file path=ppt/tags/tag445.xml><?xml version="1.0" encoding="utf-8"?>
<p:tagLst xmlns:a="http://schemas.openxmlformats.org/drawingml/2006/main" xmlns:r="http://schemas.openxmlformats.org/officeDocument/2006/relationships" xmlns:p="http://schemas.openxmlformats.org/presentationml/2006/main">
  <p:tag name="EE4P_MAPWIZARD_ID" val="TT"/>
  <p:tag name="EE4P_MAPWIZARD_HEADINGS" val="Admin 0\Continent\UN Region\UN Sub Region"/>
  <p:tag name="EE4P_MAPWIZARD" val="Trinidad and Tobago\North America\Americas\Caribbean"/>
</p:tagLst>
</file>

<file path=ppt/tags/tag446.xml><?xml version="1.0" encoding="utf-8"?>
<p:tagLst xmlns:a="http://schemas.openxmlformats.org/drawingml/2006/main" xmlns:r="http://schemas.openxmlformats.org/officeDocument/2006/relationships" xmlns:p="http://schemas.openxmlformats.org/presentationml/2006/main">
  <p:tag name="EE4P_MAPWIZARD_ID" val="UY"/>
  <p:tag name="EE4P_MAPWIZARD_HEADINGS" val="Admin 0\Continent\UN Region\UN Sub Region"/>
  <p:tag name="EE4P_MAPWIZARD" val="Uruguay\South America\Americas\South America"/>
</p:tagLst>
</file>

<file path=ppt/tags/tag447.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448.xml><?xml version="1.0" encoding="utf-8"?>
<p:tagLst xmlns:a="http://schemas.openxmlformats.org/drawingml/2006/main" xmlns:r="http://schemas.openxmlformats.org/officeDocument/2006/relationships" xmlns:p="http://schemas.openxmlformats.org/presentationml/2006/main">
  <p:tag name="EE4P_MAPWIZARD_ID" val="VE"/>
  <p:tag name="EE4P_MAPWIZARD_HEADINGS" val="Admin 0\Continent\UN Region\UN Sub Region"/>
  <p:tag name="EE4P_MAPWIZARD" val="Venezuela\South America\Americas\South America"/>
</p:tagLst>
</file>

<file path=ppt/tags/tag44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50.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451.xml><?xml version="1.0" encoding="utf-8"?>
<p:tagLst xmlns:a="http://schemas.openxmlformats.org/drawingml/2006/main" xmlns:r="http://schemas.openxmlformats.org/officeDocument/2006/relationships" xmlns:p="http://schemas.openxmlformats.org/presentationml/2006/main">
  <p:tag name="EE4P_MAPWIZARD_ID" val="AF"/>
  <p:tag name="EE4P_MAPWIZARD_HEADINGS" val="Admin 0\Continent\UN Region\UN Sub Region"/>
  <p:tag name="EE4P_MAPWIZARD" val="Afghanistan\Asia\Asia\Southern Asia"/>
</p:tagLst>
</file>

<file path=ppt/tags/tag452.xml><?xml version="1.0" encoding="utf-8"?>
<p:tagLst xmlns:a="http://schemas.openxmlformats.org/drawingml/2006/main" xmlns:r="http://schemas.openxmlformats.org/officeDocument/2006/relationships" xmlns:p="http://schemas.openxmlformats.org/presentationml/2006/main">
  <p:tag name="EE4P_MAPWIZARD_ID" val="AO"/>
  <p:tag name="EE4P_MAPWIZARD_HEADINGS" val="Admin 0\Continent\UN Region\UN Sub Region"/>
  <p:tag name="EE4P_MAPWIZARD" val="Angola\Africa\Africa\Middle Africa"/>
</p:tagLst>
</file>

<file path=ppt/tags/tag453.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454.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455.xml><?xml version="1.0" encoding="utf-8"?>
<p:tagLst xmlns:a="http://schemas.openxmlformats.org/drawingml/2006/main" xmlns:r="http://schemas.openxmlformats.org/officeDocument/2006/relationships" xmlns:p="http://schemas.openxmlformats.org/presentationml/2006/main">
  <p:tag name="EE4P_MAPWIZARD_ID" val="AM"/>
  <p:tag name="EE4P_MAPWIZARD_HEADINGS" val="Admin 0\Continent\UN Region\UN Sub Region"/>
  <p:tag name="EE4P_MAPWIZARD" val="Armenia\Asia\Asia\Western Asia"/>
</p:tagLst>
</file>

<file path=ppt/tags/tag456.xml><?xml version="1.0" encoding="utf-8"?>
<p:tagLst xmlns:a="http://schemas.openxmlformats.org/drawingml/2006/main" xmlns:r="http://schemas.openxmlformats.org/officeDocument/2006/relationships" xmlns:p="http://schemas.openxmlformats.org/presentationml/2006/main">
  <p:tag name="EE4P_MAPWIZARD_ID" val="AU"/>
  <p:tag name="EE4P_MAPWIZARD_HEADINGS" val="Admin 0\Continent\UN Region\UN Sub Region"/>
  <p:tag name="EE4P_MAPWIZARD" val="Australia\Oceania\Oceania\Australia and New Zealand"/>
</p:tagLst>
</file>

<file path=ppt/tags/tag457.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458.xml><?xml version="1.0" encoding="utf-8"?>
<p:tagLst xmlns:a="http://schemas.openxmlformats.org/drawingml/2006/main" xmlns:r="http://schemas.openxmlformats.org/officeDocument/2006/relationships" xmlns:p="http://schemas.openxmlformats.org/presentationml/2006/main">
  <p:tag name="EE4P_MAPWIZARD_ID" val="AZ"/>
  <p:tag name="EE4P_MAPWIZARD_HEADINGS" val="Admin 0\Continent\UN Region\UN Sub Region"/>
  <p:tag name="EE4P_MAPWIZARD" val="Azerbaijan\Asia\Asia\Western Asia"/>
</p:tagLst>
</file>

<file path=ppt/tags/tag459.xml><?xml version="1.0" encoding="utf-8"?>
<p:tagLst xmlns:a="http://schemas.openxmlformats.org/drawingml/2006/main" xmlns:r="http://schemas.openxmlformats.org/officeDocument/2006/relationships" xmlns:p="http://schemas.openxmlformats.org/presentationml/2006/main">
  <p:tag name="EE4P_MAPWIZARD_ID" val="BI"/>
  <p:tag name="EE4P_MAPWIZARD_HEADINGS" val="Admin 0\Continent\UN Region\UN Sub Region"/>
  <p:tag name="EE4P_MAPWIZARD" val="Burundi\Africa\Africa\Eastern Africa"/>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60.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461.xml><?xml version="1.0" encoding="utf-8"?>
<p:tagLst xmlns:a="http://schemas.openxmlformats.org/drawingml/2006/main" xmlns:r="http://schemas.openxmlformats.org/officeDocument/2006/relationships" xmlns:p="http://schemas.openxmlformats.org/presentationml/2006/main">
  <p:tag name="EE4P_MAPWIZARD_ID" val="BJ"/>
  <p:tag name="EE4P_MAPWIZARD_HEADINGS" val="Admin 0\Continent\UN Region\UN Sub Region"/>
  <p:tag name="EE4P_MAPWIZARD" val="Benin\Africa\Africa\Western Africa"/>
</p:tagLst>
</file>

<file path=ppt/tags/tag462.xml><?xml version="1.0" encoding="utf-8"?>
<p:tagLst xmlns:a="http://schemas.openxmlformats.org/drawingml/2006/main" xmlns:r="http://schemas.openxmlformats.org/officeDocument/2006/relationships" xmlns:p="http://schemas.openxmlformats.org/presentationml/2006/main">
  <p:tag name="EE4P_MAPWIZARD_ID" val="BF"/>
  <p:tag name="EE4P_MAPWIZARD_HEADINGS" val="Admin 0\Continent\UN Region\UN Sub Region"/>
  <p:tag name="EE4P_MAPWIZARD" val="Burkina Faso\Africa\Africa\Western Africa"/>
</p:tagLst>
</file>

<file path=ppt/tags/tag463.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0\Continent\UN Region\UN Sub Region"/>
  <p:tag name="EE4P_MAPWIZARD" val="Bangladesh\Asia\Asia\Southern Asia"/>
</p:tagLst>
</file>

<file path=ppt/tags/tag464.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465.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466.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Continent\UN Region\UN Sub Region"/>
  <p:tag name="EE4P_MAPWIZARD" val="Belarus\Europe\Europe\Eastern Europe"/>
</p:tagLst>
</file>

<file path=ppt/tags/tag467.xml><?xml version="1.0" encoding="utf-8"?>
<p:tagLst xmlns:a="http://schemas.openxmlformats.org/drawingml/2006/main" xmlns:r="http://schemas.openxmlformats.org/officeDocument/2006/relationships" xmlns:p="http://schemas.openxmlformats.org/presentationml/2006/main">
  <p:tag name="EE4P_MAPWIZARD_ID" val="BN"/>
  <p:tag name="EE4P_MAPWIZARD_HEADINGS" val="Admin 0\Continent\UN Region\UN Sub Region"/>
  <p:tag name="EE4P_MAPWIZARD" val="Brunei\Asia\Asia\South-Eastern Asia"/>
</p:tagLst>
</file>

<file path=ppt/tags/tag468.xml><?xml version="1.0" encoding="utf-8"?>
<p:tagLst xmlns:a="http://schemas.openxmlformats.org/drawingml/2006/main" xmlns:r="http://schemas.openxmlformats.org/officeDocument/2006/relationships" xmlns:p="http://schemas.openxmlformats.org/presentationml/2006/main">
  <p:tag name="EE4P_MAPWIZARD_ID" val="BT"/>
  <p:tag name="EE4P_MAPWIZARD_HEADINGS" val="Admin 0\Continent\UN Region\UN Sub Region"/>
  <p:tag name="EE4P_MAPWIZARD" val="Bhutan\Asia\Asia\Southern Asia"/>
</p:tagLst>
</file>

<file path=ppt/tags/tag469.xml><?xml version="1.0" encoding="utf-8"?>
<p:tagLst xmlns:a="http://schemas.openxmlformats.org/drawingml/2006/main" xmlns:r="http://schemas.openxmlformats.org/officeDocument/2006/relationships" xmlns:p="http://schemas.openxmlformats.org/presentationml/2006/main">
  <p:tag name="EE4P_MAPWIZARD_ID" val="BW"/>
  <p:tag name="EE4P_MAPWIZARD_HEADINGS" val="Admin 0\Continent\UN Region\UN Sub Region"/>
  <p:tag name="EE4P_MAPWIZARD" val="Botswana\Africa\Africa\Southern Africa"/>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70.xml><?xml version="1.0" encoding="utf-8"?>
<p:tagLst xmlns:a="http://schemas.openxmlformats.org/drawingml/2006/main" xmlns:r="http://schemas.openxmlformats.org/officeDocument/2006/relationships" xmlns:p="http://schemas.openxmlformats.org/presentationml/2006/main">
  <p:tag name="EE4P_MAPWIZARD_ID" val="CF"/>
  <p:tag name="EE4P_MAPWIZARD_HEADINGS" val="Admin 0\Continent\UN Region\UN Sub Region"/>
  <p:tag name="EE4P_MAPWIZARD" val="Central African Republic\Africa\Africa\Middle Africa"/>
</p:tagLst>
</file>

<file path=ppt/tags/tag471.xml><?xml version="1.0" encoding="utf-8"?>
<p:tagLst xmlns:a="http://schemas.openxmlformats.org/drawingml/2006/main" xmlns:r="http://schemas.openxmlformats.org/officeDocument/2006/relationships" xmlns:p="http://schemas.openxmlformats.org/presentationml/2006/main">
  <p:tag name="EE4P_MAPWIZARD_ID" val="CN"/>
  <p:tag name="EE4P_MAPWIZARD_HEADINGS" val="Admin 0\Continent\UN Region\UN Sub Region"/>
  <p:tag name="EE4P_MAPWIZARD" val="China\Asia\Asia\Eastern Asia"/>
</p:tagLst>
</file>

<file path=ppt/tags/tag472.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473.xml><?xml version="1.0" encoding="utf-8"?>
<p:tagLst xmlns:a="http://schemas.openxmlformats.org/drawingml/2006/main" xmlns:r="http://schemas.openxmlformats.org/officeDocument/2006/relationships" xmlns:p="http://schemas.openxmlformats.org/presentationml/2006/main">
  <p:tag name="EE4P_MAPWIZARD_ID" val="CI"/>
  <p:tag name="EE4P_MAPWIZARD_HEADINGS" val="Admin 0\Continent\UN Region\UN Sub Region"/>
  <p:tag name="EE4P_MAPWIZARD" val="Ivory Coast\Africa\Africa\Western Africa"/>
</p:tagLst>
</file>

<file path=ppt/tags/tag474.xml><?xml version="1.0" encoding="utf-8"?>
<p:tagLst xmlns:a="http://schemas.openxmlformats.org/drawingml/2006/main" xmlns:r="http://schemas.openxmlformats.org/officeDocument/2006/relationships" xmlns:p="http://schemas.openxmlformats.org/presentationml/2006/main">
  <p:tag name="EE4P_MAPWIZARD_ID" val="CM"/>
  <p:tag name="EE4P_MAPWIZARD_HEADINGS" val="Admin 0\Continent\UN Region\UN Sub Region"/>
  <p:tag name="EE4P_MAPWIZARD" val="Cameroon\Africa\Africa\Middle Africa"/>
</p:tagLst>
</file>

<file path=ppt/tags/tag475.xml><?xml version="1.0" encoding="utf-8"?>
<p:tagLst xmlns:a="http://schemas.openxmlformats.org/drawingml/2006/main" xmlns:r="http://schemas.openxmlformats.org/officeDocument/2006/relationships" xmlns:p="http://schemas.openxmlformats.org/presentationml/2006/main">
  <p:tag name="EE4P_MAPWIZARD_ID" val="CD"/>
  <p:tag name="EE4P_MAPWIZARD_HEADINGS" val="Admin 0\Continent\UN Region\UN Sub Region"/>
  <p:tag name="EE4P_MAPWIZARD" val="Democratic Republic of the Congo\Africa\Africa\Middle Africa"/>
</p:tagLst>
</file>

<file path=ppt/tags/tag476.xml><?xml version="1.0" encoding="utf-8"?>
<p:tagLst xmlns:a="http://schemas.openxmlformats.org/drawingml/2006/main" xmlns:r="http://schemas.openxmlformats.org/officeDocument/2006/relationships" xmlns:p="http://schemas.openxmlformats.org/presentationml/2006/main">
  <p:tag name="EE4P_MAPWIZARD_ID" val="CG"/>
  <p:tag name="EE4P_MAPWIZARD_HEADINGS" val="Admin 0\Continent\UN Region\UN Sub Region"/>
  <p:tag name="EE4P_MAPWIZARD" val="Republic of Congo\Africa\Africa\Middle Africa"/>
</p:tagLst>
</file>

<file path=ppt/tags/tag477.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Northern Cyprus\Asia\Asia\Western Asia"/>
</p:tagLst>
</file>

<file path=ppt/tags/tag478.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479.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80.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481.xml><?xml version="1.0" encoding="utf-8"?>
<p:tagLst xmlns:a="http://schemas.openxmlformats.org/drawingml/2006/main" xmlns:r="http://schemas.openxmlformats.org/officeDocument/2006/relationships" xmlns:p="http://schemas.openxmlformats.org/presentationml/2006/main">
  <p:tag name="EE4P_MAPWIZARD_ID" val="DJ"/>
  <p:tag name="EE4P_MAPWIZARD_HEADINGS" val="Admin 0\Continent\UN Region\UN Sub Region"/>
  <p:tag name="EE4P_MAPWIZARD" val="Djibouti\Africa\Africa\Eastern Africa"/>
</p:tagLst>
</file>

<file path=ppt/tags/tag482.xml><?xml version="1.0" encoding="utf-8"?>
<p:tagLst xmlns:a="http://schemas.openxmlformats.org/drawingml/2006/main" xmlns:r="http://schemas.openxmlformats.org/officeDocument/2006/relationships" xmlns:p="http://schemas.openxmlformats.org/presentationml/2006/main">
  <p:tag name="EE4P_MAPWIZARD_ID" val="DZ"/>
  <p:tag name="EE4P_MAPWIZARD_HEADINGS" val="Admin 0\Continent\UN Region\UN Sub Region"/>
  <p:tag name="EE4P_MAPWIZARD" val="Algeria\Africa\Africa\Northern Africa"/>
</p:tagLst>
</file>

<file path=ppt/tags/tag483.xml><?xml version="1.0" encoding="utf-8"?>
<p:tagLst xmlns:a="http://schemas.openxmlformats.org/drawingml/2006/main" xmlns:r="http://schemas.openxmlformats.org/officeDocument/2006/relationships" xmlns:p="http://schemas.openxmlformats.org/presentationml/2006/main">
  <p:tag name="EE4P_MAPWIZARD_ID" val="EG"/>
  <p:tag name="EE4P_MAPWIZARD_HEADINGS" val="Admin 0\Continent\UN Region\UN Sub Region"/>
  <p:tag name="EE4P_MAPWIZARD" val="Egypt\Africa\Africa\Northern Africa"/>
</p:tagLst>
</file>

<file path=ppt/tags/tag484.xml><?xml version="1.0" encoding="utf-8"?>
<p:tagLst xmlns:a="http://schemas.openxmlformats.org/drawingml/2006/main" xmlns:r="http://schemas.openxmlformats.org/officeDocument/2006/relationships" xmlns:p="http://schemas.openxmlformats.org/presentationml/2006/main">
  <p:tag name="EE4P_MAPWIZARD_ID" val="ER"/>
  <p:tag name="EE4P_MAPWIZARD_HEADINGS" val="Admin 0\Continent\UN Region\UN Sub Region"/>
  <p:tag name="EE4P_MAPWIZARD" val="Eritrea\Africa\Africa\Eastern Africa"/>
</p:tagLst>
</file>

<file path=ppt/tags/tag485.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486.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487.xml><?xml version="1.0" encoding="utf-8"?>
<p:tagLst xmlns:a="http://schemas.openxmlformats.org/drawingml/2006/main" xmlns:r="http://schemas.openxmlformats.org/officeDocument/2006/relationships" xmlns:p="http://schemas.openxmlformats.org/presentationml/2006/main">
  <p:tag name="EE4P_MAPWIZARD_ID" val="ET"/>
  <p:tag name="EE4P_MAPWIZARD_HEADINGS" val="Admin 0\Continent\UN Region\UN Sub Region"/>
  <p:tag name="EE4P_MAPWIZARD" val="Ethiopia\Africa\Africa\Eastern Africa"/>
</p:tagLst>
</file>

<file path=ppt/tags/tag488.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489.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490.xml><?xml version="1.0" encoding="utf-8"?>
<p:tagLst xmlns:a="http://schemas.openxmlformats.org/drawingml/2006/main" xmlns:r="http://schemas.openxmlformats.org/officeDocument/2006/relationships" xmlns:p="http://schemas.openxmlformats.org/presentationml/2006/main">
  <p:tag name="EE4P_MAPWIZARD_ID" val="GA"/>
  <p:tag name="EE4P_MAPWIZARD_HEADINGS" val="Admin 0\Continent\UN Region\UN Sub Region"/>
  <p:tag name="EE4P_MAPWIZARD" val="Gabon\Africa\Africa\Middle Africa"/>
</p:tagLst>
</file>

<file path=ppt/tags/tag491.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Continent\UN Region\UN Sub Region"/>
  <p:tag name="EE4P_MAPWIZARD" val="Georgia\Asia\Asia\Western Asia"/>
</p:tagLst>
</file>

<file path=ppt/tags/tag492.xml><?xml version="1.0" encoding="utf-8"?>
<p:tagLst xmlns:a="http://schemas.openxmlformats.org/drawingml/2006/main" xmlns:r="http://schemas.openxmlformats.org/officeDocument/2006/relationships" xmlns:p="http://schemas.openxmlformats.org/presentationml/2006/main">
  <p:tag name="EE4P_MAPWIZARD_ID" val="GH"/>
  <p:tag name="EE4P_MAPWIZARD_HEADINGS" val="Admin 0\Continent\UN Region\UN Sub Region"/>
  <p:tag name="EE4P_MAPWIZARD" val="Ghana\Africa\Africa\Western Africa"/>
</p:tagLst>
</file>

<file path=ppt/tags/tag493.xml><?xml version="1.0" encoding="utf-8"?>
<p:tagLst xmlns:a="http://schemas.openxmlformats.org/drawingml/2006/main" xmlns:r="http://schemas.openxmlformats.org/officeDocument/2006/relationships" xmlns:p="http://schemas.openxmlformats.org/presentationml/2006/main">
  <p:tag name="EE4P_MAPWIZARD_ID" val="GN"/>
  <p:tag name="EE4P_MAPWIZARD_HEADINGS" val="Admin 0\Continent\UN Region\UN Sub Region"/>
  <p:tag name="EE4P_MAPWIZARD" val="Guinea\Africa\Africa\Western Africa"/>
</p:tagLst>
</file>

<file path=ppt/tags/tag494.xml><?xml version="1.0" encoding="utf-8"?>
<p:tagLst xmlns:a="http://schemas.openxmlformats.org/drawingml/2006/main" xmlns:r="http://schemas.openxmlformats.org/officeDocument/2006/relationships" xmlns:p="http://schemas.openxmlformats.org/presentationml/2006/main">
  <p:tag name="EE4P_MAPWIZARD_ID" val="GM"/>
  <p:tag name="EE4P_MAPWIZARD_HEADINGS" val="Admin 0\Continent\UN Region\UN Sub Region"/>
  <p:tag name="EE4P_MAPWIZARD" val="Gambia\Africa\Africa\Western Africa"/>
</p:tagLst>
</file>

<file path=ppt/tags/tag495.xml><?xml version="1.0" encoding="utf-8"?>
<p:tagLst xmlns:a="http://schemas.openxmlformats.org/drawingml/2006/main" xmlns:r="http://schemas.openxmlformats.org/officeDocument/2006/relationships" xmlns:p="http://schemas.openxmlformats.org/presentationml/2006/main">
  <p:tag name="EE4P_MAPWIZARD_ID" val="GW"/>
  <p:tag name="EE4P_MAPWIZARD_HEADINGS" val="Admin 0\Continent\UN Region\UN Sub Region"/>
  <p:tag name="EE4P_MAPWIZARD" val="Guinea Bissau\Africa\Africa\Western Africa"/>
</p:tagLst>
</file>

<file path=ppt/tags/tag496.xml><?xml version="1.0" encoding="utf-8"?>
<p:tagLst xmlns:a="http://schemas.openxmlformats.org/drawingml/2006/main" xmlns:r="http://schemas.openxmlformats.org/officeDocument/2006/relationships" xmlns:p="http://schemas.openxmlformats.org/presentationml/2006/main">
  <p:tag name="EE4P_MAPWIZARD_ID" val="GQ"/>
  <p:tag name="EE4P_MAPWIZARD_HEADINGS" val="Admin 0\Continent\UN Region\UN Sub Region"/>
  <p:tag name="EE4P_MAPWIZARD" val="Equatorial Guinea\Africa\Africa\Middle Africa"/>
</p:tagLst>
</file>

<file path=ppt/tags/tag497.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498.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499.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00.xml><?xml version="1.0" encoding="utf-8"?>
<p:tagLst xmlns:a="http://schemas.openxmlformats.org/drawingml/2006/main" xmlns:r="http://schemas.openxmlformats.org/officeDocument/2006/relationships" xmlns:p="http://schemas.openxmlformats.org/presentationml/2006/main">
  <p:tag name="EE4P_MAPWIZARD_ID" val="ID"/>
  <p:tag name="EE4P_MAPWIZARD_HEADINGS" val="Admin 0\Continent\UN Region\UN Sub Region"/>
  <p:tag name="EE4P_MAPWIZARD" val="Indonesia\Asia\Asia\South-Eastern Asia"/>
</p:tagLst>
</file>

<file path=ppt/tags/tag501.xml><?xml version="1.0" encoding="utf-8"?>
<p:tagLst xmlns:a="http://schemas.openxmlformats.org/drawingml/2006/main" xmlns:r="http://schemas.openxmlformats.org/officeDocument/2006/relationships" xmlns:p="http://schemas.openxmlformats.org/presentationml/2006/main">
  <p:tag name="EE4P_MAPWIZARD_ID" val="IN"/>
  <p:tag name="EE4P_MAPWIZARD_HEADINGS" val="Admin 0\Continent\UN Region\UN Sub Region"/>
  <p:tag name="EE4P_MAPWIZARD" val="India\Asia\Asia\Southern Asia"/>
</p:tagLst>
</file>

<file path=ppt/tags/tag502.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503.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504.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505.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506.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507.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508.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509.xml><?xml version="1.0" encoding="utf-8"?>
<p:tagLst xmlns:a="http://schemas.openxmlformats.org/drawingml/2006/main" xmlns:r="http://schemas.openxmlformats.org/officeDocument/2006/relationships" xmlns:p="http://schemas.openxmlformats.org/presentationml/2006/main">
  <p:tag name="EE4P_MAPWIZARD_ID" val="JP"/>
  <p:tag name="EE4P_MAPWIZARD_HEADINGS" val="Admin 0\Continent\UN Region\UN Sub Region"/>
  <p:tag name="EE4P_MAPWIZARD" val="Japan\Asia\Asia\Eastern Asia"/>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10.xml><?xml version="1.0" encoding="utf-8"?>
<p:tagLst xmlns:a="http://schemas.openxmlformats.org/drawingml/2006/main" xmlns:r="http://schemas.openxmlformats.org/officeDocument/2006/relationships" xmlns:p="http://schemas.openxmlformats.org/presentationml/2006/main">
  <p:tag name="EE4P_MAPWIZARD_ID" val="KZ"/>
  <p:tag name="EE4P_MAPWIZARD_HEADINGS" val="Admin 0\Continent\UN Region\UN Sub Region"/>
  <p:tag name="EE4P_MAPWIZARD" val="Kazakhstan\Asia\Asia\Central Asia"/>
</p:tagLst>
</file>

<file path=ppt/tags/tag511.xml><?xml version="1.0" encoding="utf-8"?>
<p:tagLst xmlns:a="http://schemas.openxmlformats.org/drawingml/2006/main" xmlns:r="http://schemas.openxmlformats.org/officeDocument/2006/relationships" xmlns:p="http://schemas.openxmlformats.org/presentationml/2006/main">
  <p:tag name="EE4P_MAPWIZARD_ID" val="KE"/>
  <p:tag name="EE4P_MAPWIZARD_HEADINGS" val="Admin 0\Continent\UN Region\UN Sub Region"/>
  <p:tag name="EE4P_MAPWIZARD" val="Kenya\Africa\Africa\Eastern Africa"/>
</p:tagLst>
</file>

<file path=ppt/tags/tag512.xml><?xml version="1.0" encoding="utf-8"?>
<p:tagLst xmlns:a="http://schemas.openxmlformats.org/drawingml/2006/main" xmlns:r="http://schemas.openxmlformats.org/officeDocument/2006/relationships" xmlns:p="http://schemas.openxmlformats.org/presentationml/2006/main">
  <p:tag name="EE4P_MAPWIZARD_ID" val="KG"/>
  <p:tag name="EE4P_MAPWIZARD_HEADINGS" val="Admin 0\Continent\UN Region\UN Sub Region"/>
  <p:tag name="EE4P_MAPWIZARD" val="Kyrgyzstan\Asia\Asia\Central Asia"/>
</p:tagLst>
</file>

<file path=ppt/tags/tag513.xml><?xml version="1.0" encoding="utf-8"?>
<p:tagLst xmlns:a="http://schemas.openxmlformats.org/drawingml/2006/main" xmlns:r="http://schemas.openxmlformats.org/officeDocument/2006/relationships" xmlns:p="http://schemas.openxmlformats.org/presentationml/2006/main">
  <p:tag name="EE4P_MAPWIZARD_ID" val="KH"/>
  <p:tag name="EE4P_MAPWIZARD_HEADINGS" val="Admin 0\Continent\UN Region\UN Sub Region"/>
  <p:tag name="EE4P_MAPWIZARD" val="Cambodia\Asia\Asia\South-Eastern Asia"/>
</p:tagLst>
</file>

<file path=ppt/tags/tag514.xml><?xml version="1.0" encoding="utf-8"?>
<p:tagLst xmlns:a="http://schemas.openxmlformats.org/drawingml/2006/main" xmlns:r="http://schemas.openxmlformats.org/officeDocument/2006/relationships" xmlns:p="http://schemas.openxmlformats.org/presentationml/2006/main">
  <p:tag name="EE4P_MAPWIZARD_ID" val="KR"/>
  <p:tag name="EE4P_MAPWIZARD_HEADINGS" val="Admin 0\Continent\UN Region\UN Sub Region"/>
  <p:tag name="EE4P_MAPWIZARD" val="South Korea\Asia\Asia\Eastern Asia"/>
</p:tagLst>
</file>

<file path=ppt/tags/tag515.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516.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517.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0\Continent\UN Region\UN Sub Region"/>
  <p:tag name="EE4P_MAPWIZARD" val="Laos\Asia\Asia\South-Eastern Asia"/>
</p:tagLst>
</file>

<file path=ppt/tags/tag518.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519.xml><?xml version="1.0" encoding="utf-8"?>
<p:tagLst xmlns:a="http://schemas.openxmlformats.org/drawingml/2006/main" xmlns:r="http://schemas.openxmlformats.org/officeDocument/2006/relationships" xmlns:p="http://schemas.openxmlformats.org/presentationml/2006/main">
  <p:tag name="EE4P_MAPWIZARD_ID" val="LR"/>
  <p:tag name="EE4P_MAPWIZARD_HEADINGS" val="Admin 0\Continent\UN Region\UN Sub Region"/>
  <p:tag name="EE4P_MAPWIZARD" val="Liberia\Africa\Africa\Western Africa"/>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20.xml><?xml version="1.0" encoding="utf-8"?>
<p:tagLst xmlns:a="http://schemas.openxmlformats.org/drawingml/2006/main" xmlns:r="http://schemas.openxmlformats.org/officeDocument/2006/relationships" xmlns:p="http://schemas.openxmlformats.org/presentationml/2006/main">
  <p:tag name="EE4P_MAPWIZARD_ID" val="LY"/>
  <p:tag name="EE4P_MAPWIZARD_HEADINGS" val="Admin 0\Continent\UN Region\UN Sub Region"/>
  <p:tag name="EE4P_MAPWIZARD" val="Libya\Africa\Africa\Northern Africa"/>
</p:tagLst>
</file>

<file path=ppt/tags/tag521.xml><?xml version="1.0" encoding="utf-8"?>
<p:tagLst xmlns:a="http://schemas.openxmlformats.org/drawingml/2006/main" xmlns:r="http://schemas.openxmlformats.org/officeDocument/2006/relationships" xmlns:p="http://schemas.openxmlformats.org/presentationml/2006/main">
  <p:tag name="EE4P_MAPWIZARD_ID" val="LK"/>
  <p:tag name="EE4P_MAPWIZARD_HEADINGS" val="Admin 0\Continent\UN Region\UN Sub Region"/>
  <p:tag name="EE4P_MAPWIZARD" val="Sri Lanka\Asia\Asia\Southern Asia"/>
</p:tagLst>
</file>

<file path=ppt/tags/tag522.xml><?xml version="1.0" encoding="utf-8"?>
<p:tagLst xmlns:a="http://schemas.openxmlformats.org/drawingml/2006/main" xmlns:r="http://schemas.openxmlformats.org/officeDocument/2006/relationships" xmlns:p="http://schemas.openxmlformats.org/presentationml/2006/main">
  <p:tag name="EE4P_MAPWIZARD_ID" val="LS"/>
  <p:tag name="EE4P_MAPWIZARD_HEADINGS" val="Admin 0\Continent\UN Region\UN Sub Region"/>
  <p:tag name="EE4P_MAPWIZARD" val="Lesotho\Africa\Africa\Southern Africa"/>
</p:tagLst>
</file>

<file path=ppt/tags/tag523.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524.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525.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526.xml><?xml version="1.0" encoding="utf-8"?>
<p:tagLst xmlns:a="http://schemas.openxmlformats.org/drawingml/2006/main" xmlns:r="http://schemas.openxmlformats.org/officeDocument/2006/relationships" xmlns:p="http://schemas.openxmlformats.org/presentationml/2006/main">
  <p:tag name="EE4P_MAPWIZARD_ID" val="MA"/>
  <p:tag name="EE4P_MAPWIZARD_HEADINGS" val="Admin 0\Continent\UN Region\UN Sub Region"/>
  <p:tag name="EE4P_MAPWIZARD" val="Morocco\Africa\Africa\Northern Africa"/>
</p:tagLst>
</file>

<file path=ppt/tags/tag527.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528.xml><?xml version="1.0" encoding="utf-8"?>
<p:tagLst xmlns:a="http://schemas.openxmlformats.org/drawingml/2006/main" xmlns:r="http://schemas.openxmlformats.org/officeDocument/2006/relationships" xmlns:p="http://schemas.openxmlformats.org/presentationml/2006/main">
  <p:tag name="EE4P_MAPWIZARD_ID" val="MG"/>
  <p:tag name="EE4P_MAPWIZARD_HEADINGS" val="Admin 0\Continent\UN Region\UN Sub Region"/>
  <p:tag name="EE4P_MAPWIZARD" val="Madagascar\Africa\Africa\Eastern Africa"/>
</p:tagLst>
</file>

<file path=ppt/tags/tag529.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30.xml><?xml version="1.0" encoding="utf-8"?>
<p:tagLst xmlns:a="http://schemas.openxmlformats.org/drawingml/2006/main" xmlns:r="http://schemas.openxmlformats.org/officeDocument/2006/relationships" xmlns:p="http://schemas.openxmlformats.org/presentationml/2006/main">
  <p:tag name="EE4P_MAPWIZARD_ID" val="ML"/>
  <p:tag name="EE4P_MAPWIZARD_HEADINGS" val="Admin 0\Continent\UN Region\UN Sub Region"/>
  <p:tag name="EE4P_MAPWIZARD" val="Mali\Africa\Africa\Western Africa"/>
</p:tagLst>
</file>

<file path=ppt/tags/tag531.xml><?xml version="1.0" encoding="utf-8"?>
<p:tagLst xmlns:a="http://schemas.openxmlformats.org/drawingml/2006/main" xmlns:r="http://schemas.openxmlformats.org/officeDocument/2006/relationships" xmlns:p="http://schemas.openxmlformats.org/presentationml/2006/main">
  <p:tag name="EE4P_MAPWIZARD_ID" val="MM"/>
  <p:tag name="EE4P_MAPWIZARD_HEADINGS" val="Admin 0\Continent\UN Region\UN Sub Region"/>
  <p:tag name="EE4P_MAPWIZARD" val="Myanmar\Asia\Asia\South-Eastern Asia"/>
</p:tagLst>
</file>

<file path=ppt/tags/tag532.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533.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0\Continent\UN Region\UN Sub Region"/>
  <p:tag name="EE4P_MAPWIZARD" val="Mongolia\Asia\Asia\Eastern Asia"/>
</p:tagLst>
</file>

<file path=ppt/tags/tag534.xml><?xml version="1.0" encoding="utf-8"?>
<p:tagLst xmlns:a="http://schemas.openxmlformats.org/drawingml/2006/main" xmlns:r="http://schemas.openxmlformats.org/officeDocument/2006/relationships" xmlns:p="http://schemas.openxmlformats.org/presentationml/2006/main">
  <p:tag name="EE4P_MAPWIZARD_ID" val="MZ"/>
  <p:tag name="EE4P_MAPWIZARD_HEADINGS" val="Admin 0\Continent\UN Region\UN Sub Region"/>
  <p:tag name="EE4P_MAPWIZARD" val="Mozambique\Africa\Africa\Eastern Africa"/>
</p:tagLst>
</file>

<file path=ppt/tags/tag535.xml><?xml version="1.0" encoding="utf-8"?>
<p:tagLst xmlns:a="http://schemas.openxmlformats.org/drawingml/2006/main" xmlns:r="http://schemas.openxmlformats.org/officeDocument/2006/relationships" xmlns:p="http://schemas.openxmlformats.org/presentationml/2006/main">
  <p:tag name="EE4P_MAPWIZARD_ID" val="MR"/>
  <p:tag name="EE4P_MAPWIZARD_HEADINGS" val="Admin 0\Continent\UN Region\UN Sub Region"/>
  <p:tag name="EE4P_MAPWIZARD" val="Mauritania\Africa\Africa\Western Africa"/>
</p:tagLst>
</file>

<file path=ppt/tags/tag536.xml><?xml version="1.0" encoding="utf-8"?>
<p:tagLst xmlns:a="http://schemas.openxmlformats.org/drawingml/2006/main" xmlns:r="http://schemas.openxmlformats.org/officeDocument/2006/relationships" xmlns:p="http://schemas.openxmlformats.org/presentationml/2006/main">
  <p:tag name="EE4P_MAPWIZARD_ID" val="MW"/>
  <p:tag name="EE4P_MAPWIZARD_HEADINGS" val="Admin 0\Continent\UN Region\UN Sub Region"/>
  <p:tag name="EE4P_MAPWIZARD" val="Malawi\Africa\Africa\Eastern Africa"/>
</p:tagLst>
</file>

<file path=ppt/tags/tag537.xml><?xml version="1.0" encoding="utf-8"?>
<p:tagLst xmlns:a="http://schemas.openxmlformats.org/drawingml/2006/main" xmlns:r="http://schemas.openxmlformats.org/officeDocument/2006/relationships" xmlns:p="http://schemas.openxmlformats.org/presentationml/2006/main">
  <p:tag name="EE4P_MAPWIZARD_ID" val="MY"/>
  <p:tag name="EE4P_MAPWIZARD_HEADINGS" val="Admin 0\Continent\UN Region\UN Sub Region"/>
  <p:tag name="EE4P_MAPWIZARD" val="Malaysia\Asia\Asia\South-Eastern Asia"/>
</p:tagLst>
</file>

<file path=ppt/tags/tag538.xml><?xml version="1.0" encoding="utf-8"?>
<p:tagLst xmlns:a="http://schemas.openxmlformats.org/drawingml/2006/main" xmlns:r="http://schemas.openxmlformats.org/officeDocument/2006/relationships" xmlns:p="http://schemas.openxmlformats.org/presentationml/2006/main">
  <p:tag name="EE4P_MAPWIZARD_ID" val="NA"/>
  <p:tag name="EE4P_MAPWIZARD_HEADINGS" val="Admin 0\Continent\UN Region\UN Sub Region"/>
  <p:tag name="EE4P_MAPWIZARD" val="Namibia\Africa\Africa\Southern Africa"/>
</p:tagLst>
</file>

<file path=ppt/tags/tag539.xml><?xml version="1.0" encoding="utf-8"?>
<p:tagLst xmlns:a="http://schemas.openxmlformats.org/drawingml/2006/main" xmlns:r="http://schemas.openxmlformats.org/officeDocument/2006/relationships" xmlns:p="http://schemas.openxmlformats.org/presentationml/2006/main">
  <p:tag name="EE4P_MAPWIZARD_ID" val="NE"/>
  <p:tag name="EE4P_MAPWIZARD_HEADINGS" val="Admin 0\Continent\UN Region\UN Sub Region"/>
  <p:tag name="EE4P_MAPWIZARD" val="Niger\Africa\Africa\Western Africa"/>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40.xml><?xml version="1.0" encoding="utf-8"?>
<p:tagLst xmlns:a="http://schemas.openxmlformats.org/drawingml/2006/main" xmlns:r="http://schemas.openxmlformats.org/officeDocument/2006/relationships" xmlns:p="http://schemas.openxmlformats.org/presentationml/2006/main">
  <p:tag name="EE4P_MAPWIZARD_ID" val="NG"/>
  <p:tag name="EE4P_MAPWIZARD_HEADINGS" val="Admin 0\Continent\UN Region\UN Sub Region"/>
  <p:tag name="EE4P_MAPWIZARD" val="Nigeria\Africa\Africa\Western Africa"/>
</p:tagLst>
</file>

<file path=ppt/tags/tag541.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542.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543.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0\Continent\UN Region\UN Sub Region"/>
  <p:tag name="EE4P_MAPWIZARD" val="Nepal\Asia\Asia\Southern Asia"/>
</p:tagLst>
</file>

<file path=ppt/tags/tag544.xml><?xml version="1.0" encoding="utf-8"?>
<p:tagLst xmlns:a="http://schemas.openxmlformats.org/drawingml/2006/main" xmlns:r="http://schemas.openxmlformats.org/officeDocument/2006/relationships" xmlns:p="http://schemas.openxmlformats.org/presentationml/2006/main">
  <p:tag name="EE4P_MAPWIZARD_ID" val="NZ"/>
  <p:tag name="EE4P_MAPWIZARD_HEADINGS" val="Admin 0\Continent\UN Region\UN Sub Region"/>
  <p:tag name="EE4P_MAPWIZARD" val="New Zealand\Oceania\Oceania\Australia and New Zealand"/>
</p:tagLst>
</file>

<file path=ppt/tags/tag545.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546.xml><?xml version="1.0" encoding="utf-8"?>
<p:tagLst xmlns:a="http://schemas.openxmlformats.org/drawingml/2006/main" xmlns:r="http://schemas.openxmlformats.org/officeDocument/2006/relationships" xmlns:p="http://schemas.openxmlformats.org/presentationml/2006/main">
  <p:tag name="EE4P_MAPWIZARD_ID" val="PK"/>
  <p:tag name="EE4P_MAPWIZARD_HEADINGS" val="Admin 0\Continent\UN Region\UN Sub Region"/>
  <p:tag name="EE4P_MAPWIZARD" val="Pakistan\Asia\Asia\Southern Asia"/>
</p:tagLst>
</file>

<file path=ppt/tags/tag547.xml><?xml version="1.0" encoding="utf-8"?>
<p:tagLst xmlns:a="http://schemas.openxmlformats.org/drawingml/2006/main" xmlns:r="http://schemas.openxmlformats.org/officeDocument/2006/relationships" xmlns:p="http://schemas.openxmlformats.org/presentationml/2006/main">
  <p:tag name="EE4P_MAPWIZARD_ID" val="PH"/>
  <p:tag name="EE4P_MAPWIZARD_HEADINGS" val="Admin 0\Continent\UN Region\UN Sub Region"/>
  <p:tag name="EE4P_MAPWIZARD" val="Philippines\Asia\Asia\South-Eastern Asia"/>
</p:tagLst>
</file>

<file path=ppt/tags/tag548.xml><?xml version="1.0" encoding="utf-8"?>
<p:tagLst xmlns:a="http://schemas.openxmlformats.org/drawingml/2006/main" xmlns:r="http://schemas.openxmlformats.org/officeDocument/2006/relationships" xmlns:p="http://schemas.openxmlformats.org/presentationml/2006/main">
  <p:tag name="EE4P_MAPWIZARD_ID" val="PG"/>
  <p:tag name="EE4P_MAPWIZARD_HEADINGS" val="Admin 0\Continent\UN Region\UN Sub Region"/>
  <p:tag name="EE4P_MAPWIZARD" val="Papua New Guinea\Oceania\Oceania\Melanesia"/>
</p:tagLst>
</file>

<file path=ppt/tags/tag549.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50.xml><?xml version="1.0" encoding="utf-8"?>
<p:tagLst xmlns:a="http://schemas.openxmlformats.org/drawingml/2006/main" xmlns:r="http://schemas.openxmlformats.org/officeDocument/2006/relationships" xmlns:p="http://schemas.openxmlformats.org/presentationml/2006/main">
  <p:tag name="EE4P_MAPWIZARD_ID" val="KP"/>
  <p:tag name="EE4P_MAPWIZARD_HEADINGS" val="Admin 0\Continent\UN Region\UN Sub Region"/>
  <p:tag name="EE4P_MAPWIZARD" val="North Korea\Asia\Asia\Eastern Asia"/>
</p:tagLst>
</file>

<file path=ppt/tags/tag551.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552.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553.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554.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Continent\UN Region\UN Sub Region"/>
  <p:tag name="EE4P_MAPWIZARD" val="Russia\Europe\Europe\Eastern Europe"/>
</p:tagLst>
</file>

<file path=ppt/tags/tag555.xml><?xml version="1.0" encoding="utf-8"?>
<p:tagLst xmlns:a="http://schemas.openxmlformats.org/drawingml/2006/main" xmlns:r="http://schemas.openxmlformats.org/officeDocument/2006/relationships" xmlns:p="http://schemas.openxmlformats.org/presentationml/2006/main">
  <p:tag name="EE4P_MAPWIZARD_ID" val="RW"/>
  <p:tag name="EE4P_MAPWIZARD_HEADINGS" val="Admin 0\Continent\UN Region\UN Sub Region"/>
  <p:tag name="EE4P_MAPWIZARD" val="Rwanda\Africa\Africa\Eastern Africa"/>
</p:tagLst>
</file>

<file path=ppt/tags/tag556.xml><?xml version="1.0" encoding="utf-8"?>
<p:tagLst xmlns:a="http://schemas.openxmlformats.org/drawingml/2006/main" xmlns:r="http://schemas.openxmlformats.org/officeDocument/2006/relationships" xmlns:p="http://schemas.openxmlformats.org/presentationml/2006/main">
  <p:tag name="EE4P_MAPWIZARD_ID" val="EH"/>
  <p:tag name="EE4P_MAPWIZARD_HEADINGS" val="Admin 0\Continent\UN Region\UN Sub Region"/>
  <p:tag name="EE4P_MAPWIZARD" val="Western Sahara\Africa\Africa\Northern Africa"/>
</p:tagLst>
</file>

<file path=ppt/tags/tag557.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558.xml><?xml version="1.0" encoding="utf-8"?>
<p:tagLst xmlns:a="http://schemas.openxmlformats.org/drawingml/2006/main" xmlns:r="http://schemas.openxmlformats.org/officeDocument/2006/relationships" xmlns:p="http://schemas.openxmlformats.org/presentationml/2006/main">
  <p:tag name="EE4P_MAPWIZARD_ID" val="SD"/>
  <p:tag name="EE4P_MAPWIZARD_HEADINGS" val="Admin 0\Continent\UN Region\UN Sub Region"/>
  <p:tag name="EE4P_MAPWIZARD" val="Sudan\Africa\Africa\Northern Africa"/>
</p:tagLst>
</file>

<file path=ppt/tags/tag559.xml><?xml version="1.0" encoding="utf-8"?>
<p:tagLst xmlns:a="http://schemas.openxmlformats.org/drawingml/2006/main" xmlns:r="http://schemas.openxmlformats.org/officeDocument/2006/relationships" xmlns:p="http://schemas.openxmlformats.org/presentationml/2006/main">
  <p:tag name="EE4P_MAPWIZARD_ID" val="SS"/>
  <p:tag name="EE4P_MAPWIZARD_HEADINGS" val="Admin 0\Continent\UN Region\UN Sub Region"/>
  <p:tag name="EE4P_MAPWIZARD" val="South Sudan\Africa\Africa\Eastern Africa"/>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60.xml><?xml version="1.0" encoding="utf-8"?>
<p:tagLst xmlns:a="http://schemas.openxmlformats.org/drawingml/2006/main" xmlns:r="http://schemas.openxmlformats.org/officeDocument/2006/relationships" xmlns:p="http://schemas.openxmlformats.org/presentationml/2006/main">
  <p:tag name="EE4P_MAPWIZARD_ID" val="SN"/>
  <p:tag name="EE4P_MAPWIZARD_HEADINGS" val="Admin 0\Continent\UN Region\UN Sub Region"/>
  <p:tag name="EE4P_MAPWIZARD" val="Senegal\Africa\Africa\Western Africa"/>
</p:tagLst>
</file>

<file path=ppt/tags/tag561.xml><?xml version="1.0" encoding="utf-8"?>
<p:tagLst xmlns:a="http://schemas.openxmlformats.org/drawingml/2006/main" xmlns:r="http://schemas.openxmlformats.org/officeDocument/2006/relationships" xmlns:p="http://schemas.openxmlformats.org/presentationml/2006/main">
  <p:tag name="EE4P_MAPWIZARD_ID" val="SB"/>
  <p:tag name="EE4P_MAPWIZARD_HEADINGS" val="Admin 0\Continent\UN Region\UN Sub Region"/>
  <p:tag name="EE4P_MAPWIZARD" val="Solomon Islands\Oceania\Oceania\Melanesia"/>
</p:tagLst>
</file>

<file path=ppt/tags/tag562.xml><?xml version="1.0" encoding="utf-8"?>
<p:tagLst xmlns:a="http://schemas.openxmlformats.org/drawingml/2006/main" xmlns:r="http://schemas.openxmlformats.org/officeDocument/2006/relationships" xmlns:p="http://schemas.openxmlformats.org/presentationml/2006/main">
  <p:tag name="EE4P_MAPWIZARD_ID" val="SL"/>
  <p:tag name="EE4P_MAPWIZARD_HEADINGS" val="Admin 0\Continent\UN Region\UN Sub Region"/>
  <p:tag name="EE4P_MAPWIZARD" val="Sierra Leone\Africa\Africa\Western Africa"/>
</p:tagLst>
</file>

<file path=ppt/tags/tag563.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land\Africa\Africa\Eastern Africa"/>
</p:tagLst>
</file>

<file path=ppt/tags/tag564.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a\Africa\Africa\Eastern Africa"/>
</p:tagLst>
</file>

<file path=ppt/tags/tag565.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ags/tag566.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567.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568.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569.xml><?xml version="1.0" encoding="utf-8"?>
<p:tagLst xmlns:a="http://schemas.openxmlformats.org/drawingml/2006/main" xmlns:r="http://schemas.openxmlformats.org/officeDocument/2006/relationships" xmlns:p="http://schemas.openxmlformats.org/presentationml/2006/main">
  <p:tag name="EE4P_MAPWIZARD_ID" val="SZ"/>
  <p:tag name="EE4P_MAPWIZARD_HEADINGS" val="Admin 0\Continent\UN Region\UN Sub Region"/>
  <p:tag name="EE4P_MAPWIZARD" val="Swaziland\Africa\Africa\Southern Africa"/>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70.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571.xml><?xml version="1.0" encoding="utf-8"?>
<p:tagLst xmlns:a="http://schemas.openxmlformats.org/drawingml/2006/main" xmlns:r="http://schemas.openxmlformats.org/officeDocument/2006/relationships" xmlns:p="http://schemas.openxmlformats.org/presentationml/2006/main">
  <p:tag name="EE4P_MAPWIZARD_ID" val="TD"/>
  <p:tag name="EE4P_MAPWIZARD_HEADINGS" val="Admin 0\Continent\UN Region\UN Sub Region"/>
  <p:tag name="EE4P_MAPWIZARD" val="Chad\Africa\Africa\Middle Africa"/>
</p:tagLst>
</file>

<file path=ppt/tags/tag572.xml><?xml version="1.0" encoding="utf-8"?>
<p:tagLst xmlns:a="http://schemas.openxmlformats.org/drawingml/2006/main" xmlns:r="http://schemas.openxmlformats.org/officeDocument/2006/relationships" xmlns:p="http://schemas.openxmlformats.org/presentationml/2006/main">
  <p:tag name="EE4P_MAPWIZARD_ID" val="TG"/>
  <p:tag name="EE4P_MAPWIZARD_HEADINGS" val="Admin 0\Continent\UN Region\UN Sub Region"/>
  <p:tag name="EE4P_MAPWIZARD" val="Togo\Africa\Africa\Western Africa"/>
</p:tagLst>
</file>

<file path=ppt/tags/tag573.xml><?xml version="1.0" encoding="utf-8"?>
<p:tagLst xmlns:a="http://schemas.openxmlformats.org/drawingml/2006/main" xmlns:r="http://schemas.openxmlformats.org/officeDocument/2006/relationships" xmlns:p="http://schemas.openxmlformats.org/presentationml/2006/main">
  <p:tag name="EE4P_MAPWIZARD_ID" val="TH"/>
  <p:tag name="EE4P_MAPWIZARD_HEADINGS" val="Admin 0\Continent\UN Region\UN Sub Region"/>
  <p:tag name="EE4P_MAPWIZARD" val="Thailand\Asia\Asia\South-Eastern Asia"/>
</p:tagLst>
</file>

<file path=ppt/tags/tag574.xml><?xml version="1.0" encoding="utf-8"?>
<p:tagLst xmlns:a="http://schemas.openxmlformats.org/drawingml/2006/main" xmlns:r="http://schemas.openxmlformats.org/officeDocument/2006/relationships" xmlns:p="http://schemas.openxmlformats.org/presentationml/2006/main">
  <p:tag name="EE4P_MAPWIZARD_ID" val="TJ"/>
  <p:tag name="EE4P_MAPWIZARD_HEADINGS" val="Admin 0\Continent\UN Region\UN Sub Region"/>
  <p:tag name="EE4P_MAPWIZARD" val="Tajikistan\Asia\Asia\Central Asia"/>
</p:tagLst>
</file>

<file path=ppt/tags/tag575.xml><?xml version="1.0" encoding="utf-8"?>
<p:tagLst xmlns:a="http://schemas.openxmlformats.org/drawingml/2006/main" xmlns:r="http://schemas.openxmlformats.org/officeDocument/2006/relationships" xmlns:p="http://schemas.openxmlformats.org/presentationml/2006/main">
  <p:tag name="EE4P_MAPWIZARD_ID" val="TM"/>
  <p:tag name="EE4P_MAPWIZARD_HEADINGS" val="Admin 0\Continent\UN Region\UN Sub Region"/>
  <p:tag name="EE4P_MAPWIZARD" val="Turkmenistan\Asia\Asia\Central Asia"/>
</p:tagLst>
</file>

<file path=ppt/tags/tag576.xml><?xml version="1.0" encoding="utf-8"?>
<p:tagLst xmlns:a="http://schemas.openxmlformats.org/drawingml/2006/main" xmlns:r="http://schemas.openxmlformats.org/officeDocument/2006/relationships" xmlns:p="http://schemas.openxmlformats.org/presentationml/2006/main">
  <p:tag name="EE4P_MAPWIZARD_ID" val="TL"/>
  <p:tag name="EE4P_MAPWIZARD_HEADINGS" val="Admin 0\Continent\UN Region\UN Sub Region"/>
  <p:tag name="EE4P_MAPWIZARD" val="East Timor\Asia\Asia\South-Eastern Asia"/>
</p:tagLst>
</file>

<file path=ppt/tags/tag577.xml><?xml version="1.0" encoding="utf-8"?>
<p:tagLst xmlns:a="http://schemas.openxmlformats.org/drawingml/2006/main" xmlns:r="http://schemas.openxmlformats.org/officeDocument/2006/relationships" xmlns:p="http://schemas.openxmlformats.org/presentationml/2006/main">
  <p:tag name="EE4P_MAPWIZARD_ID" val="TN"/>
  <p:tag name="EE4P_MAPWIZARD_HEADINGS" val="Admin 0\Continent\UN Region\UN Sub Region"/>
  <p:tag name="EE4P_MAPWIZARD" val="Tunisia\Africa\Africa\Northern Africa"/>
</p:tagLst>
</file>

<file path=ppt/tags/tag578.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579.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0\Continent\UN Region\UN Sub Region"/>
  <p:tag name="EE4P_MAPWIZARD" val="Taiwan\Asia\Asia\Eastern Asia"/>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80.xml><?xml version="1.0" encoding="utf-8"?>
<p:tagLst xmlns:a="http://schemas.openxmlformats.org/drawingml/2006/main" xmlns:r="http://schemas.openxmlformats.org/officeDocument/2006/relationships" xmlns:p="http://schemas.openxmlformats.org/presentationml/2006/main">
  <p:tag name="EE4P_MAPWIZARD_ID" val="TZ"/>
  <p:tag name="EE4P_MAPWIZARD_HEADINGS" val="Admin 0\Continent\UN Region\UN Sub Region"/>
  <p:tag name="EE4P_MAPWIZARD" val="United Republic of Tanzania\Africa\Africa\Eastern Africa"/>
</p:tagLst>
</file>

<file path=ppt/tags/tag581.xml><?xml version="1.0" encoding="utf-8"?>
<p:tagLst xmlns:a="http://schemas.openxmlformats.org/drawingml/2006/main" xmlns:r="http://schemas.openxmlformats.org/officeDocument/2006/relationships" xmlns:p="http://schemas.openxmlformats.org/presentationml/2006/main">
  <p:tag name="EE4P_MAPWIZARD_ID" val="UG"/>
  <p:tag name="EE4P_MAPWIZARD_HEADINGS" val="Admin 0\Continent\UN Region\UN Sub Region"/>
  <p:tag name="EE4P_MAPWIZARD" val="Uganda\Africa\Africa\Eastern Africa"/>
</p:tagLst>
</file>

<file path=ppt/tags/tag582.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Continent\UN Region\UN Sub Region"/>
  <p:tag name="EE4P_MAPWIZARD" val="Ukraine\Europe\Europe\Eastern Europe"/>
</p:tagLst>
</file>

<file path=ppt/tags/tag583.xml><?xml version="1.0" encoding="utf-8"?>
<p:tagLst xmlns:a="http://schemas.openxmlformats.org/drawingml/2006/main" xmlns:r="http://schemas.openxmlformats.org/officeDocument/2006/relationships" xmlns:p="http://schemas.openxmlformats.org/presentationml/2006/main">
  <p:tag name="EE4P_MAPWIZARD_ID" val="UZ"/>
  <p:tag name="EE4P_MAPWIZARD_HEADINGS" val="Admin 0\Continent\UN Region\UN Sub Region"/>
  <p:tag name="EE4P_MAPWIZARD" val="Uzbekistan\Asia\Asia\Central Asia"/>
</p:tagLst>
</file>

<file path=ppt/tags/tag584.xml><?xml version="1.0" encoding="utf-8"?>
<p:tagLst xmlns:a="http://schemas.openxmlformats.org/drawingml/2006/main" xmlns:r="http://schemas.openxmlformats.org/officeDocument/2006/relationships" xmlns:p="http://schemas.openxmlformats.org/presentationml/2006/main">
  <p:tag name="EE4P_MAPWIZARD_ID" val="VN"/>
  <p:tag name="EE4P_MAPWIZARD_HEADINGS" val="Admin 0\Continent\UN Region\UN Sub Region"/>
  <p:tag name="EE4P_MAPWIZARD" val="Vietnam\Asia\Asia\South-Eastern Asia"/>
</p:tagLst>
</file>

<file path=ppt/tags/tag585.xml><?xml version="1.0" encoding="utf-8"?>
<p:tagLst xmlns:a="http://schemas.openxmlformats.org/drawingml/2006/main" xmlns:r="http://schemas.openxmlformats.org/officeDocument/2006/relationships" xmlns:p="http://schemas.openxmlformats.org/presentationml/2006/main">
  <p:tag name="EE4P_MAPWIZARD_ID" val="VU"/>
  <p:tag name="EE4P_MAPWIZARD_HEADINGS" val="Admin 0\Continent\UN Region\UN Sub Region"/>
  <p:tag name="EE4P_MAPWIZARD" val="Vanuatu\Oceania\Oceania\Melanesia"/>
</p:tagLst>
</file>

<file path=ppt/tags/tag586.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587.xml><?xml version="1.0" encoding="utf-8"?>
<p:tagLst xmlns:a="http://schemas.openxmlformats.org/drawingml/2006/main" xmlns:r="http://schemas.openxmlformats.org/officeDocument/2006/relationships" xmlns:p="http://schemas.openxmlformats.org/presentationml/2006/main">
  <p:tag name="EE4P_MAPWIZARD_ID" val="ZA"/>
  <p:tag name="EE4P_MAPWIZARD_HEADINGS" val="Admin 0\Continent\UN Region\UN Sub Region"/>
  <p:tag name="EE4P_MAPWIZARD" val="South Africa\Africa\Africa\Southern Africa"/>
</p:tagLst>
</file>

<file path=ppt/tags/tag588.xml><?xml version="1.0" encoding="utf-8"?>
<p:tagLst xmlns:a="http://schemas.openxmlformats.org/drawingml/2006/main" xmlns:r="http://schemas.openxmlformats.org/officeDocument/2006/relationships" xmlns:p="http://schemas.openxmlformats.org/presentationml/2006/main">
  <p:tag name="EE4P_MAPWIZARD_ID" val="ZM"/>
  <p:tag name="EE4P_MAPWIZARD_HEADINGS" val="Admin 0\Continent\UN Region\UN Sub Region"/>
  <p:tag name="EE4P_MAPWIZARD" val="Zambia\Africa\Africa\Eastern Africa"/>
</p:tagLst>
</file>

<file path=ppt/tags/tag589.xml><?xml version="1.0" encoding="utf-8"?>
<p:tagLst xmlns:a="http://schemas.openxmlformats.org/drawingml/2006/main" xmlns:r="http://schemas.openxmlformats.org/officeDocument/2006/relationships" xmlns:p="http://schemas.openxmlformats.org/presentationml/2006/main">
  <p:tag name="EE4P_MAPWIZARD_ID" val="ZW"/>
  <p:tag name="EE4P_MAPWIZARD_HEADINGS" val="Admin 0\Continent\UN Region\UN Sub Region"/>
  <p:tag name="EE4P_MAPWIZARD" val="Zimbabwe\Africa\Africa\Eastern Africa"/>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590.xml><?xml version="1.0" encoding="utf-8"?>
<p:tagLst xmlns:a="http://schemas.openxmlformats.org/drawingml/2006/main" xmlns:r="http://schemas.openxmlformats.org/officeDocument/2006/relationships" xmlns:p="http://schemas.openxmlformats.org/presentationml/2006/main">
  <p:tag name="EE4P_MAPWIZARD_ID" val="FJ"/>
  <p:tag name="EE4P_MAPWIZARD_HEADINGS" val="Admin 0\Continent\UN Region\UN Sub Region"/>
  <p:tag name="EE4P_MAPWIZARD" val="Fiji\Oceania\Oceania\Melanesia"/>
</p:tagLst>
</file>

<file path=ppt/tags/tag591.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592.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593.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594.xml><?xml version="1.0" encoding="utf-8"?>
<p:tagLst xmlns:a="http://schemas.openxmlformats.org/drawingml/2006/main" xmlns:r="http://schemas.openxmlformats.org/officeDocument/2006/relationships" xmlns:p="http://schemas.openxmlformats.org/presentationml/2006/main">
  <p:tag name="SHAPE" val="OLD"/>
</p:tagLst>
</file>

<file path=ppt/tags/tag595.xml><?xml version="1.0" encoding="utf-8"?>
<p:tagLst xmlns:a="http://schemas.openxmlformats.org/drawingml/2006/main" xmlns:r="http://schemas.openxmlformats.org/officeDocument/2006/relationships" xmlns:p="http://schemas.openxmlformats.org/presentationml/2006/main">
  <p:tag name="SHAPE" val="OLD"/>
</p:tagLst>
</file>

<file path=ppt/tags/tag596.xml><?xml version="1.0" encoding="utf-8"?>
<p:tagLst xmlns:a="http://schemas.openxmlformats.org/drawingml/2006/main" xmlns:r="http://schemas.openxmlformats.org/officeDocument/2006/relationships" xmlns:p="http://schemas.openxmlformats.org/presentationml/2006/main">
  <p:tag name="SHAPE" val="OLD"/>
</p:tagLst>
</file>

<file path=ppt/tags/tag597.xml><?xml version="1.0" encoding="utf-8"?>
<p:tagLst xmlns:a="http://schemas.openxmlformats.org/drawingml/2006/main" xmlns:r="http://schemas.openxmlformats.org/officeDocument/2006/relationships" xmlns:p="http://schemas.openxmlformats.org/presentationml/2006/main">
  <p:tag name="SHAPE" val="OLD"/>
</p:tagLst>
</file>

<file path=ppt/tags/tag598.xml><?xml version="1.0" encoding="utf-8"?>
<p:tagLst xmlns:a="http://schemas.openxmlformats.org/drawingml/2006/main" xmlns:r="http://schemas.openxmlformats.org/officeDocument/2006/relationships" xmlns:p="http://schemas.openxmlformats.org/presentationml/2006/main">
  <p:tag name="SHAPE" val="OLD"/>
</p:tagLst>
</file>

<file path=ppt/tags/tag59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00.xml><?xml version="1.0" encoding="utf-8"?>
<p:tagLst xmlns:a="http://schemas.openxmlformats.org/drawingml/2006/main" xmlns:r="http://schemas.openxmlformats.org/officeDocument/2006/relationships" xmlns:p="http://schemas.openxmlformats.org/presentationml/2006/main">
  <p:tag name="SHAPE" val="OLD"/>
</p:tagLst>
</file>

<file path=ppt/tags/tag601.xml><?xml version="1.0" encoding="utf-8"?>
<p:tagLst xmlns:a="http://schemas.openxmlformats.org/drawingml/2006/main" xmlns:r="http://schemas.openxmlformats.org/officeDocument/2006/relationships" xmlns:p="http://schemas.openxmlformats.org/presentationml/2006/main">
  <p:tag name="SHAPE" val="OLD"/>
</p:tagLst>
</file>

<file path=ppt/tags/tag602.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
  <p:tag name="EE4P_MAPWIZARD" val="Cyprus"/>
</p:tagLst>
</file>

<file path=ppt/tags/tag603.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
  <p:tag name="EE4P_MAPWIZARD" val="Georgia"/>
</p:tagLst>
</file>

<file path=ppt/tags/tag604.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
  <p:tag name="EE4P_MAPWIZARD" val="Iraq"/>
</p:tagLst>
</file>

<file path=ppt/tags/tag605.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
  <p:tag name="EE4P_MAPWIZARD" val="Syria"/>
</p:tagLst>
</file>

<file path=ppt/tags/tag606.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
  <p:tag name="EE4P_MAPWIZARD" val="Turkey"/>
</p:tagLst>
</file>

<file path=ppt/tags/tag607.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
  <p:tag name="EE4P_MAPWIZARD" val="Russia"/>
</p:tagLst>
</file>

<file path=ppt/tags/tag608.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609.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10.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611.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612.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613.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614.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
  <p:tag name="EE4P_MAPWIZARD" val="Belarus"/>
</p:tagLst>
</file>

<file path=ppt/tags/tag615.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616.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617.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618.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1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20.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21.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22.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623.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624.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625.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626.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627.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628.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629.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30.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
  <p:tag name="EE4P_MAPWIZARD" val="Iceland"/>
</p:tagLst>
</file>

<file path=ppt/tags/tag631.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32.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633.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634.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635.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636.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637.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638.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639.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
  <p:tag name="EE4P_MAPWIZARD" val="Moldova"/>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40.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641.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42.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43.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644.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645.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646.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647.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648.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649.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50.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651.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652.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653.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654.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
  <p:tag name="EE4P_MAPWIZARD" val="Ukraine"/>
</p:tagLst>
</file>

<file path=ppt/tags/tag655.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656.xml><?xml version="1.0" encoding="utf-8"?>
<p:tagLst xmlns:a="http://schemas.openxmlformats.org/drawingml/2006/main" xmlns:r="http://schemas.openxmlformats.org/officeDocument/2006/relationships" xmlns:p="http://schemas.openxmlformats.org/presentationml/2006/main">
  <p:tag name="SHAPE" val="OLD"/>
</p:tagLst>
</file>

<file path=ppt/tags/tag657.xml><?xml version="1.0" encoding="utf-8"?>
<p:tagLst xmlns:a="http://schemas.openxmlformats.org/drawingml/2006/main" xmlns:r="http://schemas.openxmlformats.org/officeDocument/2006/relationships" xmlns:p="http://schemas.openxmlformats.org/presentationml/2006/main">
  <p:tag name="SHAPE" val="OLD"/>
</p:tagLst>
</file>

<file path=ppt/tags/tag658.xml><?xml version="1.0" encoding="utf-8"?>
<p:tagLst xmlns:a="http://schemas.openxmlformats.org/drawingml/2006/main" xmlns:r="http://schemas.openxmlformats.org/officeDocument/2006/relationships" xmlns:p="http://schemas.openxmlformats.org/presentationml/2006/main">
  <p:tag name="SHAPE" val="OLD"/>
</p:tagLst>
</file>

<file path=ppt/tags/tag659.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60.xml><?xml version="1.0" encoding="utf-8"?>
<p:tagLst xmlns:a="http://schemas.openxmlformats.org/drawingml/2006/main" xmlns:r="http://schemas.openxmlformats.org/officeDocument/2006/relationships" xmlns:p="http://schemas.openxmlformats.org/presentationml/2006/main">
  <p:tag name="SHAPE" val="OLD"/>
</p:tagLst>
</file>

<file path=ppt/tags/tag661.xml><?xml version="1.0" encoding="utf-8"?>
<p:tagLst xmlns:a="http://schemas.openxmlformats.org/drawingml/2006/main" xmlns:r="http://schemas.openxmlformats.org/officeDocument/2006/relationships" xmlns:p="http://schemas.openxmlformats.org/presentationml/2006/main">
  <p:tag name="SHAPE" val="OLD"/>
</p:tagLst>
</file>

<file path=ppt/tags/tag662.xml><?xml version="1.0" encoding="utf-8"?>
<p:tagLst xmlns:a="http://schemas.openxmlformats.org/drawingml/2006/main" xmlns:r="http://schemas.openxmlformats.org/officeDocument/2006/relationships" xmlns:p="http://schemas.openxmlformats.org/presentationml/2006/main">
  <p:tag name="SHAPE" val="OLD"/>
</p:tagLst>
</file>

<file path=ppt/tags/tag663.xml><?xml version="1.0" encoding="utf-8"?>
<p:tagLst xmlns:a="http://schemas.openxmlformats.org/drawingml/2006/main" xmlns:r="http://schemas.openxmlformats.org/officeDocument/2006/relationships" xmlns:p="http://schemas.openxmlformats.org/presentationml/2006/main">
  <p:tag name="SHAPE" val="OLD"/>
</p:tagLst>
</file>

<file path=ppt/tags/tag664.xml><?xml version="1.0" encoding="utf-8"?>
<p:tagLst xmlns:a="http://schemas.openxmlformats.org/drawingml/2006/main" xmlns:r="http://schemas.openxmlformats.org/officeDocument/2006/relationships" xmlns:p="http://schemas.openxmlformats.org/presentationml/2006/main">
  <p:tag name="SHAPE" val="OLD"/>
</p:tagLst>
</file>

<file path=ppt/tags/tag665.xml><?xml version="1.0" encoding="utf-8"?>
<p:tagLst xmlns:a="http://schemas.openxmlformats.org/drawingml/2006/main" xmlns:r="http://schemas.openxmlformats.org/officeDocument/2006/relationships" xmlns:p="http://schemas.openxmlformats.org/presentationml/2006/main">
  <p:tag name="SHAPE" val="OLD"/>
</p:tagLst>
</file>

<file path=ppt/tags/tag666.xml><?xml version="1.0" encoding="utf-8"?>
<p:tagLst xmlns:a="http://schemas.openxmlformats.org/drawingml/2006/main" xmlns:r="http://schemas.openxmlformats.org/officeDocument/2006/relationships" xmlns:p="http://schemas.openxmlformats.org/presentationml/2006/main">
  <p:tag name="SHAPE" val="OLD"/>
</p:tagLst>
</file>

<file path=ppt/tags/tag667.xml><?xml version="1.0" encoding="utf-8"?>
<p:tagLst xmlns:a="http://schemas.openxmlformats.org/drawingml/2006/main" xmlns:r="http://schemas.openxmlformats.org/officeDocument/2006/relationships" xmlns:p="http://schemas.openxmlformats.org/presentationml/2006/main">
  <p:tag name="SHAPE" val="OLD"/>
</p:tagLst>
</file>

<file path=ppt/tags/tag668.xml><?xml version="1.0" encoding="utf-8"?>
<p:tagLst xmlns:a="http://schemas.openxmlformats.org/drawingml/2006/main" xmlns:r="http://schemas.openxmlformats.org/officeDocument/2006/relationships" xmlns:p="http://schemas.openxmlformats.org/presentationml/2006/main">
  <p:tag name="SHAPE" val="OLD"/>
</p:tagLst>
</file>

<file path=ppt/tags/tag669.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70.xml><?xml version="1.0" encoding="utf-8"?>
<p:tagLst xmlns:a="http://schemas.openxmlformats.org/drawingml/2006/main" xmlns:r="http://schemas.openxmlformats.org/officeDocument/2006/relationships" xmlns:p="http://schemas.openxmlformats.org/presentationml/2006/main">
  <p:tag name="SHAPE" val="OLD"/>
</p:tagLst>
</file>

<file path=ppt/tags/tag671.xml><?xml version="1.0" encoding="utf-8"?>
<p:tagLst xmlns:a="http://schemas.openxmlformats.org/drawingml/2006/main" xmlns:r="http://schemas.openxmlformats.org/officeDocument/2006/relationships" xmlns:p="http://schemas.openxmlformats.org/presentationml/2006/main">
  <p:tag name="SHAPE" val="OLD"/>
</p:tagLst>
</file>

<file path=ppt/tags/tag672.xml><?xml version="1.0" encoding="utf-8"?>
<p:tagLst xmlns:a="http://schemas.openxmlformats.org/drawingml/2006/main" xmlns:r="http://schemas.openxmlformats.org/officeDocument/2006/relationships" xmlns:p="http://schemas.openxmlformats.org/presentationml/2006/main">
  <p:tag name="SHAPE" val="OLD"/>
</p:tagLst>
</file>

<file path=ppt/tags/tag673.xml><?xml version="1.0" encoding="utf-8"?>
<p:tagLst xmlns:a="http://schemas.openxmlformats.org/drawingml/2006/main" xmlns:r="http://schemas.openxmlformats.org/officeDocument/2006/relationships" xmlns:p="http://schemas.openxmlformats.org/presentationml/2006/main">
  <p:tag name="SHAPE" val="OLD"/>
</p:tagLst>
</file>

<file path=ppt/tags/tag674.xml><?xml version="1.0" encoding="utf-8"?>
<p:tagLst xmlns:a="http://schemas.openxmlformats.org/drawingml/2006/main" xmlns:r="http://schemas.openxmlformats.org/officeDocument/2006/relationships" xmlns:p="http://schemas.openxmlformats.org/presentationml/2006/main">
  <p:tag name="SHAPE" val="OLD"/>
</p:tagLst>
</file>

<file path=ppt/tags/tag675.xml><?xml version="1.0" encoding="utf-8"?>
<p:tagLst xmlns:a="http://schemas.openxmlformats.org/drawingml/2006/main" xmlns:r="http://schemas.openxmlformats.org/officeDocument/2006/relationships" xmlns:p="http://schemas.openxmlformats.org/presentationml/2006/main">
  <p:tag name="SHAPE" val="OLD"/>
</p:tagLst>
</file>

<file path=ppt/tags/tag676.xml><?xml version="1.0" encoding="utf-8"?>
<p:tagLst xmlns:a="http://schemas.openxmlformats.org/drawingml/2006/main" xmlns:r="http://schemas.openxmlformats.org/officeDocument/2006/relationships" xmlns:p="http://schemas.openxmlformats.org/presentationml/2006/main">
  <p:tag name="SHAPE" val="OLD"/>
</p:tagLst>
</file>

<file path=ppt/tags/tag677.xml><?xml version="1.0" encoding="utf-8"?>
<p:tagLst xmlns:a="http://schemas.openxmlformats.org/drawingml/2006/main" xmlns:r="http://schemas.openxmlformats.org/officeDocument/2006/relationships" xmlns:p="http://schemas.openxmlformats.org/presentationml/2006/main">
  <p:tag name="SHAPE" val="OLD"/>
</p:tagLst>
</file>

<file path=ppt/tags/tag678.xml><?xml version="1.0" encoding="utf-8"?>
<p:tagLst xmlns:a="http://schemas.openxmlformats.org/drawingml/2006/main" xmlns:r="http://schemas.openxmlformats.org/officeDocument/2006/relationships" xmlns:p="http://schemas.openxmlformats.org/presentationml/2006/main">
  <p:tag name="SHAPE" val="OLD"/>
</p:tagLst>
</file>

<file path=ppt/tags/tag679.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80.xml><?xml version="1.0" encoding="utf-8"?>
<p:tagLst xmlns:a="http://schemas.openxmlformats.org/drawingml/2006/main" xmlns:r="http://schemas.openxmlformats.org/officeDocument/2006/relationships" xmlns:p="http://schemas.openxmlformats.org/presentationml/2006/main">
  <p:tag name="SHAPE" val="OLD"/>
</p:tagLst>
</file>

<file path=ppt/tags/tag681.xml><?xml version="1.0" encoding="utf-8"?>
<p:tagLst xmlns:a="http://schemas.openxmlformats.org/drawingml/2006/main" xmlns:r="http://schemas.openxmlformats.org/officeDocument/2006/relationships" xmlns:p="http://schemas.openxmlformats.org/presentationml/2006/main">
  <p:tag name="SHAPE" val="OLD"/>
</p:tagLst>
</file>

<file path=ppt/tags/tag682.xml><?xml version="1.0" encoding="utf-8"?>
<p:tagLst xmlns:a="http://schemas.openxmlformats.org/drawingml/2006/main" xmlns:r="http://schemas.openxmlformats.org/officeDocument/2006/relationships" xmlns:p="http://schemas.openxmlformats.org/presentationml/2006/main">
  <p:tag name="SHAPE" val="OLD"/>
</p:tagLst>
</file>

<file path=ppt/tags/tag683.xml><?xml version="1.0" encoding="utf-8"?>
<p:tagLst xmlns:a="http://schemas.openxmlformats.org/drawingml/2006/main" xmlns:r="http://schemas.openxmlformats.org/officeDocument/2006/relationships" xmlns:p="http://schemas.openxmlformats.org/presentationml/2006/main">
  <p:tag name="SHAPE" val="OLD"/>
</p:tagLst>
</file>

<file path=ppt/tags/tag684.xml><?xml version="1.0" encoding="utf-8"?>
<p:tagLst xmlns:a="http://schemas.openxmlformats.org/drawingml/2006/main" xmlns:r="http://schemas.openxmlformats.org/officeDocument/2006/relationships" xmlns:p="http://schemas.openxmlformats.org/presentationml/2006/main">
  <p:tag name="SHAPE" val="OLD"/>
</p:tagLst>
</file>

<file path=ppt/tags/tag685.xml><?xml version="1.0" encoding="utf-8"?>
<p:tagLst xmlns:a="http://schemas.openxmlformats.org/drawingml/2006/main" xmlns:r="http://schemas.openxmlformats.org/officeDocument/2006/relationships" xmlns:p="http://schemas.openxmlformats.org/presentationml/2006/main">
  <p:tag name="SHAPE" val="OLD"/>
</p:tagLst>
</file>

<file path=ppt/tags/tag686.xml><?xml version="1.0" encoding="utf-8"?>
<p:tagLst xmlns:a="http://schemas.openxmlformats.org/drawingml/2006/main" xmlns:r="http://schemas.openxmlformats.org/officeDocument/2006/relationships" xmlns:p="http://schemas.openxmlformats.org/presentationml/2006/main">
  <p:tag name="SHAPE" val="OLD"/>
</p:tagLst>
</file>

<file path=ppt/tags/tag687.xml><?xml version="1.0" encoding="utf-8"?>
<p:tagLst xmlns:a="http://schemas.openxmlformats.org/drawingml/2006/main" xmlns:r="http://schemas.openxmlformats.org/officeDocument/2006/relationships" xmlns:p="http://schemas.openxmlformats.org/presentationml/2006/main">
  <p:tag name="SHAPE" val="OLD"/>
</p:tagLst>
</file>

<file path=ppt/tags/tag688.xml><?xml version="1.0" encoding="utf-8"?>
<p:tagLst xmlns:a="http://schemas.openxmlformats.org/drawingml/2006/main" xmlns:r="http://schemas.openxmlformats.org/officeDocument/2006/relationships" xmlns:p="http://schemas.openxmlformats.org/presentationml/2006/main">
  <p:tag name="SHAPE" val="OLD"/>
</p:tagLst>
</file>

<file path=ppt/tags/tag689.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690.xml><?xml version="1.0" encoding="utf-8"?>
<p:tagLst xmlns:a="http://schemas.openxmlformats.org/drawingml/2006/main" xmlns:r="http://schemas.openxmlformats.org/officeDocument/2006/relationships" xmlns:p="http://schemas.openxmlformats.org/presentationml/2006/main">
  <p:tag name="SHAPE" val="OLD"/>
</p:tagLst>
</file>

<file path=ppt/tags/tag691.xml><?xml version="1.0" encoding="utf-8"?>
<p:tagLst xmlns:a="http://schemas.openxmlformats.org/drawingml/2006/main" xmlns:r="http://schemas.openxmlformats.org/officeDocument/2006/relationships" xmlns:p="http://schemas.openxmlformats.org/presentationml/2006/main">
  <p:tag name="SHAPE" val="OLD"/>
</p:tagLst>
</file>

<file path=ppt/tags/tag692.xml><?xml version="1.0" encoding="utf-8"?>
<p:tagLst xmlns:a="http://schemas.openxmlformats.org/drawingml/2006/main" xmlns:r="http://schemas.openxmlformats.org/officeDocument/2006/relationships" xmlns:p="http://schemas.openxmlformats.org/presentationml/2006/main">
  <p:tag name="SHAPE" val="OLD"/>
</p:tagLst>
</file>

<file path=ppt/tags/tag693.xml><?xml version="1.0" encoding="utf-8"?>
<p:tagLst xmlns:a="http://schemas.openxmlformats.org/drawingml/2006/main" xmlns:r="http://schemas.openxmlformats.org/officeDocument/2006/relationships" xmlns:p="http://schemas.openxmlformats.org/presentationml/2006/main">
  <p:tag name="SHAPE" val="OLD"/>
</p:tagLst>
</file>

<file path=ppt/tags/tag694.xml><?xml version="1.0" encoding="utf-8"?>
<p:tagLst xmlns:a="http://schemas.openxmlformats.org/drawingml/2006/main" xmlns:r="http://schemas.openxmlformats.org/officeDocument/2006/relationships" xmlns:p="http://schemas.openxmlformats.org/presentationml/2006/main">
  <p:tag name="SHAPE" val="OLD"/>
</p:tagLst>
</file>

<file path=ppt/tags/tag695.xml><?xml version="1.0" encoding="utf-8"?>
<p:tagLst xmlns:a="http://schemas.openxmlformats.org/drawingml/2006/main" xmlns:r="http://schemas.openxmlformats.org/officeDocument/2006/relationships" xmlns:p="http://schemas.openxmlformats.org/presentationml/2006/main">
  <p:tag name="SHAPE" val="OLD"/>
</p:tagLst>
</file>

<file path=ppt/tags/tag696.xml><?xml version="1.0" encoding="utf-8"?>
<p:tagLst xmlns:a="http://schemas.openxmlformats.org/drawingml/2006/main" xmlns:r="http://schemas.openxmlformats.org/officeDocument/2006/relationships" xmlns:p="http://schemas.openxmlformats.org/presentationml/2006/main">
  <p:tag name="SHAPE" val="OLD"/>
</p:tagLst>
</file>

<file path=ppt/tags/tag697.xml><?xml version="1.0" encoding="utf-8"?>
<p:tagLst xmlns:a="http://schemas.openxmlformats.org/drawingml/2006/main" xmlns:r="http://schemas.openxmlformats.org/officeDocument/2006/relationships" xmlns:p="http://schemas.openxmlformats.org/presentationml/2006/main">
  <p:tag name="SHAPE" val="OLD"/>
</p:tagLst>
</file>

<file path=ppt/tags/tag698.xml><?xml version="1.0" encoding="utf-8"?>
<p:tagLst xmlns:a="http://schemas.openxmlformats.org/drawingml/2006/main" xmlns:r="http://schemas.openxmlformats.org/officeDocument/2006/relationships" xmlns:p="http://schemas.openxmlformats.org/presentationml/2006/main">
  <p:tag name="SHAPE" val="OLD"/>
</p:tagLst>
</file>

<file path=ppt/tags/tag69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00.xml><?xml version="1.0" encoding="utf-8"?>
<p:tagLst xmlns:a="http://schemas.openxmlformats.org/drawingml/2006/main" xmlns:r="http://schemas.openxmlformats.org/officeDocument/2006/relationships" xmlns:p="http://schemas.openxmlformats.org/presentationml/2006/main">
  <p:tag name="SHAPE" val="OLD"/>
</p:tagLst>
</file>

<file path=ppt/tags/tag701.xml><?xml version="1.0" encoding="utf-8"?>
<p:tagLst xmlns:a="http://schemas.openxmlformats.org/drawingml/2006/main" xmlns:r="http://schemas.openxmlformats.org/officeDocument/2006/relationships" xmlns:p="http://schemas.openxmlformats.org/presentationml/2006/main">
  <p:tag name="SHAPE" val="OLD"/>
</p:tagLst>
</file>

<file path=ppt/tags/tag702.xml><?xml version="1.0" encoding="utf-8"?>
<p:tagLst xmlns:a="http://schemas.openxmlformats.org/drawingml/2006/main" xmlns:r="http://schemas.openxmlformats.org/officeDocument/2006/relationships" xmlns:p="http://schemas.openxmlformats.org/presentationml/2006/main">
  <p:tag name="SHAPE" val="OLD"/>
</p:tagLst>
</file>

<file path=ppt/tags/tag703.xml><?xml version="1.0" encoding="utf-8"?>
<p:tagLst xmlns:a="http://schemas.openxmlformats.org/drawingml/2006/main" xmlns:r="http://schemas.openxmlformats.org/officeDocument/2006/relationships" xmlns:p="http://schemas.openxmlformats.org/presentationml/2006/main">
  <p:tag name="SHAPE" val="OLD"/>
</p:tagLst>
</file>

<file path=ppt/tags/tag704.xml><?xml version="1.0" encoding="utf-8"?>
<p:tagLst xmlns:a="http://schemas.openxmlformats.org/drawingml/2006/main" xmlns:r="http://schemas.openxmlformats.org/officeDocument/2006/relationships" xmlns:p="http://schemas.openxmlformats.org/presentationml/2006/main">
  <p:tag name="SHAPE" val="OLD"/>
</p:tagLst>
</file>

<file path=ppt/tags/tag705.xml><?xml version="1.0" encoding="utf-8"?>
<p:tagLst xmlns:a="http://schemas.openxmlformats.org/drawingml/2006/main" xmlns:r="http://schemas.openxmlformats.org/officeDocument/2006/relationships" xmlns:p="http://schemas.openxmlformats.org/presentationml/2006/main">
  <p:tag name="SHAPE" val="OLD"/>
</p:tagLst>
</file>

<file path=ppt/tags/tag706.xml><?xml version="1.0" encoding="utf-8"?>
<p:tagLst xmlns:a="http://schemas.openxmlformats.org/drawingml/2006/main" xmlns:r="http://schemas.openxmlformats.org/officeDocument/2006/relationships" xmlns:p="http://schemas.openxmlformats.org/presentationml/2006/main">
  <p:tag name="SHAPE" val="OLD"/>
</p:tagLst>
</file>

<file path=ppt/tags/tag707.xml><?xml version="1.0" encoding="utf-8"?>
<p:tagLst xmlns:a="http://schemas.openxmlformats.org/drawingml/2006/main" xmlns:r="http://schemas.openxmlformats.org/officeDocument/2006/relationships" xmlns:p="http://schemas.openxmlformats.org/presentationml/2006/main">
  <p:tag name="SHAPE" val="OLD"/>
</p:tagLst>
</file>

<file path=ppt/tags/tag708.xml><?xml version="1.0" encoding="utf-8"?>
<p:tagLst xmlns:a="http://schemas.openxmlformats.org/drawingml/2006/main" xmlns:r="http://schemas.openxmlformats.org/officeDocument/2006/relationships" xmlns:p="http://schemas.openxmlformats.org/presentationml/2006/main">
  <p:tag name="SHAPE" val="OLD"/>
</p:tagLst>
</file>

<file path=ppt/tags/tag709.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10.xml><?xml version="1.0" encoding="utf-8"?>
<p:tagLst xmlns:a="http://schemas.openxmlformats.org/drawingml/2006/main" xmlns:r="http://schemas.openxmlformats.org/officeDocument/2006/relationships" xmlns:p="http://schemas.openxmlformats.org/presentationml/2006/main">
  <p:tag name="SHAPE" val="OLD"/>
</p:tagLst>
</file>

<file path=ppt/tags/tag711.xml><?xml version="1.0" encoding="utf-8"?>
<p:tagLst xmlns:a="http://schemas.openxmlformats.org/drawingml/2006/main" xmlns:r="http://schemas.openxmlformats.org/officeDocument/2006/relationships" xmlns:p="http://schemas.openxmlformats.org/presentationml/2006/main">
  <p:tag name="SHAPE" val="OLD"/>
</p:tagLst>
</file>

<file path=ppt/tags/tag712.xml><?xml version="1.0" encoding="utf-8"?>
<p:tagLst xmlns:a="http://schemas.openxmlformats.org/drawingml/2006/main" xmlns:r="http://schemas.openxmlformats.org/officeDocument/2006/relationships" xmlns:p="http://schemas.openxmlformats.org/presentationml/2006/main">
  <p:tag name="SHAPE" val="OLD"/>
</p:tagLst>
</file>

<file path=ppt/tags/tag713.xml><?xml version="1.0" encoding="utf-8"?>
<p:tagLst xmlns:a="http://schemas.openxmlformats.org/drawingml/2006/main" xmlns:r="http://schemas.openxmlformats.org/officeDocument/2006/relationships" xmlns:p="http://schemas.openxmlformats.org/presentationml/2006/main">
  <p:tag name="SHAPE" val="OLD"/>
</p:tagLst>
</file>

<file path=ppt/tags/tag714.xml><?xml version="1.0" encoding="utf-8"?>
<p:tagLst xmlns:a="http://schemas.openxmlformats.org/drawingml/2006/main" xmlns:r="http://schemas.openxmlformats.org/officeDocument/2006/relationships" xmlns:p="http://schemas.openxmlformats.org/presentationml/2006/main">
  <p:tag name="SHAPE" val="OLD"/>
</p:tagLst>
</file>

<file path=ppt/tags/tag715.xml><?xml version="1.0" encoding="utf-8"?>
<p:tagLst xmlns:a="http://schemas.openxmlformats.org/drawingml/2006/main" xmlns:r="http://schemas.openxmlformats.org/officeDocument/2006/relationships" xmlns:p="http://schemas.openxmlformats.org/presentationml/2006/main">
  <p:tag name="SHAPE" val="OLD"/>
</p:tagLst>
</file>

<file path=ppt/tags/tag716.xml><?xml version="1.0" encoding="utf-8"?>
<p:tagLst xmlns:a="http://schemas.openxmlformats.org/drawingml/2006/main" xmlns:r="http://schemas.openxmlformats.org/officeDocument/2006/relationships" xmlns:p="http://schemas.openxmlformats.org/presentationml/2006/main">
  <p:tag name="SHAPE" val="OLD"/>
</p:tagLst>
</file>

<file path=ppt/tags/tag717.xml><?xml version="1.0" encoding="utf-8"?>
<p:tagLst xmlns:a="http://schemas.openxmlformats.org/drawingml/2006/main" xmlns:r="http://schemas.openxmlformats.org/officeDocument/2006/relationships" xmlns:p="http://schemas.openxmlformats.org/presentationml/2006/main">
  <p:tag name="SHAPE" val="OLD"/>
</p:tagLst>
</file>

<file path=ppt/tags/tag718.xml><?xml version="1.0" encoding="utf-8"?>
<p:tagLst xmlns:a="http://schemas.openxmlformats.org/drawingml/2006/main" xmlns:r="http://schemas.openxmlformats.org/officeDocument/2006/relationships" xmlns:p="http://schemas.openxmlformats.org/presentationml/2006/main">
  <p:tag name="SHAPE" val="OLD"/>
</p:tagLst>
</file>

<file path=ppt/tags/tag719.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20.xml><?xml version="1.0" encoding="utf-8"?>
<p:tagLst xmlns:a="http://schemas.openxmlformats.org/drawingml/2006/main" xmlns:r="http://schemas.openxmlformats.org/officeDocument/2006/relationships" xmlns:p="http://schemas.openxmlformats.org/presentationml/2006/main">
  <p:tag name="SHAPE" val="OLD"/>
</p:tagLst>
</file>

<file path=ppt/tags/tag721.xml><?xml version="1.0" encoding="utf-8"?>
<p:tagLst xmlns:a="http://schemas.openxmlformats.org/drawingml/2006/main" xmlns:r="http://schemas.openxmlformats.org/officeDocument/2006/relationships" xmlns:p="http://schemas.openxmlformats.org/presentationml/2006/main">
  <p:tag name="SHAPE" val="OLD"/>
</p:tagLst>
</file>

<file path=ppt/tags/tag722.xml><?xml version="1.0" encoding="utf-8"?>
<p:tagLst xmlns:a="http://schemas.openxmlformats.org/drawingml/2006/main" xmlns:r="http://schemas.openxmlformats.org/officeDocument/2006/relationships" xmlns:p="http://schemas.openxmlformats.org/presentationml/2006/main">
  <p:tag name="SHAPE" val="OLD"/>
</p:tagLst>
</file>

<file path=ppt/tags/tag723.xml><?xml version="1.0" encoding="utf-8"?>
<p:tagLst xmlns:a="http://schemas.openxmlformats.org/drawingml/2006/main" xmlns:r="http://schemas.openxmlformats.org/officeDocument/2006/relationships" xmlns:p="http://schemas.openxmlformats.org/presentationml/2006/main">
  <p:tag name="SHAPE" val="OLD"/>
</p:tagLst>
</file>

<file path=ppt/tags/tag724.xml><?xml version="1.0" encoding="utf-8"?>
<p:tagLst xmlns:a="http://schemas.openxmlformats.org/drawingml/2006/main" xmlns:r="http://schemas.openxmlformats.org/officeDocument/2006/relationships" xmlns:p="http://schemas.openxmlformats.org/presentationml/2006/main">
  <p:tag name="SHAPE" val="OLD"/>
</p:tagLst>
</file>

<file path=ppt/tags/tag725.xml><?xml version="1.0" encoding="utf-8"?>
<p:tagLst xmlns:a="http://schemas.openxmlformats.org/drawingml/2006/main" xmlns:r="http://schemas.openxmlformats.org/officeDocument/2006/relationships" xmlns:p="http://schemas.openxmlformats.org/presentationml/2006/main">
  <p:tag name="SHAPE" val="OLD"/>
</p:tagLst>
</file>

<file path=ppt/tags/tag726.xml><?xml version="1.0" encoding="utf-8"?>
<p:tagLst xmlns:a="http://schemas.openxmlformats.org/drawingml/2006/main" xmlns:r="http://schemas.openxmlformats.org/officeDocument/2006/relationships" xmlns:p="http://schemas.openxmlformats.org/presentationml/2006/main">
  <p:tag name="SHAPE" val="OLD"/>
</p:tagLst>
</file>

<file path=ppt/tags/tag727.xml><?xml version="1.0" encoding="utf-8"?>
<p:tagLst xmlns:a="http://schemas.openxmlformats.org/drawingml/2006/main" xmlns:r="http://schemas.openxmlformats.org/officeDocument/2006/relationships" xmlns:p="http://schemas.openxmlformats.org/presentationml/2006/main">
  <p:tag name="SHAPE" val="OLD"/>
</p:tagLst>
</file>

<file path=ppt/tags/tag728.xml><?xml version="1.0" encoding="utf-8"?>
<p:tagLst xmlns:a="http://schemas.openxmlformats.org/drawingml/2006/main" xmlns:r="http://schemas.openxmlformats.org/officeDocument/2006/relationships" xmlns:p="http://schemas.openxmlformats.org/presentationml/2006/main">
  <p:tag name="SHAPE" val="OLD"/>
</p:tagLst>
</file>

<file path=ppt/tags/tag729.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30.xml><?xml version="1.0" encoding="utf-8"?>
<p:tagLst xmlns:a="http://schemas.openxmlformats.org/drawingml/2006/main" xmlns:r="http://schemas.openxmlformats.org/officeDocument/2006/relationships" xmlns:p="http://schemas.openxmlformats.org/presentationml/2006/main">
  <p:tag name="SHAPE" val="OLD"/>
</p:tagLst>
</file>

<file path=ppt/tags/tag731.xml><?xml version="1.0" encoding="utf-8"?>
<p:tagLst xmlns:a="http://schemas.openxmlformats.org/drawingml/2006/main" xmlns:r="http://schemas.openxmlformats.org/officeDocument/2006/relationships" xmlns:p="http://schemas.openxmlformats.org/presentationml/2006/main">
  <p:tag name="SHAPE" val="OLD"/>
</p:tagLst>
</file>

<file path=ppt/tags/tag732.xml><?xml version="1.0" encoding="utf-8"?>
<p:tagLst xmlns:a="http://schemas.openxmlformats.org/drawingml/2006/main" xmlns:r="http://schemas.openxmlformats.org/officeDocument/2006/relationships" xmlns:p="http://schemas.openxmlformats.org/presentationml/2006/main">
  <p:tag name="SHAPE" val="OLD"/>
</p:tagLst>
</file>

<file path=ppt/tags/tag733.xml><?xml version="1.0" encoding="utf-8"?>
<p:tagLst xmlns:a="http://schemas.openxmlformats.org/drawingml/2006/main" xmlns:r="http://schemas.openxmlformats.org/officeDocument/2006/relationships" xmlns:p="http://schemas.openxmlformats.org/presentationml/2006/main">
  <p:tag name="SHAPE" val="OLD"/>
</p:tagLst>
</file>

<file path=ppt/tags/tag734.xml><?xml version="1.0" encoding="utf-8"?>
<p:tagLst xmlns:a="http://schemas.openxmlformats.org/drawingml/2006/main" xmlns:r="http://schemas.openxmlformats.org/officeDocument/2006/relationships" xmlns:p="http://schemas.openxmlformats.org/presentationml/2006/main">
  <p:tag name="SHAPE" val="OLD"/>
</p:tagLst>
</file>

<file path=ppt/tags/tag735.xml><?xml version="1.0" encoding="utf-8"?>
<p:tagLst xmlns:a="http://schemas.openxmlformats.org/drawingml/2006/main" xmlns:r="http://schemas.openxmlformats.org/officeDocument/2006/relationships" xmlns:p="http://schemas.openxmlformats.org/presentationml/2006/main">
  <p:tag name="SHAPE" val="OLD"/>
</p:tagLst>
</file>

<file path=ppt/tags/tag736.xml><?xml version="1.0" encoding="utf-8"?>
<p:tagLst xmlns:a="http://schemas.openxmlformats.org/drawingml/2006/main" xmlns:r="http://schemas.openxmlformats.org/officeDocument/2006/relationships" xmlns:p="http://schemas.openxmlformats.org/presentationml/2006/main">
  <p:tag name="SHAPE" val="OLD"/>
</p:tagLst>
</file>

<file path=ppt/tags/tag737.xml><?xml version="1.0" encoding="utf-8"?>
<p:tagLst xmlns:a="http://schemas.openxmlformats.org/drawingml/2006/main" xmlns:r="http://schemas.openxmlformats.org/officeDocument/2006/relationships" xmlns:p="http://schemas.openxmlformats.org/presentationml/2006/main">
  <p:tag name="SHAPE" val="OLD"/>
</p:tagLst>
</file>

<file path=ppt/tags/tag738.xml><?xml version="1.0" encoding="utf-8"?>
<p:tagLst xmlns:a="http://schemas.openxmlformats.org/drawingml/2006/main" xmlns:r="http://schemas.openxmlformats.org/officeDocument/2006/relationships" xmlns:p="http://schemas.openxmlformats.org/presentationml/2006/main">
  <p:tag name="SHAPE" val="OLD"/>
</p:tagLst>
</file>

<file path=ppt/tags/tag739.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40.xml><?xml version="1.0" encoding="utf-8"?>
<p:tagLst xmlns:a="http://schemas.openxmlformats.org/drawingml/2006/main" xmlns:r="http://schemas.openxmlformats.org/officeDocument/2006/relationships" xmlns:p="http://schemas.openxmlformats.org/presentationml/2006/main">
  <p:tag name="SHAPE" val="OLD"/>
</p:tagLst>
</file>

<file path=ppt/tags/tag741.xml><?xml version="1.0" encoding="utf-8"?>
<p:tagLst xmlns:a="http://schemas.openxmlformats.org/drawingml/2006/main" xmlns:r="http://schemas.openxmlformats.org/officeDocument/2006/relationships" xmlns:p="http://schemas.openxmlformats.org/presentationml/2006/main">
  <p:tag name="SHAPE" val="OLD"/>
</p:tagLst>
</file>

<file path=ppt/tags/tag742.xml><?xml version="1.0" encoding="utf-8"?>
<p:tagLst xmlns:a="http://schemas.openxmlformats.org/drawingml/2006/main" xmlns:r="http://schemas.openxmlformats.org/officeDocument/2006/relationships" xmlns:p="http://schemas.openxmlformats.org/presentationml/2006/main">
  <p:tag name="SHAPE" val="OLD"/>
</p:tagLst>
</file>

<file path=ppt/tags/tag743.xml><?xml version="1.0" encoding="utf-8"?>
<p:tagLst xmlns:a="http://schemas.openxmlformats.org/drawingml/2006/main" xmlns:r="http://schemas.openxmlformats.org/officeDocument/2006/relationships" xmlns:p="http://schemas.openxmlformats.org/presentationml/2006/main">
  <p:tag name="SHAPE" val="OLD"/>
</p:tagLst>
</file>

<file path=ppt/tags/tag744.xml><?xml version="1.0" encoding="utf-8"?>
<p:tagLst xmlns:a="http://schemas.openxmlformats.org/drawingml/2006/main" xmlns:r="http://schemas.openxmlformats.org/officeDocument/2006/relationships" xmlns:p="http://schemas.openxmlformats.org/presentationml/2006/main">
  <p:tag name="SHAPE" val="OLD"/>
</p:tagLst>
</file>

<file path=ppt/tags/tag745.xml><?xml version="1.0" encoding="utf-8"?>
<p:tagLst xmlns:a="http://schemas.openxmlformats.org/drawingml/2006/main" xmlns:r="http://schemas.openxmlformats.org/officeDocument/2006/relationships" xmlns:p="http://schemas.openxmlformats.org/presentationml/2006/main">
  <p:tag name="SHAPE" val="OLD"/>
</p:tagLst>
</file>

<file path=ppt/tags/tag746.xml><?xml version="1.0" encoding="utf-8"?>
<p:tagLst xmlns:a="http://schemas.openxmlformats.org/drawingml/2006/main" xmlns:r="http://schemas.openxmlformats.org/officeDocument/2006/relationships" xmlns:p="http://schemas.openxmlformats.org/presentationml/2006/main">
  <p:tag name="SHAPE" val="OLD"/>
</p:tagLst>
</file>

<file path=ppt/tags/tag747.xml><?xml version="1.0" encoding="utf-8"?>
<p:tagLst xmlns:a="http://schemas.openxmlformats.org/drawingml/2006/main" xmlns:r="http://schemas.openxmlformats.org/officeDocument/2006/relationships" xmlns:p="http://schemas.openxmlformats.org/presentationml/2006/main">
  <p:tag name="SHAPE" val="OLD"/>
</p:tagLst>
</file>

<file path=ppt/tags/tag748.xml><?xml version="1.0" encoding="utf-8"?>
<p:tagLst xmlns:a="http://schemas.openxmlformats.org/drawingml/2006/main" xmlns:r="http://schemas.openxmlformats.org/officeDocument/2006/relationships" xmlns:p="http://schemas.openxmlformats.org/presentationml/2006/main">
  <p:tag name="SHAPE" val="OLD"/>
</p:tagLst>
</file>

<file path=ppt/tags/tag749.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50.xml><?xml version="1.0" encoding="utf-8"?>
<p:tagLst xmlns:a="http://schemas.openxmlformats.org/drawingml/2006/main" xmlns:r="http://schemas.openxmlformats.org/officeDocument/2006/relationships" xmlns:p="http://schemas.openxmlformats.org/presentationml/2006/main">
  <p:tag name="SHAPE" val="OLD"/>
</p:tagLst>
</file>

<file path=ppt/tags/tag751.xml><?xml version="1.0" encoding="utf-8"?>
<p:tagLst xmlns:a="http://schemas.openxmlformats.org/drawingml/2006/main" xmlns:r="http://schemas.openxmlformats.org/officeDocument/2006/relationships" xmlns:p="http://schemas.openxmlformats.org/presentationml/2006/main">
  <p:tag name="SHAPE" val="OLD"/>
</p:tagLst>
</file>

<file path=ppt/tags/tag752.xml><?xml version="1.0" encoding="utf-8"?>
<p:tagLst xmlns:a="http://schemas.openxmlformats.org/drawingml/2006/main" xmlns:r="http://schemas.openxmlformats.org/officeDocument/2006/relationships" xmlns:p="http://schemas.openxmlformats.org/presentationml/2006/main">
  <p:tag name="SHAPE" val="OLD"/>
</p:tagLst>
</file>

<file path=ppt/tags/tag753.xml><?xml version="1.0" encoding="utf-8"?>
<p:tagLst xmlns:a="http://schemas.openxmlformats.org/drawingml/2006/main" xmlns:r="http://schemas.openxmlformats.org/officeDocument/2006/relationships" xmlns:p="http://schemas.openxmlformats.org/presentationml/2006/main">
  <p:tag name="SHAPE" val="OLD"/>
</p:tagLst>
</file>

<file path=ppt/tags/tag754.xml><?xml version="1.0" encoding="utf-8"?>
<p:tagLst xmlns:a="http://schemas.openxmlformats.org/drawingml/2006/main" xmlns:r="http://schemas.openxmlformats.org/officeDocument/2006/relationships" xmlns:p="http://schemas.openxmlformats.org/presentationml/2006/main">
  <p:tag name="SHAPE" val="OLD"/>
</p:tagLst>
</file>

<file path=ppt/tags/tag755.xml><?xml version="1.0" encoding="utf-8"?>
<p:tagLst xmlns:a="http://schemas.openxmlformats.org/drawingml/2006/main" xmlns:r="http://schemas.openxmlformats.org/officeDocument/2006/relationships" xmlns:p="http://schemas.openxmlformats.org/presentationml/2006/main">
  <p:tag name="SHAPE" val="OLD"/>
</p:tagLst>
</file>

<file path=ppt/tags/tag756.xml><?xml version="1.0" encoding="utf-8"?>
<p:tagLst xmlns:a="http://schemas.openxmlformats.org/drawingml/2006/main" xmlns:r="http://schemas.openxmlformats.org/officeDocument/2006/relationships" xmlns:p="http://schemas.openxmlformats.org/presentationml/2006/main">
  <p:tag name="SHAPE" val="OLD"/>
</p:tagLst>
</file>

<file path=ppt/tags/tag757.xml><?xml version="1.0" encoding="utf-8"?>
<p:tagLst xmlns:a="http://schemas.openxmlformats.org/drawingml/2006/main" xmlns:r="http://schemas.openxmlformats.org/officeDocument/2006/relationships" xmlns:p="http://schemas.openxmlformats.org/presentationml/2006/main">
  <p:tag name="SHAPE" val="OLD"/>
</p:tagLst>
</file>

<file path=ppt/tags/tag758.xml><?xml version="1.0" encoding="utf-8"?>
<p:tagLst xmlns:a="http://schemas.openxmlformats.org/drawingml/2006/main" xmlns:r="http://schemas.openxmlformats.org/officeDocument/2006/relationships" xmlns:p="http://schemas.openxmlformats.org/presentationml/2006/main">
  <p:tag name="SHAPE" val="OLD"/>
</p:tagLst>
</file>

<file path=ppt/tags/tag759.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60.xml><?xml version="1.0" encoding="utf-8"?>
<p:tagLst xmlns:a="http://schemas.openxmlformats.org/drawingml/2006/main" xmlns:r="http://schemas.openxmlformats.org/officeDocument/2006/relationships" xmlns:p="http://schemas.openxmlformats.org/presentationml/2006/main">
  <p:tag name="SHAPE" val="OLD"/>
</p:tagLst>
</file>

<file path=ppt/tags/tag761.xml><?xml version="1.0" encoding="utf-8"?>
<p:tagLst xmlns:a="http://schemas.openxmlformats.org/drawingml/2006/main" xmlns:r="http://schemas.openxmlformats.org/officeDocument/2006/relationships" xmlns:p="http://schemas.openxmlformats.org/presentationml/2006/main">
  <p:tag name="SHAPE" val="OLD"/>
</p:tagLst>
</file>

<file path=ppt/tags/tag762.xml><?xml version="1.0" encoding="utf-8"?>
<p:tagLst xmlns:a="http://schemas.openxmlformats.org/drawingml/2006/main" xmlns:r="http://schemas.openxmlformats.org/officeDocument/2006/relationships" xmlns:p="http://schemas.openxmlformats.org/presentationml/2006/main">
  <p:tag name="SHAPE" val="OLD"/>
</p:tagLst>
</file>

<file path=ppt/tags/tag763.xml><?xml version="1.0" encoding="utf-8"?>
<p:tagLst xmlns:a="http://schemas.openxmlformats.org/drawingml/2006/main" xmlns:r="http://schemas.openxmlformats.org/officeDocument/2006/relationships" xmlns:p="http://schemas.openxmlformats.org/presentationml/2006/main">
  <p:tag name="SHAPE" val="OLD"/>
</p:tagLst>
</file>

<file path=ppt/tags/tag764.xml><?xml version="1.0" encoding="utf-8"?>
<p:tagLst xmlns:a="http://schemas.openxmlformats.org/drawingml/2006/main" xmlns:r="http://schemas.openxmlformats.org/officeDocument/2006/relationships" xmlns:p="http://schemas.openxmlformats.org/presentationml/2006/main">
  <p:tag name="SHAPE" val="OLD"/>
</p:tagLst>
</file>

<file path=ppt/tags/tag765.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Office">
  <a:themeElements>
    <a:clrScheme name="Office">
      <a:dk1>
        <a:srgbClr val="000000"/>
      </a:dk1>
      <a:lt1>
        <a:srgbClr val="FFFFFF"/>
      </a:lt1>
      <a:dk2>
        <a:srgbClr val="E2001A"/>
      </a:dk2>
      <a:lt2>
        <a:srgbClr val="CCCCCC"/>
      </a:lt2>
      <a:accent1>
        <a:srgbClr val="E2001A"/>
      </a:accent1>
      <a:accent2>
        <a:srgbClr val="A8C8E4"/>
      </a:accent2>
      <a:accent3>
        <a:srgbClr val="C3DFB9"/>
      </a:accent3>
      <a:accent4>
        <a:srgbClr val="F0767A"/>
      </a:accent4>
      <a:accent5>
        <a:srgbClr val="FEE45F"/>
      </a:accent5>
      <a:accent6>
        <a:srgbClr val="CCCCCC"/>
      </a:accent6>
      <a:hlink>
        <a:srgbClr val="000000"/>
      </a:hlink>
      <a:folHlink>
        <a:srgbClr val="000000"/>
      </a:folHlink>
    </a:clrScheme>
    <a:fontScheme name="DKM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defPPr>
      </a:lstStyle>
    </a:txDef>
  </a:objectDefaults>
  <a:extraClrSchemeLst/>
  <a:custClrLst>
    <a:custClr name="Custom Color 1">
      <a:srgbClr val="F0F0F0"/>
    </a:custClr>
    <a:custClr name="Custom Color 2">
      <a:srgbClr val="F0F0F0"/>
    </a:custClr>
    <a:custClr name="Custom Color 3">
      <a:srgbClr val="F0F0F0"/>
    </a:custClr>
    <a:custClr name="BLANK">
      <a:srgbClr val="FFFFFF"/>
    </a:custClr>
    <a:custClr name="DKMS Light Red">
      <a:srgbClr val="F9CCD1"/>
    </a:custClr>
    <a:custClr name="DKMS Light Blue">
      <a:srgbClr val="DCECFA"/>
    </a:custClr>
    <a:custClr name="DKMS Light Green">
      <a:srgbClr val="DFF5D7"/>
    </a:custClr>
    <a:custClr name="BLANK">
      <a:srgbClr val="FFFFFF"/>
    </a:custClr>
    <a:custClr name="BLANK">
      <a:srgbClr val="FFFFFF"/>
    </a:custClr>
    <a:custClr name="BLANK">
      <a:srgbClr val="FFFFFF"/>
    </a:custClr>
    <a:custClr name="Custom Color 11">
      <a:srgbClr val="F0F0F0"/>
    </a:custClr>
    <a:custClr name="Custom Color 12">
      <a:srgbClr val="F0F0F0"/>
    </a:custClr>
    <a:custClr name="Custom Color 13">
      <a:srgbClr val="F0F0F0"/>
    </a:custClr>
    <a:custClr name="BLANK">
      <a:srgbClr val="FFFFFF"/>
    </a:custClr>
    <a:custClr name="DKMS Red">
      <a:srgbClr val="E2001A"/>
    </a:custClr>
    <a:custClr name="DKMS Dark Blue">
      <a:srgbClr val="2C5A82"/>
    </a:custClr>
    <a:custClr name="DKMS Dark Green">
      <a:srgbClr val="30783E"/>
    </a:custClr>
    <a:custClr name="BLANK">
      <a:srgbClr val="FFFFFF"/>
    </a:custClr>
    <a:custClr name="BLANK">
      <a:srgbClr val="FFFFFF"/>
    </a:custClr>
    <a:custClr name="BLANK">
      <a:srgbClr val="FFFFFF"/>
    </a:custClr>
    <a:custClr name="Custom Color 21">
      <a:srgbClr val="F0F0F0"/>
    </a:custClr>
    <a:custClr name="Custom Color 22">
      <a:srgbClr val="F0F0F0"/>
    </a:custClr>
    <a:custClr name="Custom Color 23">
      <a:srgbClr val="F0F0F0"/>
    </a:custClr>
    <a:custClr name="Custom Color 24">
      <a:srgbClr val="F0F0F0"/>
    </a:custClr>
    <a:custClr name="DKMS Red">
      <a:srgbClr val="E2001A"/>
    </a:custClr>
    <a:custClr name="DKMS Red 80%">
      <a:srgbClr val="E83348"/>
    </a:custClr>
    <a:custClr name="DKMS Red 60%">
      <a:srgbClr val="EE6676"/>
    </a:custClr>
    <a:custClr name="DKMS Red 40%">
      <a:srgbClr val="F399A3"/>
    </a:custClr>
    <a:custClr name="DKMS Red 20%">
      <a:srgbClr val="F9CCD1"/>
    </a:custClr>
    <a:custClr name="BLANK">
      <a:srgbClr val="FFFFFF"/>
    </a:custClr>
    <a:custClr name="Custom Color 31">
      <a:srgbClr val="F0F0F0"/>
    </a:custClr>
    <a:custClr name="Custom Color 32">
      <a:srgbClr val="F0F0F0"/>
    </a:custClr>
    <a:custClr name="Custom Color 33">
      <a:srgbClr val="F0F0F0"/>
    </a:custClr>
    <a:custClr name="Custom Color 34">
      <a:srgbClr val="F0F0F0"/>
    </a:custClr>
    <a:custClr name="Black">
      <a:srgbClr val="000000"/>
    </a:custClr>
    <a:custClr name="Black 80%">
      <a:srgbClr val="333333"/>
    </a:custClr>
    <a:custClr name="Black 60%">
      <a:srgbClr val="666666"/>
    </a:custClr>
    <a:custClr name="Black 40%">
      <a:srgbClr val="999999"/>
    </a:custClr>
    <a:custClr name="Black 20%">
      <a:srgbClr val="CCCCCC"/>
    </a:custClr>
  </a:custClrLst>
  <a:extLst>
    <a:ext uri="{05A4C25C-085E-4340-85A3-A5531E510DB2}">
      <thm15:themeFamily xmlns:thm15="http://schemas.microsoft.com/office/thememl/2012/main" name="prezentacja na stronę nowy branding1.potx" id="{71A47A50-2EB3-4D4D-BC1F-986E58991C9A}" vid="{E39C7862-80B7-4329-AC1F-59CFD2D78CA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zentacja na stronę nowy branding1</Template>
  <TotalTime>0</TotalTime>
  <Words>1166</Words>
  <Application>Microsoft Office PowerPoint</Application>
  <PresentationFormat>Panoramiczny</PresentationFormat>
  <Paragraphs>201</Paragraphs>
  <Slides>19</Slides>
  <Notes>19</Notes>
  <HiddenSlides>0</HiddenSlides>
  <MMClips>0</MMClips>
  <ScaleCrop>false</ScaleCrop>
  <HeadingPairs>
    <vt:vector size="6" baseType="variant">
      <vt:variant>
        <vt:lpstr>Używane czcionki</vt:lpstr>
      </vt:variant>
      <vt:variant>
        <vt:i4>4</vt:i4>
      </vt:variant>
      <vt:variant>
        <vt:lpstr>Motyw</vt:lpstr>
      </vt:variant>
      <vt:variant>
        <vt:i4>1</vt:i4>
      </vt:variant>
      <vt:variant>
        <vt:lpstr>Tytuły slajdów</vt:lpstr>
      </vt:variant>
      <vt:variant>
        <vt:i4>19</vt:i4>
      </vt:variant>
    </vt:vector>
  </HeadingPairs>
  <TitlesOfParts>
    <vt:vector size="24" baseType="lpstr">
      <vt:lpstr>Arial</vt:lpstr>
      <vt:lpstr>Calibri</vt:lpstr>
      <vt:lpstr>Symbol</vt:lpstr>
      <vt:lpstr>Wingdings</vt:lpstr>
      <vt:lpstr>Office</vt:lpstr>
      <vt:lpstr>Najważniejsze informacje  o dawstwie szpiku</vt:lpstr>
      <vt:lpstr>Agenda</vt:lpstr>
      <vt:lpstr>O Fundacji DKMS </vt:lpstr>
      <vt:lpstr>O Fundacji DKMS</vt:lpstr>
      <vt:lpstr>Cele i misja Fundacji DKMS</vt:lpstr>
      <vt:lpstr>Fundacja DKMS w liczbach</vt:lpstr>
      <vt:lpstr>Fundacja DKMS w liczbach </vt:lpstr>
      <vt:lpstr>Potencjalni Dawcy szpiku w Polsce</vt:lpstr>
      <vt:lpstr>Kto może zostać potencjalnym  Dawcą szpiku?</vt:lpstr>
      <vt:lpstr>Co 40 minut…</vt:lpstr>
      <vt:lpstr>Kto może zostać potencjalnym Dawcą szpiku?</vt:lpstr>
      <vt:lpstr>5 kroków do zostania Dawcą szpiku</vt:lpstr>
      <vt:lpstr>Metody pobrania </vt:lpstr>
      <vt:lpstr>Pobranie krwiotwórczych komórek macierzystych  z krwi odwodowej</vt:lpstr>
      <vt:lpstr>Pobranie szpiku kostnego z talerza kości biodrowej</vt:lpstr>
      <vt:lpstr>Ważne informacje  dla Dawcy</vt:lpstr>
      <vt:lpstr>Co jeszcze trzeba wiedzieć odnośnie pobrania szpiku?</vt:lpstr>
      <vt:lpstr>Ważne informacje dla Dawcy</vt:lpstr>
      <vt:lpstr>Prezentacja programu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JWAŻNIEJSZE INFORMACJE O DAWSTWIE SZPIKU</dc:title>
  <dc:subject/>
  <dc:creator>Marta Kamińska</dc:creator>
  <cp:keywords/>
  <dc:description/>
  <cp:lastModifiedBy>Guz, Justyna</cp:lastModifiedBy>
  <cp:revision>43</cp:revision>
  <dcterms:created xsi:type="dcterms:W3CDTF">2023-08-01T14:03:01Z</dcterms:created>
  <dcterms:modified xsi:type="dcterms:W3CDTF">2024-11-07T10:01:07Z</dcterms:modified>
  <cp:category/>
  <cp:contentStatus/>
</cp:coreProperties>
</file>